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png&amp;ehk=dkQG51rzsR8N5cxE0vrVVw&amp;r=0&amp;pid=OfficeInsert" ContentType="image/png"/>
  <Default Extension="png&amp;ehk=4nbvPXeeeh6qSTWEX429" ContentType="image/png"/>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theme/themeOverride1.xml" ContentType="application/vnd.openxmlformats-officedocument.themeOverr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xml" ContentType="application/vnd.openxmlformats-officedocument.presentationml.tags+xml"/>
  <Override PartName="/ppt/notesSlides/notesSlide104.xml" ContentType="application/vnd.openxmlformats-officedocument.presentationml.notesSlide+xml"/>
  <Override PartName="/ppt/tags/tag3.xml" ContentType="application/vnd.openxmlformats-officedocument.presentationml.tags+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tags/tag4.xml" ContentType="application/vnd.openxmlformats-officedocument.presentationml.tags+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17" r:id="rId4"/>
    <p:sldMasterId id="2147484082" r:id="rId5"/>
    <p:sldMasterId id="2147484651" r:id="rId6"/>
  </p:sldMasterIdLst>
  <p:notesMasterIdLst>
    <p:notesMasterId r:id="rId155"/>
  </p:notesMasterIdLst>
  <p:handoutMasterIdLst>
    <p:handoutMasterId r:id="rId156"/>
  </p:handoutMasterIdLst>
  <p:sldIdLst>
    <p:sldId id="1386" r:id="rId7"/>
    <p:sldId id="1529" r:id="rId8"/>
    <p:sldId id="1311" r:id="rId9"/>
    <p:sldId id="1514" r:id="rId10"/>
    <p:sldId id="1513" r:id="rId11"/>
    <p:sldId id="1477" r:id="rId12"/>
    <p:sldId id="1540" r:id="rId13"/>
    <p:sldId id="1339" r:id="rId14"/>
    <p:sldId id="1543" r:id="rId15"/>
    <p:sldId id="1380" r:id="rId16"/>
    <p:sldId id="1363" r:id="rId17"/>
    <p:sldId id="1541" r:id="rId18"/>
    <p:sldId id="1537" r:id="rId19"/>
    <p:sldId id="1438" r:id="rId20"/>
    <p:sldId id="1536" r:id="rId21"/>
    <p:sldId id="1510" r:id="rId22"/>
    <p:sldId id="1508" r:id="rId23"/>
    <p:sldId id="1542" r:id="rId24"/>
    <p:sldId id="1544" r:id="rId25"/>
    <p:sldId id="1545" r:id="rId26"/>
    <p:sldId id="1546" r:id="rId27"/>
    <p:sldId id="1547" r:id="rId28"/>
    <p:sldId id="1517" r:id="rId29"/>
    <p:sldId id="1318" r:id="rId30"/>
    <p:sldId id="1539" r:id="rId31"/>
    <p:sldId id="1507" r:id="rId32"/>
    <p:sldId id="1535" r:id="rId33"/>
    <p:sldId id="1413" r:id="rId34"/>
    <p:sldId id="1414" r:id="rId35"/>
    <p:sldId id="1518" r:id="rId36"/>
    <p:sldId id="1394" r:id="rId37"/>
    <p:sldId id="1436" r:id="rId38"/>
    <p:sldId id="1538" r:id="rId39"/>
    <p:sldId id="1530" r:id="rId40"/>
    <p:sldId id="1515" r:id="rId41"/>
    <p:sldId id="1532" r:id="rId42"/>
    <p:sldId id="1519" r:id="rId43"/>
    <p:sldId id="1465" r:id="rId44"/>
    <p:sldId id="1466" r:id="rId45"/>
    <p:sldId id="1528" r:id="rId46"/>
    <p:sldId id="1402" r:id="rId47"/>
    <p:sldId id="1403" r:id="rId48"/>
    <p:sldId id="1404" r:id="rId49"/>
    <p:sldId id="1405" r:id="rId50"/>
    <p:sldId id="1533" r:id="rId51"/>
    <p:sldId id="1520" r:id="rId52"/>
    <p:sldId id="1399" r:id="rId53"/>
    <p:sldId id="1400" r:id="rId54"/>
    <p:sldId id="1401" r:id="rId55"/>
    <p:sldId id="1521" r:id="rId56"/>
    <p:sldId id="1322" r:id="rId57"/>
    <p:sldId id="1359" r:id="rId58"/>
    <p:sldId id="1397" r:id="rId59"/>
    <p:sldId id="1398" r:id="rId60"/>
    <p:sldId id="1522" r:id="rId61"/>
    <p:sldId id="1406" r:id="rId62"/>
    <p:sldId id="1523" r:id="rId63"/>
    <p:sldId id="1454" r:id="rId64"/>
    <p:sldId id="1473" r:id="rId65"/>
    <p:sldId id="1474" r:id="rId66"/>
    <p:sldId id="1525" r:id="rId67"/>
    <p:sldId id="1458" r:id="rId68"/>
    <p:sldId id="1459" r:id="rId69"/>
    <p:sldId id="1462" r:id="rId70"/>
    <p:sldId id="1464" r:id="rId71"/>
    <p:sldId id="1526" r:id="rId72"/>
    <p:sldId id="1512" r:id="rId73"/>
    <p:sldId id="1509" r:id="rId74"/>
    <p:sldId id="1527" r:id="rId75"/>
    <p:sldId id="1418" r:id="rId76"/>
    <p:sldId id="1531" r:id="rId77"/>
    <p:sldId id="1419" r:id="rId78"/>
    <p:sldId id="1501" r:id="rId79"/>
    <p:sldId id="1502" r:id="rId80"/>
    <p:sldId id="1500" r:id="rId81"/>
    <p:sldId id="1445" r:id="rId82"/>
    <p:sldId id="1416" r:id="rId83"/>
    <p:sldId id="1446" r:id="rId84"/>
    <p:sldId id="1447" r:id="rId85"/>
    <p:sldId id="1448" r:id="rId86"/>
    <p:sldId id="1449" r:id="rId87"/>
    <p:sldId id="1450" r:id="rId88"/>
    <p:sldId id="1451" r:id="rId89"/>
    <p:sldId id="1343" r:id="rId90"/>
    <p:sldId id="1346" r:id="rId91"/>
    <p:sldId id="1350" r:id="rId92"/>
    <p:sldId id="1351" r:id="rId93"/>
    <p:sldId id="1352" r:id="rId94"/>
    <p:sldId id="1355" r:id="rId95"/>
    <p:sldId id="1452" r:id="rId96"/>
    <p:sldId id="1358" r:id="rId97"/>
    <p:sldId id="1366" r:id="rId98"/>
    <p:sldId id="1370" r:id="rId99"/>
    <p:sldId id="1371" r:id="rId100"/>
    <p:sldId id="1372" r:id="rId101"/>
    <p:sldId id="1373" r:id="rId102"/>
    <p:sldId id="1374" r:id="rId103"/>
    <p:sldId id="1375" r:id="rId104"/>
    <p:sldId id="1376" r:id="rId105"/>
    <p:sldId id="1377" r:id="rId106"/>
    <p:sldId id="1444" r:id="rId107"/>
    <p:sldId id="1332" r:id="rId108"/>
    <p:sldId id="1368" r:id="rId109"/>
    <p:sldId id="1383" r:id="rId110"/>
    <p:sldId id="1384" r:id="rId111"/>
    <p:sldId id="1367" r:id="rId112"/>
    <p:sldId id="1385" r:id="rId113"/>
    <p:sldId id="1504" r:id="rId114"/>
    <p:sldId id="1430" r:id="rId115"/>
    <p:sldId id="1428" r:id="rId116"/>
    <p:sldId id="1429" r:id="rId117"/>
    <p:sldId id="1411" r:id="rId118"/>
    <p:sldId id="1412" r:id="rId119"/>
    <p:sldId id="1467" r:id="rId120"/>
    <p:sldId id="1468" r:id="rId121"/>
    <p:sldId id="1469" r:id="rId122"/>
    <p:sldId id="1470" r:id="rId123"/>
    <p:sldId id="1471" r:id="rId124"/>
    <p:sldId id="1505" r:id="rId125"/>
    <p:sldId id="1480" r:id="rId126"/>
    <p:sldId id="1481" r:id="rId127"/>
    <p:sldId id="1482" r:id="rId128"/>
    <p:sldId id="1483" r:id="rId129"/>
    <p:sldId id="1484" r:id="rId130"/>
    <p:sldId id="1485" r:id="rId131"/>
    <p:sldId id="1486" r:id="rId132"/>
    <p:sldId id="1487" r:id="rId133"/>
    <p:sldId id="1488" r:id="rId134"/>
    <p:sldId id="1490" r:id="rId135"/>
    <p:sldId id="1491" r:id="rId136"/>
    <p:sldId id="1492" r:id="rId137"/>
    <p:sldId id="1493" r:id="rId138"/>
    <p:sldId id="1494" r:id="rId139"/>
    <p:sldId id="1495" r:id="rId140"/>
    <p:sldId id="1496" r:id="rId141"/>
    <p:sldId id="1497" r:id="rId142"/>
    <p:sldId id="1498" r:id="rId143"/>
    <p:sldId id="1499" r:id="rId144"/>
    <p:sldId id="1423" r:id="rId145"/>
    <p:sldId id="1424" r:id="rId146"/>
    <p:sldId id="1425" r:id="rId147"/>
    <p:sldId id="1426" r:id="rId148"/>
    <p:sldId id="1421" r:id="rId149"/>
    <p:sldId id="1455" r:id="rId150"/>
    <p:sldId id="1456" r:id="rId151"/>
    <p:sldId id="1457" r:id="rId152"/>
    <p:sldId id="1460" r:id="rId153"/>
    <p:sldId id="1461" r:id="rId154"/>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CDC8B3B-DB7A-470B-8182-A625DF1B374D}">
          <p14:sldIdLst>
            <p14:sldId id="1386"/>
          </p14:sldIdLst>
        </p14:section>
        <p14:section name="Summary Section" id="{25EA2120-9D1E-45F8-A285-7889A75595D8}">
          <p14:sldIdLst>
            <p14:sldId id="1529"/>
          </p14:sldIdLst>
        </p14:section>
        <p14:section name="Azure Active Directory" id="{A38BF887-8411-410A-A55E-3E20BBAE42E1}">
          <p14:sldIdLst>
            <p14:sldId id="1311"/>
            <p14:sldId id="1514"/>
            <p14:sldId id="1513"/>
            <p14:sldId id="1477"/>
            <p14:sldId id="1540"/>
            <p14:sldId id="1339"/>
            <p14:sldId id="1543"/>
            <p14:sldId id="1380"/>
            <p14:sldId id="1363"/>
            <p14:sldId id="1541"/>
            <p14:sldId id="1537"/>
            <p14:sldId id="1438"/>
            <p14:sldId id="1536"/>
            <p14:sldId id="1510"/>
            <p14:sldId id="1508"/>
            <p14:sldId id="1542"/>
            <p14:sldId id="1544"/>
            <p14:sldId id="1545"/>
            <p14:sldId id="1546"/>
            <p14:sldId id="1547"/>
          </p14:sldIdLst>
        </p14:section>
        <p14:section name="Azure AD Connect" id="{7BEFEDA1-D81D-4E32-8E2C-2CD9595BD1EC}">
          <p14:sldIdLst>
            <p14:sldId id="1517"/>
            <p14:sldId id="1318"/>
            <p14:sldId id="1539"/>
            <p14:sldId id="1507"/>
            <p14:sldId id="1535"/>
            <p14:sldId id="1413"/>
            <p14:sldId id="1414"/>
          </p14:sldIdLst>
        </p14:section>
        <p14:section name="Federation" id="{4BC918BD-DF3C-4A87-BAB5-0E6A59A7AED7}">
          <p14:sldIdLst>
            <p14:sldId id="1518"/>
            <p14:sldId id="1394"/>
            <p14:sldId id="1436"/>
            <p14:sldId id="1538"/>
            <p14:sldId id="1530"/>
            <p14:sldId id="1515"/>
            <p14:sldId id="1532"/>
          </p14:sldIdLst>
        </p14:section>
        <p14:section name="Azure AD App Proxy" id="{8191D039-44DD-4AA0-B36F-988BBDFABB71}">
          <p14:sldIdLst>
            <p14:sldId id="1519"/>
            <p14:sldId id="1465"/>
            <p14:sldId id="1466"/>
          </p14:sldIdLst>
        </p14:section>
        <p14:section name="Priv Identity Management" id="{8BE1BF3C-7476-4639-A053-D203BC8EB496}">
          <p14:sldIdLst>
            <p14:sldId id="1528"/>
            <p14:sldId id="1402"/>
            <p14:sldId id="1403"/>
            <p14:sldId id="1404"/>
            <p14:sldId id="1405"/>
            <p14:sldId id="1533"/>
          </p14:sldIdLst>
        </p14:section>
        <p14:section name="Identity Protection" id="{1B2CBD7E-3A38-46C5-BA6D-C3E96D8F35E1}">
          <p14:sldIdLst>
            <p14:sldId id="1520"/>
            <p14:sldId id="1399"/>
            <p14:sldId id="1400"/>
            <p14:sldId id="1401"/>
          </p14:sldIdLst>
        </p14:section>
        <p14:section name="MFA" id="{220C12E7-2887-48AB-A524-ED7D100C873E}">
          <p14:sldIdLst>
            <p14:sldId id="1521"/>
            <p14:sldId id="1322"/>
            <p14:sldId id="1359"/>
            <p14:sldId id="1397"/>
            <p14:sldId id="1398"/>
          </p14:sldIdLst>
        </p14:section>
        <p14:section name="Conditional Access" id="{3DF071A5-5AE2-4736-9D27-9F4D5AFE8863}">
          <p14:sldIdLst>
            <p14:sldId id="1522"/>
            <p14:sldId id="1406"/>
          </p14:sldIdLst>
        </p14:section>
        <p14:section name="Application Integration" id="{50BB5A05-02EB-4F5F-BC04-7707C502C10D}">
          <p14:sldIdLst>
            <p14:sldId id="1523"/>
            <p14:sldId id="1454"/>
            <p14:sldId id="1473"/>
            <p14:sldId id="1474"/>
          </p14:sldIdLst>
        </p14:section>
        <p14:section name="AAD Domain Services" id="{5CC822AC-8AA2-43A6-8D36-FE52C112BECF}">
          <p14:sldIdLst>
            <p14:sldId id="1525"/>
            <p14:sldId id="1458"/>
            <p14:sldId id="1459"/>
            <p14:sldId id="1462"/>
            <p14:sldId id="1464"/>
          </p14:sldIdLst>
        </p14:section>
        <p14:section name="Archtecture Discussion" id="{F4EAA0D2-2C8E-4F6C-BA4E-A9820768E1BC}">
          <p14:sldIdLst>
            <p14:sldId id="1526"/>
            <p14:sldId id="1512"/>
            <p14:sldId id="1509"/>
          </p14:sldIdLst>
        </p14:section>
        <p14:section name="B2C &amp; B2B" id="{78337935-B226-4423-A704-23914F7C1228}">
          <p14:sldIdLst>
            <p14:sldId id="1527"/>
            <p14:sldId id="1418"/>
            <p14:sldId id="1531"/>
            <p14:sldId id="1419"/>
          </p14:sldIdLst>
        </p14:section>
        <p14:section name="Next Steps" id="{8F9C5EDC-A42A-4DBE-BFC0-007BAFF91449}">
          <p14:sldIdLst>
            <p14:sldId id="1501"/>
            <p14:sldId id="1502"/>
            <p14:sldId id="1500"/>
          </p14:sldIdLst>
        </p14:section>
        <p14:section name="Design Decisions" id="{54554891-5FA3-485D-90A4-1A46D9D977D1}">
          <p14:sldIdLst>
            <p14:sldId id="1445"/>
            <p14:sldId id="1416"/>
            <p14:sldId id="1446"/>
            <p14:sldId id="1447"/>
            <p14:sldId id="1448"/>
            <p14:sldId id="1449"/>
            <p14:sldId id="1450"/>
            <p14:sldId id="1451"/>
            <p14:sldId id="1343"/>
            <p14:sldId id="1346"/>
            <p14:sldId id="1350"/>
            <p14:sldId id="1351"/>
            <p14:sldId id="1352"/>
            <p14:sldId id="1355"/>
            <p14:sldId id="1452"/>
            <p14:sldId id="1358"/>
            <p14:sldId id="1366"/>
            <p14:sldId id="1370"/>
            <p14:sldId id="1371"/>
            <p14:sldId id="1372"/>
            <p14:sldId id="1373"/>
            <p14:sldId id="1374"/>
            <p14:sldId id="1375"/>
            <p14:sldId id="1376"/>
            <p14:sldId id="1377"/>
          </p14:sldIdLst>
        </p14:section>
        <p14:section name="Domain Controllers in Azure" id="{648B17DF-FD7E-4B4D-A2BE-3C1A328DB639}">
          <p14:sldIdLst>
            <p14:sldId id="1444"/>
            <p14:sldId id="1332"/>
            <p14:sldId id="1368"/>
            <p14:sldId id="1383"/>
            <p14:sldId id="1384"/>
            <p14:sldId id="1367"/>
            <p14:sldId id="1385"/>
          </p14:sldIdLst>
        </p14:section>
        <p14:section name="Appendix Developer Content - Azure AD" id="{07415724-E75E-491E-8675-1330F8165AA8}">
          <p14:sldIdLst>
            <p14:sldId id="1504"/>
            <p14:sldId id="1430"/>
            <p14:sldId id="1428"/>
            <p14:sldId id="1429"/>
          </p14:sldIdLst>
        </p14:section>
        <p14:section name="Appendix Azure AD Connect" id="{AAE44C05-E5CC-47CB-95A2-529FB49D5815}">
          <p14:sldIdLst>
            <p14:sldId id="1411"/>
            <p14:sldId id="1412"/>
          </p14:sldIdLst>
        </p14:section>
        <p14:section name="Appendix - Azure App Proxy" id="{0D33ED43-9D8F-4470-9327-9DA372BAF299}">
          <p14:sldIdLst>
            <p14:sldId id="1467"/>
            <p14:sldId id="1468"/>
            <p14:sldId id="1469"/>
            <p14:sldId id="1470"/>
            <p14:sldId id="1471"/>
          </p14:sldIdLst>
        </p14:section>
        <p14:section name="Appendix App Integration" id="{ABC7FB7D-9681-46C9-8B82-5866D8CCB412}">
          <p14:sldIdLst>
            <p14:sldId id="1505"/>
            <p14:sldId id="1480"/>
            <p14:sldId id="1481"/>
            <p14:sldId id="1482"/>
            <p14:sldId id="1483"/>
            <p14:sldId id="1484"/>
            <p14:sldId id="1485"/>
            <p14:sldId id="1486"/>
            <p14:sldId id="1487"/>
            <p14:sldId id="1488"/>
            <p14:sldId id="1490"/>
            <p14:sldId id="1491"/>
            <p14:sldId id="1492"/>
            <p14:sldId id="1493"/>
            <p14:sldId id="1494"/>
            <p14:sldId id="1495"/>
            <p14:sldId id="1496"/>
            <p14:sldId id="1497"/>
            <p14:sldId id="1498"/>
            <p14:sldId id="1499"/>
          </p14:sldIdLst>
        </p14:section>
        <p14:section name="Appendix Cloud App Discovery" id="{FC6A6067-1FA9-4EEC-A2EE-5947B225C8FB}">
          <p14:sldIdLst>
            <p14:sldId id="1423"/>
            <p14:sldId id="1424"/>
            <p14:sldId id="1425"/>
            <p14:sldId id="1426"/>
            <p14:sldId id="1421"/>
          </p14:sldIdLst>
        </p14:section>
        <p14:section name="Appendix Azure AD DS" id="{B53D2638-FDE4-4412-BAD3-FA8091664732}">
          <p14:sldIdLst>
            <p14:sldId id="1455"/>
            <p14:sldId id="1456"/>
            <p14:sldId id="1457"/>
            <p14:sldId id="1460"/>
            <p14:sldId id="146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FF00"/>
    <a:srgbClr val="FFFFFF"/>
    <a:srgbClr val="525252"/>
    <a:srgbClr val="000000"/>
    <a:srgbClr val="004B1C"/>
    <a:srgbClr val="004B50"/>
    <a:srgbClr val="002050"/>
    <a:srgbClr val="D83B01"/>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E5461B-B108-456F-827A-374D3DF7E3CB}" v="464" dt="2017-12-18T13:23:47.4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769" autoAdjust="0"/>
    <p:restoredTop sz="83972" autoAdjust="0"/>
  </p:normalViewPr>
  <p:slideViewPr>
    <p:cSldViewPr>
      <p:cViewPr varScale="1">
        <p:scale>
          <a:sx n="66" d="100"/>
          <a:sy n="66" d="100"/>
        </p:scale>
        <p:origin x="51" y="24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howGuides="1">
      <p:cViewPr varScale="1">
        <p:scale>
          <a:sx n="83" d="100"/>
          <a:sy n="83" d="100"/>
        </p:scale>
        <p:origin x="303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38" Type="http://schemas.openxmlformats.org/officeDocument/2006/relationships/slide" Target="slides/slide132.xml"/><Relationship Id="rId154" Type="http://schemas.openxmlformats.org/officeDocument/2006/relationships/slide" Target="slides/slide148.xml"/><Relationship Id="rId159" Type="http://schemas.openxmlformats.org/officeDocument/2006/relationships/viewProps" Target="viewProps.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28" Type="http://schemas.openxmlformats.org/officeDocument/2006/relationships/slide" Target="slides/slide122.xml"/><Relationship Id="rId144" Type="http://schemas.openxmlformats.org/officeDocument/2006/relationships/slide" Target="slides/slide138.xml"/><Relationship Id="rId149" Type="http://schemas.openxmlformats.org/officeDocument/2006/relationships/slide" Target="slides/slide143.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160" Type="http://schemas.openxmlformats.org/officeDocument/2006/relationships/theme" Target="theme/theme1.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slide" Target="slides/slide107.xml"/><Relationship Id="rId118" Type="http://schemas.openxmlformats.org/officeDocument/2006/relationships/slide" Target="slides/slide112.xml"/><Relationship Id="rId134" Type="http://schemas.openxmlformats.org/officeDocument/2006/relationships/slide" Target="slides/slide128.xml"/><Relationship Id="rId139" Type="http://schemas.openxmlformats.org/officeDocument/2006/relationships/slide" Target="slides/slide133.xml"/><Relationship Id="rId80" Type="http://schemas.openxmlformats.org/officeDocument/2006/relationships/slide" Target="slides/slide74.xml"/><Relationship Id="rId85" Type="http://schemas.openxmlformats.org/officeDocument/2006/relationships/slide" Target="slides/slide79.xml"/><Relationship Id="rId150" Type="http://schemas.openxmlformats.org/officeDocument/2006/relationships/slide" Target="slides/slide144.xml"/><Relationship Id="rId155" Type="http://schemas.openxmlformats.org/officeDocument/2006/relationships/notesMaster" Target="notesMasters/notesMaster1.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slide" Target="slides/slide123.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40" Type="http://schemas.openxmlformats.org/officeDocument/2006/relationships/slide" Target="slides/slide134.xml"/><Relationship Id="rId145" Type="http://schemas.openxmlformats.org/officeDocument/2006/relationships/slide" Target="slides/slide139.xml"/><Relationship Id="rId16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slide" Target="slides/slide108.xml"/><Relationship Id="rId119" Type="http://schemas.openxmlformats.org/officeDocument/2006/relationships/slide" Target="slides/slide113.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30" Type="http://schemas.openxmlformats.org/officeDocument/2006/relationships/slide" Target="slides/slide124.xml"/><Relationship Id="rId135" Type="http://schemas.openxmlformats.org/officeDocument/2006/relationships/slide" Target="slides/slide129.xml"/><Relationship Id="rId143" Type="http://schemas.openxmlformats.org/officeDocument/2006/relationships/slide" Target="slides/slide137.xml"/><Relationship Id="rId148" Type="http://schemas.openxmlformats.org/officeDocument/2006/relationships/slide" Target="slides/slide142.xml"/><Relationship Id="rId151" Type="http://schemas.openxmlformats.org/officeDocument/2006/relationships/slide" Target="slides/slide145.xml"/><Relationship Id="rId156"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slide" Target="slides/slide135.xml"/><Relationship Id="rId146" Type="http://schemas.openxmlformats.org/officeDocument/2006/relationships/slide" Target="slides/slide140.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162"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157" Type="http://schemas.openxmlformats.org/officeDocument/2006/relationships/commentAuthors" Target="commentAuthors.xml"/><Relationship Id="rId61" Type="http://schemas.openxmlformats.org/officeDocument/2006/relationships/slide" Target="slides/slide55.xml"/><Relationship Id="rId82" Type="http://schemas.openxmlformats.org/officeDocument/2006/relationships/slide" Target="slides/slide76.xml"/><Relationship Id="rId152" Type="http://schemas.openxmlformats.org/officeDocument/2006/relationships/slide" Target="slides/slide14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163" Type="http://schemas.microsoft.com/office/2015/10/relationships/revisionInfo" Target="revisionInfo.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slide" Target="slides/slide14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Grimes" userId="b58058b7-2ab8-4142-95e7-f7e306e81118" providerId="ADAL" clId="{FE150BFE-C7C8-4EFC-B3C9-40AA2FA31AC1}"/>
  </pc:docChgLst>
  <pc:docChgLst>
    <pc:chgData name="Mark Grimes" userId="b58058b7-2ab8-4142-95e7-f7e306e81118" providerId="ADAL" clId="{7CE5461B-B108-456F-827A-374D3DF7E3CB}"/>
    <pc:docChg chg="undo custSel addSld delSld modSld sldOrd modMainMaster addSection delSection modSection">
      <pc:chgData name="Mark Grimes" userId="b58058b7-2ab8-4142-95e7-f7e306e81118" providerId="ADAL" clId="{7CE5461B-B108-456F-827A-374D3DF7E3CB}" dt="2017-12-19T14:05:17.480" v="10538" actId="20577"/>
      <pc:docMkLst>
        <pc:docMk/>
      </pc:docMkLst>
      <pc:sldChg chg="addSp modSp">
        <pc:chgData name="Mark Grimes" userId="b58058b7-2ab8-4142-95e7-f7e306e81118" providerId="ADAL" clId="{7CE5461B-B108-456F-827A-374D3DF7E3CB}" dt="2017-12-18T19:37:16.339" v="9241" actId="171"/>
        <pc:sldMkLst>
          <pc:docMk/>
          <pc:sldMk cId="3876257292" sldId="1311"/>
        </pc:sldMkLst>
        <pc:spChg chg="add mod">
          <ac:chgData name="Mark Grimes" userId="b58058b7-2ab8-4142-95e7-f7e306e81118" providerId="ADAL" clId="{7CE5461B-B108-456F-827A-374D3DF7E3CB}" dt="2017-12-18T19:36:25.127" v="9233" actId="1076"/>
          <ac:spMkLst>
            <pc:docMk/>
            <pc:sldMk cId="3876257292" sldId="1311"/>
            <ac:spMk id="3" creationId="{12796469-EC44-45E3-B804-F91481DCD810}"/>
          </ac:spMkLst>
        </pc:spChg>
        <pc:spChg chg="add mod ord">
          <ac:chgData name="Mark Grimes" userId="b58058b7-2ab8-4142-95e7-f7e306e81118" providerId="ADAL" clId="{7CE5461B-B108-456F-827A-374D3DF7E3CB}" dt="2017-12-18T19:37:16.339" v="9241" actId="171"/>
          <ac:spMkLst>
            <pc:docMk/>
            <pc:sldMk cId="3876257292" sldId="1311"/>
            <ac:spMk id="4" creationId="{1986CB9B-6539-4A3F-A07E-76233965C2C9}"/>
          </ac:spMkLst>
        </pc:spChg>
      </pc:sldChg>
      <pc:sldChg chg="addSp delSp modSp modTransition modNotesTx">
        <pc:chgData name="Mark Grimes" userId="b58058b7-2ab8-4142-95e7-f7e306e81118" providerId="ADAL" clId="{7CE5461B-B108-456F-827A-374D3DF7E3CB}" dt="2017-12-18T18:54:13.611" v="8893" actId="20577"/>
        <pc:sldMkLst>
          <pc:docMk/>
          <pc:sldMk cId="290920776" sldId="1339"/>
        </pc:sldMkLst>
        <pc:spChg chg="mod">
          <ac:chgData name="Mark Grimes" userId="b58058b7-2ab8-4142-95e7-f7e306e81118" providerId="ADAL" clId="{7CE5461B-B108-456F-827A-374D3DF7E3CB}" dt="2017-12-18T18:54:13.611" v="8893" actId="20577"/>
          <ac:spMkLst>
            <pc:docMk/>
            <pc:sldMk cId="290920776" sldId="1339"/>
            <ac:spMk id="8" creationId="{00000000-0000-0000-0000-000000000000}"/>
          </ac:spMkLst>
        </pc:spChg>
        <pc:picChg chg="add del mod">
          <ac:chgData name="Mark Grimes" userId="b58058b7-2ab8-4142-95e7-f7e306e81118" providerId="ADAL" clId="{7CE5461B-B108-456F-827A-374D3DF7E3CB}" dt="2017-12-18T13:54:24.288" v="5831" actId="478"/>
          <ac:picMkLst>
            <pc:docMk/>
            <pc:sldMk cId="290920776" sldId="1339"/>
            <ac:picMk id="3" creationId="{7797964A-8DBC-403E-AD7D-75F9B35D6E5F}"/>
          </ac:picMkLst>
        </pc:picChg>
        <pc:picChg chg="del">
          <ac:chgData name="Mark Grimes" userId="b58058b7-2ab8-4142-95e7-f7e306e81118" providerId="ADAL" clId="{7CE5461B-B108-456F-827A-374D3DF7E3CB}" dt="2017-12-18T13:45:44.512" v="5230" actId="478"/>
          <ac:picMkLst>
            <pc:docMk/>
            <pc:sldMk cId="290920776" sldId="1339"/>
            <ac:picMk id="4" creationId="{00000000-0000-0000-0000-000000000000}"/>
          </ac:picMkLst>
        </pc:picChg>
        <pc:picChg chg="add mod">
          <ac:chgData name="Mark Grimes" userId="b58058b7-2ab8-4142-95e7-f7e306e81118" providerId="ADAL" clId="{7CE5461B-B108-456F-827A-374D3DF7E3CB}" dt="2017-12-18T13:54:57.746" v="5833" actId="1076"/>
          <ac:picMkLst>
            <pc:docMk/>
            <pc:sldMk cId="290920776" sldId="1339"/>
            <ac:picMk id="5" creationId="{7E18F3A8-BB6C-4D93-AB2D-3505236E3F9B}"/>
          </ac:picMkLst>
        </pc:picChg>
      </pc:sldChg>
      <pc:sldChg chg="modSp del">
        <pc:chgData name="Mark Grimes" userId="b58058b7-2ab8-4142-95e7-f7e306e81118" providerId="ADAL" clId="{7CE5461B-B108-456F-827A-374D3DF7E3CB}" dt="2017-12-18T19:12:12.034" v="8940" actId="2696"/>
        <pc:sldMkLst>
          <pc:docMk/>
          <pc:sldMk cId="980968615" sldId="1354"/>
        </pc:sldMkLst>
        <pc:spChg chg="mod">
          <ac:chgData name="Mark Grimes" userId="b58058b7-2ab8-4142-95e7-f7e306e81118" providerId="ADAL" clId="{7CE5461B-B108-456F-827A-374D3DF7E3CB}" dt="2017-12-18T19:09:55.053" v="8939" actId="20577"/>
          <ac:spMkLst>
            <pc:docMk/>
            <pc:sldMk cId="980968615" sldId="1354"/>
            <ac:spMk id="17" creationId="{00000000-0000-0000-0000-000000000000}"/>
          </ac:spMkLst>
        </pc:spChg>
      </pc:sldChg>
      <pc:sldChg chg="add del">
        <pc:chgData name="Mark Grimes" userId="b58058b7-2ab8-4142-95e7-f7e306e81118" providerId="ADAL" clId="{7CE5461B-B108-456F-827A-374D3DF7E3CB}" dt="2017-12-18T19:08:51.504" v="8931" actId="2696"/>
        <pc:sldMkLst>
          <pc:docMk/>
          <pc:sldMk cId="4051959813" sldId="1387"/>
        </pc:sldMkLst>
      </pc:sldChg>
      <pc:sldChg chg="addSp modSp">
        <pc:chgData name="Mark Grimes" userId="b58058b7-2ab8-4142-95e7-f7e306e81118" providerId="ADAL" clId="{7CE5461B-B108-456F-827A-374D3DF7E3CB}" dt="2017-12-18T17:49:40.703" v="8781" actId="14100"/>
        <pc:sldMkLst>
          <pc:docMk/>
          <pc:sldMk cId="3697033559" sldId="1394"/>
        </pc:sldMkLst>
        <pc:spChg chg="add mod">
          <ac:chgData name="Mark Grimes" userId="b58058b7-2ab8-4142-95e7-f7e306e81118" providerId="ADAL" clId="{7CE5461B-B108-456F-827A-374D3DF7E3CB}" dt="2017-12-15T23:52:15.629" v="3317" actId="20577"/>
          <ac:spMkLst>
            <pc:docMk/>
            <pc:sldMk cId="3697033559" sldId="1394"/>
            <ac:spMk id="3" creationId="{34F4C32D-3AB1-4CA4-856B-38033EBF9A01}"/>
          </ac:spMkLst>
        </pc:spChg>
        <pc:spChg chg="mod">
          <ac:chgData name="Mark Grimes" userId="b58058b7-2ab8-4142-95e7-f7e306e81118" providerId="ADAL" clId="{7CE5461B-B108-456F-827A-374D3DF7E3CB}" dt="2017-12-18T17:48:30.040" v="8775" actId="5793"/>
          <ac:spMkLst>
            <pc:docMk/>
            <pc:sldMk cId="3697033559" sldId="1394"/>
            <ac:spMk id="8" creationId="{00000000-0000-0000-0000-000000000000}"/>
          </ac:spMkLst>
        </pc:spChg>
        <pc:picChg chg="add mod">
          <ac:chgData name="Mark Grimes" userId="b58058b7-2ab8-4142-95e7-f7e306e81118" providerId="ADAL" clId="{7CE5461B-B108-456F-827A-374D3DF7E3CB}" dt="2017-12-18T17:49:40.703" v="8781" actId="14100"/>
          <ac:picMkLst>
            <pc:docMk/>
            <pc:sldMk cId="3697033559" sldId="1394"/>
            <ac:picMk id="4" creationId="{DDA3F5F9-76B6-4D4B-862F-80C25EB027A7}"/>
          </ac:picMkLst>
        </pc:picChg>
      </pc:sldChg>
      <pc:sldChg chg="addSp delSp modSp addAnim delAnim modAnim modNotesTx">
        <pc:chgData name="Mark Grimes" userId="b58058b7-2ab8-4142-95e7-f7e306e81118" providerId="ADAL" clId="{7CE5461B-B108-456F-827A-374D3DF7E3CB}" dt="2017-12-18T19:32:26.387" v="9214" actId="478"/>
        <pc:sldMkLst>
          <pc:docMk/>
          <pc:sldMk cId="884173995" sldId="1402"/>
        </pc:sldMkLst>
        <pc:spChg chg="add del mod">
          <ac:chgData name="Mark Grimes" userId="b58058b7-2ab8-4142-95e7-f7e306e81118" providerId="ADAL" clId="{7CE5461B-B108-456F-827A-374D3DF7E3CB}" dt="2017-12-15T18:40:18.716" v="2414" actId="478"/>
          <ac:spMkLst>
            <pc:docMk/>
            <pc:sldMk cId="884173995" sldId="1402"/>
            <ac:spMk id="3" creationId="{6AB2AF96-CDA4-4890-A78C-BB4699A4DD10}"/>
          </ac:spMkLst>
        </pc:spChg>
        <pc:spChg chg="add">
          <ac:chgData name="Mark Grimes" userId="b58058b7-2ab8-4142-95e7-f7e306e81118" providerId="ADAL" clId="{7CE5461B-B108-456F-827A-374D3DF7E3CB}" dt="2017-12-15T18:40:23.638" v="2415" actId="20577"/>
          <ac:spMkLst>
            <pc:docMk/>
            <pc:sldMk cId="884173995" sldId="1402"/>
            <ac:spMk id="7" creationId="{2D3B8383-726A-42A3-A84B-5EF20664CCB8}"/>
          </ac:spMkLst>
        </pc:spChg>
        <pc:spChg chg="add">
          <ac:chgData name="Mark Grimes" userId="b58058b7-2ab8-4142-95e7-f7e306e81118" providerId="ADAL" clId="{7CE5461B-B108-456F-827A-374D3DF7E3CB}" dt="2017-12-15T18:40:23.638" v="2415" actId="20577"/>
          <ac:spMkLst>
            <pc:docMk/>
            <pc:sldMk cId="884173995" sldId="1402"/>
            <ac:spMk id="8" creationId="{8705311F-AF95-4C61-AE3F-82EF41E597D4}"/>
          </ac:spMkLst>
        </pc:spChg>
        <pc:spChg chg="add">
          <ac:chgData name="Mark Grimes" userId="b58058b7-2ab8-4142-95e7-f7e306e81118" providerId="ADAL" clId="{7CE5461B-B108-456F-827A-374D3DF7E3CB}" dt="2017-12-15T18:40:23.638" v="2415" actId="20577"/>
          <ac:spMkLst>
            <pc:docMk/>
            <pc:sldMk cId="884173995" sldId="1402"/>
            <ac:spMk id="9" creationId="{0C1901BC-B442-475F-A3CB-4A99D3E3E212}"/>
          </ac:spMkLst>
        </pc:spChg>
        <pc:spChg chg="add">
          <ac:chgData name="Mark Grimes" userId="b58058b7-2ab8-4142-95e7-f7e306e81118" providerId="ADAL" clId="{7CE5461B-B108-456F-827A-374D3DF7E3CB}" dt="2017-12-15T18:40:23.638" v="2415" actId="20577"/>
          <ac:spMkLst>
            <pc:docMk/>
            <pc:sldMk cId="884173995" sldId="1402"/>
            <ac:spMk id="10" creationId="{43297747-6C9C-4C35-AAAC-B495924A8D26}"/>
          </ac:spMkLst>
        </pc:spChg>
        <pc:spChg chg="add">
          <ac:chgData name="Mark Grimes" userId="b58058b7-2ab8-4142-95e7-f7e306e81118" providerId="ADAL" clId="{7CE5461B-B108-456F-827A-374D3DF7E3CB}" dt="2017-12-15T18:40:23.638" v="2415" actId="20577"/>
          <ac:spMkLst>
            <pc:docMk/>
            <pc:sldMk cId="884173995" sldId="1402"/>
            <ac:spMk id="11" creationId="{CBCD887A-1755-47C5-8B42-BAC4954204DD}"/>
          </ac:spMkLst>
        </pc:spChg>
        <pc:spChg chg="add">
          <ac:chgData name="Mark Grimes" userId="b58058b7-2ab8-4142-95e7-f7e306e81118" providerId="ADAL" clId="{7CE5461B-B108-456F-827A-374D3DF7E3CB}" dt="2017-12-15T18:40:23.638" v="2415" actId="20577"/>
          <ac:spMkLst>
            <pc:docMk/>
            <pc:sldMk cId="884173995" sldId="1402"/>
            <ac:spMk id="12" creationId="{B9089BB5-A928-4F3A-8273-B360A69833AC}"/>
          </ac:spMkLst>
        </pc:spChg>
        <pc:spChg chg="del">
          <ac:chgData name="Mark Grimes" userId="b58058b7-2ab8-4142-95e7-f7e306e81118" providerId="ADAL" clId="{7CE5461B-B108-456F-827A-374D3DF7E3CB}" dt="2017-12-15T18:40:17.659" v="2413" actId="478"/>
          <ac:spMkLst>
            <pc:docMk/>
            <pc:sldMk cId="884173995" sldId="1402"/>
            <ac:spMk id="15" creationId="{00000000-0000-0000-0000-000000000000}"/>
          </ac:spMkLst>
        </pc:spChg>
        <pc:spChg chg="del">
          <ac:chgData name="Mark Grimes" userId="b58058b7-2ab8-4142-95e7-f7e306e81118" providerId="ADAL" clId="{7CE5461B-B108-456F-827A-374D3DF7E3CB}" dt="2017-12-15T18:40:17.659" v="2413" actId="478"/>
          <ac:spMkLst>
            <pc:docMk/>
            <pc:sldMk cId="884173995" sldId="1402"/>
            <ac:spMk id="16" creationId="{00000000-0000-0000-0000-000000000000}"/>
          </ac:spMkLst>
        </pc:spChg>
        <pc:spChg chg="del">
          <ac:chgData name="Mark Grimes" userId="b58058b7-2ab8-4142-95e7-f7e306e81118" providerId="ADAL" clId="{7CE5461B-B108-456F-827A-374D3DF7E3CB}" dt="2017-12-15T18:40:17.659" v="2413" actId="478"/>
          <ac:spMkLst>
            <pc:docMk/>
            <pc:sldMk cId="884173995" sldId="1402"/>
            <ac:spMk id="17" creationId="{00000000-0000-0000-0000-000000000000}"/>
          </ac:spMkLst>
        </pc:spChg>
        <pc:spChg chg="add del">
          <ac:chgData name="Mark Grimes" userId="b58058b7-2ab8-4142-95e7-f7e306e81118" providerId="ADAL" clId="{7CE5461B-B108-456F-827A-374D3DF7E3CB}" dt="2017-12-18T19:32:26.387" v="9214" actId="478"/>
          <ac:spMkLst>
            <pc:docMk/>
            <pc:sldMk cId="884173995" sldId="1402"/>
            <ac:spMk id="20" creationId="{F33B42EC-66AB-45D2-B515-9CEDF2B9BF63}"/>
          </ac:spMkLst>
        </pc:spChg>
        <pc:spChg chg="add">
          <ac:chgData name="Mark Grimes" userId="b58058b7-2ab8-4142-95e7-f7e306e81118" providerId="ADAL" clId="{7CE5461B-B108-456F-827A-374D3DF7E3CB}" dt="2017-12-15T18:40:23.638" v="2415" actId="20577"/>
          <ac:spMkLst>
            <pc:docMk/>
            <pc:sldMk cId="884173995" sldId="1402"/>
            <ac:spMk id="38" creationId="{24660A59-2E08-4E44-A27B-803DEF6AD262}"/>
          </ac:spMkLst>
        </pc:spChg>
        <pc:spChg chg="add">
          <ac:chgData name="Mark Grimes" userId="b58058b7-2ab8-4142-95e7-f7e306e81118" providerId="ADAL" clId="{7CE5461B-B108-456F-827A-374D3DF7E3CB}" dt="2017-12-15T18:40:23.638" v="2415" actId="20577"/>
          <ac:spMkLst>
            <pc:docMk/>
            <pc:sldMk cId="884173995" sldId="1402"/>
            <ac:spMk id="46" creationId="{BA97C2C2-AA32-4C34-B251-912213437CAD}"/>
          </ac:spMkLst>
        </pc:spChg>
        <pc:spChg chg="add">
          <ac:chgData name="Mark Grimes" userId="b58058b7-2ab8-4142-95e7-f7e306e81118" providerId="ADAL" clId="{7CE5461B-B108-456F-827A-374D3DF7E3CB}" dt="2017-12-15T18:40:23.638" v="2415" actId="20577"/>
          <ac:spMkLst>
            <pc:docMk/>
            <pc:sldMk cId="884173995" sldId="1402"/>
            <ac:spMk id="55" creationId="{854565F5-56CA-49DB-9C2E-A168C2E9C85E}"/>
          </ac:spMkLst>
        </pc:spChg>
        <pc:grpChg chg="add">
          <ac:chgData name="Mark Grimes" userId="b58058b7-2ab8-4142-95e7-f7e306e81118" providerId="ADAL" clId="{7CE5461B-B108-456F-827A-374D3DF7E3CB}" dt="2017-12-15T18:40:23.638" v="2415" actId="20577"/>
          <ac:grpSpMkLst>
            <pc:docMk/>
            <pc:sldMk cId="884173995" sldId="1402"/>
            <ac:grpSpMk id="13" creationId="{118E3EA5-BA8F-436E-A11B-39B681BCBC25}"/>
          </ac:grpSpMkLst>
        </pc:grpChg>
        <pc:grpChg chg="add">
          <ac:chgData name="Mark Grimes" userId="b58058b7-2ab8-4142-95e7-f7e306e81118" providerId="ADAL" clId="{7CE5461B-B108-456F-827A-374D3DF7E3CB}" dt="2017-12-15T18:40:23.638" v="2415" actId="20577"/>
          <ac:grpSpMkLst>
            <pc:docMk/>
            <pc:sldMk cId="884173995" sldId="1402"/>
            <ac:grpSpMk id="22" creationId="{AB9253C3-AC2D-4900-B93D-CDE079C5F46F}"/>
          </ac:grpSpMkLst>
        </pc:grpChg>
        <pc:grpChg chg="add">
          <ac:chgData name="Mark Grimes" userId="b58058b7-2ab8-4142-95e7-f7e306e81118" providerId="ADAL" clId="{7CE5461B-B108-456F-827A-374D3DF7E3CB}" dt="2017-12-15T18:40:23.638" v="2415" actId="20577"/>
          <ac:grpSpMkLst>
            <pc:docMk/>
            <pc:sldMk cId="884173995" sldId="1402"/>
            <ac:grpSpMk id="25" creationId="{6EB9B7D9-B7EE-4BA8-9A12-E5643667773C}"/>
          </ac:grpSpMkLst>
        </pc:grpChg>
        <pc:grpChg chg="add">
          <ac:chgData name="Mark Grimes" userId="b58058b7-2ab8-4142-95e7-f7e306e81118" providerId="ADAL" clId="{7CE5461B-B108-456F-827A-374D3DF7E3CB}" dt="2017-12-15T18:40:23.638" v="2415" actId="20577"/>
          <ac:grpSpMkLst>
            <pc:docMk/>
            <pc:sldMk cId="884173995" sldId="1402"/>
            <ac:grpSpMk id="40" creationId="{9EFABA01-526F-442B-ABC1-4A2A05C62137}"/>
          </ac:grpSpMkLst>
        </pc:grpChg>
        <pc:grpChg chg="add">
          <ac:chgData name="Mark Grimes" userId="b58058b7-2ab8-4142-95e7-f7e306e81118" providerId="ADAL" clId="{7CE5461B-B108-456F-827A-374D3DF7E3CB}" dt="2017-12-15T18:40:23.638" v="2415" actId="20577"/>
          <ac:grpSpMkLst>
            <pc:docMk/>
            <pc:sldMk cId="884173995" sldId="1402"/>
            <ac:grpSpMk id="43" creationId="{D0C4C6EF-DA4B-4B77-BA84-C0847F162E2F}"/>
          </ac:grpSpMkLst>
        </pc:grpChg>
        <pc:grpChg chg="add">
          <ac:chgData name="Mark Grimes" userId="b58058b7-2ab8-4142-95e7-f7e306e81118" providerId="ADAL" clId="{7CE5461B-B108-456F-827A-374D3DF7E3CB}" dt="2017-12-15T18:40:23.638" v="2415" actId="20577"/>
          <ac:grpSpMkLst>
            <pc:docMk/>
            <pc:sldMk cId="884173995" sldId="1402"/>
            <ac:grpSpMk id="47" creationId="{3642B810-96CE-4446-8FFF-2907EE3C938E}"/>
          </ac:grpSpMkLst>
        </pc:grpChg>
        <pc:grpChg chg="add">
          <ac:chgData name="Mark Grimes" userId="b58058b7-2ab8-4142-95e7-f7e306e81118" providerId="ADAL" clId="{7CE5461B-B108-456F-827A-374D3DF7E3CB}" dt="2017-12-15T18:40:23.638" v="2415" actId="20577"/>
          <ac:grpSpMkLst>
            <pc:docMk/>
            <pc:sldMk cId="884173995" sldId="1402"/>
            <ac:grpSpMk id="52" creationId="{2039B2DA-975C-4574-9B4B-739FC70A8E3E}"/>
          </ac:grpSpMkLst>
        </pc:grpChg>
        <pc:grpChg chg="add">
          <ac:chgData name="Mark Grimes" userId="b58058b7-2ab8-4142-95e7-f7e306e81118" providerId="ADAL" clId="{7CE5461B-B108-456F-827A-374D3DF7E3CB}" dt="2017-12-15T18:40:23.638" v="2415" actId="20577"/>
          <ac:grpSpMkLst>
            <pc:docMk/>
            <pc:sldMk cId="884173995" sldId="1402"/>
            <ac:grpSpMk id="56" creationId="{3B75F394-121F-4ACB-A124-E126B6714457}"/>
          </ac:grpSpMkLst>
        </pc:grpChg>
        <pc:picChg chg="add">
          <ac:chgData name="Mark Grimes" userId="b58058b7-2ab8-4142-95e7-f7e306e81118" providerId="ADAL" clId="{7CE5461B-B108-456F-827A-374D3DF7E3CB}" dt="2017-12-15T18:40:23.638" v="2415" actId="20577"/>
          <ac:picMkLst>
            <pc:docMk/>
            <pc:sldMk cId="884173995" sldId="1402"/>
            <ac:picMk id="21" creationId="{FD6DB590-E1E2-43A3-B410-8F4698BA33FC}"/>
          </ac:picMkLst>
        </pc:picChg>
        <pc:cxnChg chg="add">
          <ac:chgData name="Mark Grimes" userId="b58058b7-2ab8-4142-95e7-f7e306e81118" providerId="ADAL" clId="{7CE5461B-B108-456F-827A-374D3DF7E3CB}" dt="2017-12-15T18:40:23.638" v="2415" actId="20577"/>
          <ac:cxnSpMkLst>
            <pc:docMk/>
            <pc:sldMk cId="884173995" sldId="1402"/>
            <ac:cxnSpMk id="39" creationId="{16303A7D-1E6D-4482-B37C-80219A579839}"/>
          </ac:cxnSpMkLst>
        </pc:cxnChg>
        <pc:cxnChg chg="add">
          <ac:chgData name="Mark Grimes" userId="b58058b7-2ab8-4142-95e7-f7e306e81118" providerId="ADAL" clId="{7CE5461B-B108-456F-827A-374D3DF7E3CB}" dt="2017-12-15T18:40:23.638" v="2415" actId="20577"/>
          <ac:cxnSpMkLst>
            <pc:docMk/>
            <pc:sldMk cId="884173995" sldId="1402"/>
            <ac:cxnSpMk id="50" creationId="{9840DBE1-FE45-44DF-B588-2547FAADB27B}"/>
          </ac:cxnSpMkLst>
        </pc:cxnChg>
        <pc:cxnChg chg="add">
          <ac:chgData name="Mark Grimes" userId="b58058b7-2ab8-4142-95e7-f7e306e81118" providerId="ADAL" clId="{7CE5461B-B108-456F-827A-374D3DF7E3CB}" dt="2017-12-15T18:40:23.638" v="2415" actId="20577"/>
          <ac:cxnSpMkLst>
            <pc:docMk/>
            <pc:sldMk cId="884173995" sldId="1402"/>
            <ac:cxnSpMk id="51" creationId="{C4E37A4E-2F73-4835-A680-18D139E6C5CB}"/>
          </ac:cxnSpMkLst>
        </pc:cxnChg>
      </pc:sldChg>
      <pc:sldChg chg="addSp delSp modSp delAnim modAnim modNotesTx">
        <pc:chgData name="Mark Grimes" userId="b58058b7-2ab8-4142-95e7-f7e306e81118" providerId="ADAL" clId="{7CE5461B-B108-456F-827A-374D3DF7E3CB}" dt="2017-12-18T19:27:46.983" v="9188" actId="165"/>
        <pc:sldMkLst>
          <pc:docMk/>
          <pc:sldMk cId="1156047739" sldId="1406"/>
        </pc:sldMkLst>
        <pc:spChg chg="add mod">
          <ac:chgData name="Mark Grimes" userId="b58058b7-2ab8-4142-95e7-f7e306e81118" providerId="ADAL" clId="{7CE5461B-B108-456F-827A-374D3DF7E3CB}" dt="2017-12-18T15:27:05.098" v="8379" actId="20577"/>
          <ac:spMkLst>
            <pc:docMk/>
            <pc:sldMk cId="1156047739" sldId="1406"/>
            <ac:spMk id="2" creationId="{05C38CF5-D689-4080-BEE1-436093246EEF}"/>
          </ac:spMkLst>
        </pc:spChg>
        <pc:spChg chg="del">
          <ac:chgData name="Mark Grimes" userId="b58058b7-2ab8-4142-95e7-f7e306e81118" providerId="ADAL" clId="{7CE5461B-B108-456F-827A-374D3DF7E3CB}" dt="2017-12-15T18:49:59.601" v="2527" actId="478"/>
          <ac:spMkLst>
            <pc:docMk/>
            <pc:sldMk cId="1156047739" sldId="1406"/>
            <ac:spMk id="2" creationId="{00000000-0000-0000-0000-000000000000}"/>
          </ac:spMkLst>
        </pc:spChg>
        <pc:spChg chg="del">
          <ac:chgData name="Mark Grimes" userId="b58058b7-2ab8-4142-95e7-f7e306e81118" providerId="ADAL" clId="{7CE5461B-B108-456F-827A-374D3DF7E3CB}" dt="2017-12-15T18:49:59.601" v="2527" actId="478"/>
          <ac:spMkLst>
            <pc:docMk/>
            <pc:sldMk cId="1156047739" sldId="1406"/>
            <ac:spMk id="6" creationId="{00000000-0000-0000-0000-000000000000}"/>
          </ac:spMkLst>
        </pc:spChg>
        <pc:spChg chg="add del mod">
          <ac:chgData name="Mark Grimes" userId="b58058b7-2ab8-4142-95e7-f7e306e81118" providerId="ADAL" clId="{7CE5461B-B108-456F-827A-374D3DF7E3CB}" dt="2017-12-15T18:50:00.364" v="2528" actId="478"/>
          <ac:spMkLst>
            <pc:docMk/>
            <pc:sldMk cId="1156047739" sldId="1406"/>
            <ac:spMk id="8" creationId="{1FA15E9A-5F7E-41DF-868A-2E3E7F408CBF}"/>
          </ac:spMkLst>
        </pc:spChg>
        <pc:spChg chg="add del mod">
          <ac:chgData name="Mark Grimes" userId="b58058b7-2ab8-4142-95e7-f7e306e81118" providerId="ADAL" clId="{7CE5461B-B108-456F-827A-374D3DF7E3CB}" dt="2017-12-15T18:50:00.364" v="2528" actId="478"/>
          <ac:spMkLst>
            <pc:docMk/>
            <pc:sldMk cId="1156047739" sldId="1406"/>
            <ac:spMk id="19" creationId="{0ED01696-3FC9-4133-8461-6246204C5CD2}"/>
          </ac:spMkLst>
        </pc:spChg>
        <pc:spChg chg="add">
          <ac:chgData name="Mark Grimes" userId="b58058b7-2ab8-4142-95e7-f7e306e81118" providerId="ADAL" clId="{7CE5461B-B108-456F-827A-374D3DF7E3CB}" dt="2017-12-15T18:50:13.028" v="2529" actId="1076"/>
          <ac:spMkLst>
            <pc:docMk/>
            <pc:sldMk cId="1156047739" sldId="1406"/>
            <ac:spMk id="28" creationId="{3632CE59-654C-4272-956C-9459248CA940}"/>
          </ac:spMkLst>
        </pc:spChg>
        <pc:spChg chg="add">
          <ac:chgData name="Mark Grimes" userId="b58058b7-2ab8-4142-95e7-f7e306e81118" providerId="ADAL" clId="{7CE5461B-B108-456F-827A-374D3DF7E3CB}" dt="2017-12-15T18:50:13.028" v="2529" actId="1076"/>
          <ac:spMkLst>
            <pc:docMk/>
            <pc:sldMk cId="1156047739" sldId="1406"/>
            <ac:spMk id="29" creationId="{B426C5CA-1DE1-44AE-AB45-CDBA24158C17}"/>
          </ac:spMkLst>
        </pc:spChg>
        <pc:spChg chg="add">
          <ac:chgData name="Mark Grimes" userId="b58058b7-2ab8-4142-95e7-f7e306e81118" providerId="ADAL" clId="{7CE5461B-B108-456F-827A-374D3DF7E3CB}" dt="2017-12-15T18:50:13.028" v="2529" actId="1076"/>
          <ac:spMkLst>
            <pc:docMk/>
            <pc:sldMk cId="1156047739" sldId="1406"/>
            <ac:spMk id="30" creationId="{FBCE6EF0-54E9-4A3F-B4AD-233CEA26C6D7}"/>
          </ac:spMkLst>
        </pc:spChg>
        <pc:spChg chg="add">
          <ac:chgData name="Mark Grimes" userId="b58058b7-2ab8-4142-95e7-f7e306e81118" providerId="ADAL" clId="{7CE5461B-B108-456F-827A-374D3DF7E3CB}" dt="2017-12-15T18:50:13.028" v="2529" actId="1076"/>
          <ac:spMkLst>
            <pc:docMk/>
            <pc:sldMk cId="1156047739" sldId="1406"/>
            <ac:spMk id="44" creationId="{65BE90E8-9A02-44ED-AC7C-F20182F3AE51}"/>
          </ac:spMkLst>
        </pc:spChg>
        <pc:spChg chg="add">
          <ac:chgData name="Mark Grimes" userId="b58058b7-2ab8-4142-95e7-f7e306e81118" providerId="ADAL" clId="{7CE5461B-B108-456F-827A-374D3DF7E3CB}" dt="2017-12-15T18:50:13.028" v="2529" actId="1076"/>
          <ac:spMkLst>
            <pc:docMk/>
            <pc:sldMk cId="1156047739" sldId="1406"/>
            <ac:spMk id="50" creationId="{F74ACC76-A2A2-4CC6-9818-346B38E2CFED}"/>
          </ac:spMkLst>
        </pc:spChg>
        <pc:spChg chg="add">
          <ac:chgData name="Mark Grimes" userId="b58058b7-2ab8-4142-95e7-f7e306e81118" providerId="ADAL" clId="{7CE5461B-B108-456F-827A-374D3DF7E3CB}" dt="2017-12-15T18:50:13.028" v="2529" actId="1076"/>
          <ac:spMkLst>
            <pc:docMk/>
            <pc:sldMk cId="1156047739" sldId="1406"/>
            <ac:spMk id="56" creationId="{8ACBBDBE-C861-4A39-8845-6636BDEAF19D}"/>
          </ac:spMkLst>
        </pc:spChg>
        <pc:spChg chg="add">
          <ac:chgData name="Mark Grimes" userId="b58058b7-2ab8-4142-95e7-f7e306e81118" providerId="ADAL" clId="{7CE5461B-B108-456F-827A-374D3DF7E3CB}" dt="2017-12-15T18:50:13.028" v="2529" actId="1076"/>
          <ac:spMkLst>
            <pc:docMk/>
            <pc:sldMk cId="1156047739" sldId="1406"/>
            <ac:spMk id="67" creationId="{954FEAEC-4784-4EB5-B867-338B67FFFD59}"/>
          </ac:spMkLst>
        </pc:spChg>
        <pc:spChg chg="add">
          <ac:chgData name="Mark Grimes" userId="b58058b7-2ab8-4142-95e7-f7e306e81118" providerId="ADAL" clId="{7CE5461B-B108-456F-827A-374D3DF7E3CB}" dt="2017-12-15T18:50:13.028" v="2529" actId="1076"/>
          <ac:spMkLst>
            <pc:docMk/>
            <pc:sldMk cId="1156047739" sldId="1406"/>
            <ac:spMk id="76" creationId="{9DAA7547-BAB3-4880-8460-683A99B4D0FF}"/>
          </ac:spMkLst>
        </pc:spChg>
        <pc:spChg chg="add">
          <ac:chgData name="Mark Grimes" userId="b58058b7-2ab8-4142-95e7-f7e306e81118" providerId="ADAL" clId="{7CE5461B-B108-456F-827A-374D3DF7E3CB}" dt="2017-12-15T18:50:13.028" v="2529" actId="1076"/>
          <ac:spMkLst>
            <pc:docMk/>
            <pc:sldMk cId="1156047739" sldId="1406"/>
            <ac:spMk id="77" creationId="{1B20BDC6-D46F-4133-93DB-5326D92CB196}"/>
          </ac:spMkLst>
        </pc:spChg>
        <pc:spChg chg="add">
          <ac:chgData name="Mark Grimes" userId="b58058b7-2ab8-4142-95e7-f7e306e81118" providerId="ADAL" clId="{7CE5461B-B108-456F-827A-374D3DF7E3CB}" dt="2017-12-15T18:50:13.028" v="2529" actId="1076"/>
          <ac:spMkLst>
            <pc:docMk/>
            <pc:sldMk cId="1156047739" sldId="1406"/>
            <ac:spMk id="78" creationId="{BCC62879-484F-4D63-973E-126B9CA91E22}"/>
          </ac:spMkLst>
        </pc:spChg>
        <pc:spChg chg="add">
          <ac:chgData name="Mark Grimes" userId="b58058b7-2ab8-4142-95e7-f7e306e81118" providerId="ADAL" clId="{7CE5461B-B108-456F-827A-374D3DF7E3CB}" dt="2017-12-15T18:50:13.028" v="2529" actId="1076"/>
          <ac:spMkLst>
            <pc:docMk/>
            <pc:sldMk cId="1156047739" sldId="1406"/>
            <ac:spMk id="93" creationId="{8B576D5B-70CF-4C39-8410-AA5315F03BBF}"/>
          </ac:spMkLst>
        </pc:spChg>
        <pc:spChg chg="add">
          <ac:chgData name="Mark Grimes" userId="b58058b7-2ab8-4142-95e7-f7e306e81118" providerId="ADAL" clId="{7CE5461B-B108-456F-827A-374D3DF7E3CB}" dt="2017-12-15T18:50:13.028" v="2529" actId="1076"/>
          <ac:spMkLst>
            <pc:docMk/>
            <pc:sldMk cId="1156047739" sldId="1406"/>
            <ac:spMk id="94" creationId="{F69FD9F2-A4AC-44CD-B2AF-2FC126C7A17C}"/>
          </ac:spMkLst>
        </pc:spChg>
        <pc:spChg chg="add">
          <ac:chgData name="Mark Grimes" userId="b58058b7-2ab8-4142-95e7-f7e306e81118" providerId="ADAL" clId="{7CE5461B-B108-456F-827A-374D3DF7E3CB}" dt="2017-12-15T18:50:13.028" v="2529" actId="1076"/>
          <ac:spMkLst>
            <pc:docMk/>
            <pc:sldMk cId="1156047739" sldId="1406"/>
            <ac:spMk id="119" creationId="{4D73626C-4791-40D7-B394-227BE32CAEC3}"/>
          </ac:spMkLst>
        </pc:spChg>
        <pc:spChg chg="add">
          <ac:chgData name="Mark Grimes" userId="b58058b7-2ab8-4142-95e7-f7e306e81118" providerId="ADAL" clId="{7CE5461B-B108-456F-827A-374D3DF7E3CB}" dt="2017-12-15T18:50:13.028" v="2529" actId="1076"/>
          <ac:spMkLst>
            <pc:docMk/>
            <pc:sldMk cId="1156047739" sldId="1406"/>
            <ac:spMk id="132" creationId="{AE6B634C-0369-4CEF-B718-03F02D323A2C}"/>
          </ac:spMkLst>
        </pc:spChg>
        <pc:spChg chg="add">
          <ac:chgData name="Mark Grimes" userId="b58058b7-2ab8-4142-95e7-f7e306e81118" providerId="ADAL" clId="{7CE5461B-B108-456F-827A-374D3DF7E3CB}" dt="2017-12-15T18:50:13.028" v="2529" actId="1076"/>
          <ac:spMkLst>
            <pc:docMk/>
            <pc:sldMk cId="1156047739" sldId="1406"/>
            <ac:spMk id="133" creationId="{1A238F6A-A443-4246-983D-47BDF9D3E2F7}"/>
          </ac:spMkLst>
        </pc:spChg>
        <pc:spChg chg="add">
          <ac:chgData name="Mark Grimes" userId="b58058b7-2ab8-4142-95e7-f7e306e81118" providerId="ADAL" clId="{7CE5461B-B108-456F-827A-374D3DF7E3CB}" dt="2017-12-15T18:50:13.028" v="2529" actId="1076"/>
          <ac:spMkLst>
            <pc:docMk/>
            <pc:sldMk cId="1156047739" sldId="1406"/>
            <ac:spMk id="134" creationId="{41C9ED5A-949F-4455-BA45-93A68365EFF8}"/>
          </ac:spMkLst>
        </pc:spChg>
        <pc:spChg chg="add">
          <ac:chgData name="Mark Grimes" userId="b58058b7-2ab8-4142-95e7-f7e306e81118" providerId="ADAL" clId="{7CE5461B-B108-456F-827A-374D3DF7E3CB}" dt="2017-12-15T18:50:13.028" v="2529" actId="1076"/>
          <ac:spMkLst>
            <pc:docMk/>
            <pc:sldMk cId="1156047739" sldId="1406"/>
            <ac:spMk id="135" creationId="{F192C55F-111A-411F-A7E7-924B2CEDEA3B}"/>
          </ac:spMkLst>
        </pc:spChg>
        <pc:spChg chg="add">
          <ac:chgData name="Mark Grimes" userId="b58058b7-2ab8-4142-95e7-f7e306e81118" providerId="ADAL" clId="{7CE5461B-B108-456F-827A-374D3DF7E3CB}" dt="2017-12-15T18:50:13.028" v="2529" actId="1076"/>
          <ac:spMkLst>
            <pc:docMk/>
            <pc:sldMk cId="1156047739" sldId="1406"/>
            <ac:spMk id="136" creationId="{C321C635-442C-4983-BCEA-E1ADACE54B36}"/>
          </ac:spMkLst>
        </pc:spChg>
        <pc:spChg chg="add">
          <ac:chgData name="Mark Grimes" userId="b58058b7-2ab8-4142-95e7-f7e306e81118" providerId="ADAL" clId="{7CE5461B-B108-456F-827A-374D3DF7E3CB}" dt="2017-12-15T18:50:13.028" v="2529" actId="1076"/>
          <ac:spMkLst>
            <pc:docMk/>
            <pc:sldMk cId="1156047739" sldId="1406"/>
            <ac:spMk id="144" creationId="{8F7723CA-FBA8-4617-890E-310F759FC934}"/>
          </ac:spMkLst>
        </pc:spChg>
        <pc:spChg chg="add">
          <ac:chgData name="Mark Grimes" userId="b58058b7-2ab8-4142-95e7-f7e306e81118" providerId="ADAL" clId="{7CE5461B-B108-456F-827A-374D3DF7E3CB}" dt="2017-12-15T18:50:13.028" v="2529" actId="1076"/>
          <ac:spMkLst>
            <pc:docMk/>
            <pc:sldMk cId="1156047739" sldId="1406"/>
            <ac:spMk id="145" creationId="{EBBD81EE-62B4-48EC-9D7D-FB344DB9E909}"/>
          </ac:spMkLst>
        </pc:spChg>
        <pc:spChg chg="add">
          <ac:chgData name="Mark Grimes" userId="b58058b7-2ab8-4142-95e7-f7e306e81118" providerId="ADAL" clId="{7CE5461B-B108-456F-827A-374D3DF7E3CB}" dt="2017-12-15T18:50:13.028" v="2529" actId="1076"/>
          <ac:spMkLst>
            <pc:docMk/>
            <pc:sldMk cId="1156047739" sldId="1406"/>
            <ac:spMk id="219" creationId="{EAE715E4-F321-4F2D-89D3-AF3F58778DB4}"/>
          </ac:spMkLst>
        </pc:spChg>
        <pc:spChg chg="add">
          <ac:chgData name="Mark Grimes" userId="b58058b7-2ab8-4142-95e7-f7e306e81118" providerId="ADAL" clId="{7CE5461B-B108-456F-827A-374D3DF7E3CB}" dt="2017-12-15T18:50:13.028" v="2529" actId="1076"/>
          <ac:spMkLst>
            <pc:docMk/>
            <pc:sldMk cId="1156047739" sldId="1406"/>
            <ac:spMk id="230" creationId="{306FB6D2-755E-48F1-8B7E-A97AE607DA83}"/>
          </ac:spMkLst>
        </pc:spChg>
        <pc:spChg chg="add">
          <ac:chgData name="Mark Grimes" userId="b58058b7-2ab8-4142-95e7-f7e306e81118" providerId="ADAL" clId="{7CE5461B-B108-456F-827A-374D3DF7E3CB}" dt="2017-12-15T18:50:13.028" v="2529" actId="1076"/>
          <ac:spMkLst>
            <pc:docMk/>
            <pc:sldMk cId="1156047739" sldId="1406"/>
            <ac:spMk id="231" creationId="{C27C69A0-BF0F-4DCB-B850-2BFE3A749309}"/>
          </ac:spMkLst>
        </pc:spChg>
        <pc:spChg chg="add">
          <ac:chgData name="Mark Grimes" userId="b58058b7-2ab8-4142-95e7-f7e306e81118" providerId="ADAL" clId="{7CE5461B-B108-456F-827A-374D3DF7E3CB}" dt="2017-12-15T18:50:13.028" v="2529" actId="1076"/>
          <ac:spMkLst>
            <pc:docMk/>
            <pc:sldMk cId="1156047739" sldId="1406"/>
            <ac:spMk id="232" creationId="{586D7238-532D-4230-BA20-DA1F66A82B8B}"/>
          </ac:spMkLst>
        </pc:spChg>
        <pc:spChg chg="add">
          <ac:chgData name="Mark Grimes" userId="b58058b7-2ab8-4142-95e7-f7e306e81118" providerId="ADAL" clId="{7CE5461B-B108-456F-827A-374D3DF7E3CB}" dt="2017-12-15T18:50:13.028" v="2529" actId="1076"/>
          <ac:spMkLst>
            <pc:docMk/>
            <pc:sldMk cId="1156047739" sldId="1406"/>
            <ac:spMk id="251" creationId="{D4E5F920-B3EB-41B5-9014-B4759CE7C2D1}"/>
          </ac:spMkLst>
        </pc:spChg>
        <pc:spChg chg="add">
          <ac:chgData name="Mark Grimes" userId="b58058b7-2ab8-4142-95e7-f7e306e81118" providerId="ADAL" clId="{7CE5461B-B108-456F-827A-374D3DF7E3CB}" dt="2017-12-15T18:50:13.028" v="2529" actId="1076"/>
          <ac:spMkLst>
            <pc:docMk/>
            <pc:sldMk cId="1156047739" sldId="1406"/>
            <ac:spMk id="252" creationId="{6E86F004-AC5C-4A11-A534-A7467BFDF489}"/>
          </ac:spMkLst>
        </pc:spChg>
        <pc:spChg chg="add mod">
          <ac:chgData name="Mark Grimes" userId="b58058b7-2ab8-4142-95e7-f7e306e81118" providerId="ADAL" clId="{7CE5461B-B108-456F-827A-374D3DF7E3CB}" dt="2017-12-15T19:11:00.061" v="2717" actId="1076"/>
          <ac:spMkLst>
            <pc:docMk/>
            <pc:sldMk cId="1156047739" sldId="1406"/>
            <ac:spMk id="253" creationId="{F0F4EE5A-854E-4FB4-8550-19182A5A762C}"/>
          </ac:spMkLst>
        </pc:spChg>
        <pc:grpChg chg="add">
          <ac:chgData name="Mark Grimes" userId="b58058b7-2ab8-4142-95e7-f7e306e81118" providerId="ADAL" clId="{7CE5461B-B108-456F-827A-374D3DF7E3CB}" dt="2017-12-15T18:50:13.028" v="2529" actId="1076"/>
          <ac:grpSpMkLst>
            <pc:docMk/>
            <pc:sldMk cId="1156047739" sldId="1406"/>
            <ac:grpSpMk id="31" creationId="{A25A487D-23A8-4431-B5E5-A90AE5A62DE9}"/>
          </ac:grpSpMkLst>
        </pc:grpChg>
        <pc:grpChg chg="del">
          <ac:chgData name="Mark Grimes" userId="b58058b7-2ab8-4142-95e7-f7e306e81118" providerId="ADAL" clId="{7CE5461B-B108-456F-827A-374D3DF7E3CB}" dt="2017-12-15T18:49:59.601" v="2527" actId="478"/>
          <ac:grpSpMkLst>
            <pc:docMk/>
            <pc:sldMk cId="1156047739" sldId="1406"/>
            <ac:grpSpMk id="42" creationId="{00000000-0000-0000-0000-000000000000}"/>
          </ac:grpSpMkLst>
        </pc:grpChg>
        <pc:grpChg chg="del">
          <ac:chgData name="Mark Grimes" userId="b58058b7-2ab8-4142-95e7-f7e306e81118" providerId="ADAL" clId="{7CE5461B-B108-456F-827A-374D3DF7E3CB}" dt="2017-12-15T18:49:59.601" v="2527" actId="478"/>
          <ac:grpSpMkLst>
            <pc:docMk/>
            <pc:sldMk cId="1156047739" sldId="1406"/>
            <ac:grpSpMk id="43" creationId="{00000000-0000-0000-0000-000000000000}"/>
          </ac:grpSpMkLst>
        </pc:grpChg>
        <pc:grpChg chg="add">
          <ac:chgData name="Mark Grimes" userId="b58058b7-2ab8-4142-95e7-f7e306e81118" providerId="ADAL" clId="{7CE5461B-B108-456F-827A-374D3DF7E3CB}" dt="2017-12-15T18:50:13.028" v="2529" actId="1076"/>
          <ac:grpSpMkLst>
            <pc:docMk/>
            <pc:sldMk cId="1156047739" sldId="1406"/>
            <ac:grpSpMk id="45" creationId="{D556FB08-97FC-4957-99DC-DD73A746BD7B}"/>
          </ac:grpSpMkLst>
        </pc:grpChg>
        <pc:grpChg chg="add">
          <ac:chgData name="Mark Grimes" userId="b58058b7-2ab8-4142-95e7-f7e306e81118" providerId="ADAL" clId="{7CE5461B-B108-456F-827A-374D3DF7E3CB}" dt="2017-12-15T18:50:13.028" v="2529" actId="1076"/>
          <ac:grpSpMkLst>
            <pc:docMk/>
            <pc:sldMk cId="1156047739" sldId="1406"/>
            <ac:grpSpMk id="51" creationId="{196D1742-D8B1-4C9E-9A1D-CA5F8BD1F339}"/>
          </ac:grpSpMkLst>
        </pc:grpChg>
        <pc:grpChg chg="add">
          <ac:chgData name="Mark Grimes" userId="b58058b7-2ab8-4142-95e7-f7e306e81118" providerId="ADAL" clId="{7CE5461B-B108-456F-827A-374D3DF7E3CB}" dt="2017-12-15T18:50:13.028" v="2529" actId="1076"/>
          <ac:grpSpMkLst>
            <pc:docMk/>
            <pc:sldMk cId="1156047739" sldId="1406"/>
            <ac:grpSpMk id="57" creationId="{83B23DF7-5DC8-4AD3-BD01-3BD736E97BC9}"/>
          </ac:grpSpMkLst>
        </pc:grpChg>
        <pc:grpChg chg="add">
          <ac:chgData name="Mark Grimes" userId="b58058b7-2ab8-4142-95e7-f7e306e81118" providerId="ADAL" clId="{7CE5461B-B108-456F-827A-374D3DF7E3CB}" dt="2017-12-15T18:50:13.028" v="2529" actId="1076"/>
          <ac:grpSpMkLst>
            <pc:docMk/>
            <pc:sldMk cId="1156047739" sldId="1406"/>
            <ac:grpSpMk id="68" creationId="{77EC3942-7E98-418A-A8E8-0F995D84FDA5}"/>
          </ac:grpSpMkLst>
        </pc:grpChg>
        <pc:grpChg chg="add del">
          <ac:chgData name="Mark Grimes" userId="b58058b7-2ab8-4142-95e7-f7e306e81118" providerId="ADAL" clId="{7CE5461B-B108-456F-827A-374D3DF7E3CB}" dt="2017-12-18T19:27:46.983" v="9188" actId="165"/>
          <ac:grpSpMkLst>
            <pc:docMk/>
            <pc:sldMk cId="1156047739" sldId="1406"/>
            <ac:grpSpMk id="79" creationId="{30E27541-8C8A-40D2-8F47-1A892ED6B29E}"/>
          </ac:grpSpMkLst>
        </pc:grpChg>
        <pc:grpChg chg="mod topLvl">
          <ac:chgData name="Mark Grimes" userId="b58058b7-2ab8-4142-95e7-f7e306e81118" providerId="ADAL" clId="{7CE5461B-B108-456F-827A-374D3DF7E3CB}" dt="2017-12-18T19:27:46.983" v="9188" actId="165"/>
          <ac:grpSpMkLst>
            <pc:docMk/>
            <pc:sldMk cId="1156047739" sldId="1406"/>
            <ac:grpSpMk id="80" creationId="{3FD62FCF-30A0-45BE-9D80-BA288401F694}"/>
          </ac:grpSpMkLst>
        </pc:grpChg>
        <pc:grpChg chg="mod topLvl">
          <ac:chgData name="Mark Grimes" userId="b58058b7-2ab8-4142-95e7-f7e306e81118" providerId="ADAL" clId="{7CE5461B-B108-456F-827A-374D3DF7E3CB}" dt="2017-12-18T19:27:46.983" v="9188" actId="165"/>
          <ac:grpSpMkLst>
            <pc:docMk/>
            <pc:sldMk cId="1156047739" sldId="1406"/>
            <ac:grpSpMk id="81" creationId="{9B5CF718-6D21-4943-A1F3-D25D603EEB7E}"/>
          </ac:grpSpMkLst>
        </pc:grpChg>
        <pc:grpChg chg="add">
          <ac:chgData name="Mark Grimes" userId="b58058b7-2ab8-4142-95e7-f7e306e81118" providerId="ADAL" clId="{7CE5461B-B108-456F-827A-374D3DF7E3CB}" dt="2017-12-15T18:50:13.028" v="2529" actId="1076"/>
          <ac:grpSpMkLst>
            <pc:docMk/>
            <pc:sldMk cId="1156047739" sldId="1406"/>
            <ac:grpSpMk id="95" creationId="{8207E7F0-D844-414A-8A98-844C57AD064A}"/>
          </ac:grpSpMkLst>
        </pc:grpChg>
        <pc:grpChg chg="add">
          <ac:chgData name="Mark Grimes" userId="b58058b7-2ab8-4142-95e7-f7e306e81118" providerId="ADAL" clId="{7CE5461B-B108-456F-827A-374D3DF7E3CB}" dt="2017-12-15T18:50:13.028" v="2529" actId="1076"/>
          <ac:grpSpMkLst>
            <pc:docMk/>
            <pc:sldMk cId="1156047739" sldId="1406"/>
            <ac:grpSpMk id="98" creationId="{02F22A34-8DA4-48D0-B997-2DF46B053960}"/>
          </ac:grpSpMkLst>
        </pc:grpChg>
        <pc:grpChg chg="add">
          <ac:chgData name="Mark Grimes" userId="b58058b7-2ab8-4142-95e7-f7e306e81118" providerId="ADAL" clId="{7CE5461B-B108-456F-827A-374D3DF7E3CB}" dt="2017-12-15T18:50:13.028" v="2529" actId="1076"/>
          <ac:grpSpMkLst>
            <pc:docMk/>
            <pc:sldMk cId="1156047739" sldId="1406"/>
            <ac:grpSpMk id="105" creationId="{6F796BD4-7EBA-431C-8427-6434DA1D5A45}"/>
          </ac:grpSpMkLst>
        </pc:grpChg>
        <pc:grpChg chg="add">
          <ac:chgData name="Mark Grimes" userId="b58058b7-2ab8-4142-95e7-f7e306e81118" providerId="ADAL" clId="{7CE5461B-B108-456F-827A-374D3DF7E3CB}" dt="2017-12-15T18:50:13.028" v="2529" actId="1076"/>
          <ac:grpSpMkLst>
            <pc:docMk/>
            <pc:sldMk cId="1156047739" sldId="1406"/>
            <ac:grpSpMk id="114" creationId="{008ABD0B-C6BA-443B-B433-7CCBB4B91F4A}"/>
          </ac:grpSpMkLst>
        </pc:grpChg>
        <pc:grpChg chg="add">
          <ac:chgData name="Mark Grimes" userId="b58058b7-2ab8-4142-95e7-f7e306e81118" providerId="ADAL" clId="{7CE5461B-B108-456F-827A-374D3DF7E3CB}" dt="2017-12-15T18:50:13.028" v="2529" actId="1076"/>
          <ac:grpSpMkLst>
            <pc:docMk/>
            <pc:sldMk cId="1156047739" sldId="1406"/>
            <ac:grpSpMk id="120" creationId="{4313C2A1-DC49-48F5-87B6-475E37ADBDF0}"/>
          </ac:grpSpMkLst>
        </pc:grpChg>
        <pc:grpChg chg="add">
          <ac:chgData name="Mark Grimes" userId="b58058b7-2ab8-4142-95e7-f7e306e81118" providerId="ADAL" clId="{7CE5461B-B108-456F-827A-374D3DF7E3CB}" dt="2017-12-15T18:50:13.028" v="2529" actId="1076"/>
          <ac:grpSpMkLst>
            <pc:docMk/>
            <pc:sldMk cId="1156047739" sldId="1406"/>
            <ac:grpSpMk id="137" creationId="{EC41A89B-3795-439E-81AA-A5521F5CDA92}"/>
          </ac:grpSpMkLst>
        </pc:grpChg>
        <pc:grpChg chg="add mod">
          <ac:chgData name="Mark Grimes" userId="b58058b7-2ab8-4142-95e7-f7e306e81118" providerId="ADAL" clId="{7CE5461B-B108-456F-827A-374D3DF7E3CB}" dt="2017-12-18T15:26:40.841" v="8365" actId="1076"/>
          <ac:grpSpMkLst>
            <pc:docMk/>
            <pc:sldMk cId="1156047739" sldId="1406"/>
            <ac:grpSpMk id="146" creationId="{349C76AD-E9D7-4199-A9E3-A9612CDA355F}"/>
          </ac:grpSpMkLst>
        </pc:grpChg>
        <pc:grpChg chg="add">
          <ac:chgData name="Mark Grimes" userId="b58058b7-2ab8-4142-95e7-f7e306e81118" providerId="ADAL" clId="{7CE5461B-B108-456F-827A-374D3DF7E3CB}" dt="2017-12-15T18:50:13.028" v="2529" actId="1076"/>
          <ac:grpSpMkLst>
            <pc:docMk/>
            <pc:sldMk cId="1156047739" sldId="1406"/>
            <ac:grpSpMk id="156" creationId="{C7218880-C317-448D-A11E-1A558CA20210}"/>
          </ac:grpSpMkLst>
        </pc:grpChg>
        <pc:grpChg chg="add">
          <ac:chgData name="Mark Grimes" userId="b58058b7-2ab8-4142-95e7-f7e306e81118" providerId="ADAL" clId="{7CE5461B-B108-456F-827A-374D3DF7E3CB}" dt="2017-12-15T18:50:13.028" v="2529" actId="1076"/>
          <ac:grpSpMkLst>
            <pc:docMk/>
            <pc:sldMk cId="1156047739" sldId="1406"/>
            <ac:grpSpMk id="160" creationId="{FC720AD5-1478-4967-A88C-080370B897C5}"/>
          </ac:grpSpMkLst>
        </pc:grpChg>
        <pc:grpChg chg="add">
          <ac:chgData name="Mark Grimes" userId="b58058b7-2ab8-4142-95e7-f7e306e81118" providerId="ADAL" clId="{7CE5461B-B108-456F-827A-374D3DF7E3CB}" dt="2017-12-15T18:50:13.028" v="2529" actId="1076"/>
          <ac:grpSpMkLst>
            <pc:docMk/>
            <pc:sldMk cId="1156047739" sldId="1406"/>
            <ac:grpSpMk id="209" creationId="{C8B45D8A-9DE5-4E73-AB82-A7605C9C3F6D}"/>
          </ac:grpSpMkLst>
        </pc:grpChg>
        <pc:grpChg chg="add">
          <ac:chgData name="Mark Grimes" userId="b58058b7-2ab8-4142-95e7-f7e306e81118" providerId="ADAL" clId="{7CE5461B-B108-456F-827A-374D3DF7E3CB}" dt="2017-12-15T18:50:13.028" v="2529" actId="1076"/>
          <ac:grpSpMkLst>
            <pc:docMk/>
            <pc:sldMk cId="1156047739" sldId="1406"/>
            <ac:grpSpMk id="220" creationId="{2C38D8D0-6A34-483B-9A88-537FAC003EC2}"/>
          </ac:grpSpMkLst>
        </pc:grpChg>
        <pc:grpChg chg="add">
          <ac:chgData name="Mark Grimes" userId="b58058b7-2ab8-4142-95e7-f7e306e81118" providerId="ADAL" clId="{7CE5461B-B108-456F-827A-374D3DF7E3CB}" dt="2017-12-15T18:50:13.028" v="2529" actId="1076"/>
          <ac:grpSpMkLst>
            <pc:docMk/>
            <pc:sldMk cId="1156047739" sldId="1406"/>
            <ac:grpSpMk id="226" creationId="{2F8BBA1D-F2B2-453A-A358-303124556BCE}"/>
          </ac:grpSpMkLst>
        </pc:grpChg>
        <pc:grpChg chg="add">
          <ac:chgData name="Mark Grimes" userId="b58058b7-2ab8-4142-95e7-f7e306e81118" providerId="ADAL" clId="{7CE5461B-B108-456F-827A-374D3DF7E3CB}" dt="2017-12-15T18:50:13.028" v="2529" actId="1076"/>
          <ac:grpSpMkLst>
            <pc:docMk/>
            <pc:sldMk cId="1156047739" sldId="1406"/>
            <ac:grpSpMk id="233" creationId="{3C8B5EAF-8591-4EA3-A250-9F9B60EED2F6}"/>
          </ac:grpSpMkLst>
        </pc:grpChg>
        <pc:picChg chg="del">
          <ac:chgData name="Mark Grimes" userId="b58058b7-2ab8-4142-95e7-f7e306e81118" providerId="ADAL" clId="{7CE5461B-B108-456F-827A-374D3DF7E3CB}" dt="2017-12-15T18:49:59.601" v="2527" actId="478"/>
          <ac:picMkLst>
            <pc:docMk/>
            <pc:sldMk cId="1156047739" sldId="1406"/>
            <ac:picMk id="4" creationId="{00000000-0000-0000-0000-000000000000}"/>
          </ac:picMkLst>
        </pc:picChg>
      </pc:sldChg>
      <pc:sldChg chg="addSp delSp modSp del modAnim modNotesTx">
        <pc:chgData name="Mark Grimes" userId="b58058b7-2ab8-4142-95e7-f7e306e81118" providerId="ADAL" clId="{7CE5461B-B108-456F-827A-374D3DF7E3CB}" dt="2017-12-19T13:52:51.708" v="9352" actId="2696"/>
        <pc:sldMkLst>
          <pc:docMk/>
          <pc:sldMk cId="3932938254" sldId="1410"/>
        </pc:sldMkLst>
        <pc:spChg chg="del">
          <ac:chgData name="Mark Grimes" userId="b58058b7-2ab8-4142-95e7-f7e306e81118" providerId="ADAL" clId="{7CE5461B-B108-456F-827A-374D3DF7E3CB}" dt="2017-12-15T18:30:44.643" v="2391" actId="478"/>
          <ac:spMkLst>
            <pc:docMk/>
            <pc:sldMk cId="3932938254" sldId="1410"/>
            <ac:spMk id="3" creationId="{00000000-0000-0000-0000-000000000000}"/>
          </ac:spMkLst>
        </pc:spChg>
        <pc:spChg chg="add del mod">
          <ac:chgData name="Mark Grimes" userId="b58058b7-2ab8-4142-95e7-f7e306e81118" providerId="ADAL" clId="{7CE5461B-B108-456F-827A-374D3DF7E3CB}" dt="2017-12-15T18:30:45.804" v="2392" actId="478"/>
          <ac:spMkLst>
            <pc:docMk/>
            <pc:sldMk cId="3932938254" sldId="1410"/>
            <ac:spMk id="4" creationId="{82AE54D4-F06C-46ED-9C33-B31EED864380}"/>
          </ac:spMkLst>
        </pc:spChg>
        <pc:spChg chg="del">
          <ac:chgData name="Mark Grimes" userId="b58058b7-2ab8-4142-95e7-f7e306e81118" providerId="ADAL" clId="{7CE5461B-B108-456F-827A-374D3DF7E3CB}" dt="2017-12-15T18:30:44.643" v="2391" actId="478"/>
          <ac:spMkLst>
            <pc:docMk/>
            <pc:sldMk cId="3932938254" sldId="1410"/>
            <ac:spMk id="6" creationId="{00000000-0000-0000-0000-000000000000}"/>
          </ac:spMkLst>
        </pc:spChg>
        <pc:spChg chg="del">
          <ac:chgData name="Mark Grimes" userId="b58058b7-2ab8-4142-95e7-f7e306e81118" providerId="ADAL" clId="{7CE5461B-B108-456F-827A-374D3DF7E3CB}" dt="2017-12-15T18:30:44.643" v="2391" actId="478"/>
          <ac:spMkLst>
            <pc:docMk/>
            <pc:sldMk cId="3932938254" sldId="1410"/>
            <ac:spMk id="7" creationId="{00000000-0000-0000-0000-000000000000}"/>
          </ac:spMkLst>
        </pc:spChg>
        <pc:spChg chg="del">
          <ac:chgData name="Mark Grimes" userId="b58058b7-2ab8-4142-95e7-f7e306e81118" providerId="ADAL" clId="{7CE5461B-B108-456F-827A-374D3DF7E3CB}" dt="2017-12-15T18:30:44.643" v="2391" actId="478"/>
          <ac:spMkLst>
            <pc:docMk/>
            <pc:sldMk cId="3932938254" sldId="1410"/>
            <ac:spMk id="8" creationId="{00000000-0000-0000-0000-000000000000}"/>
          </ac:spMkLst>
        </pc:spChg>
        <pc:spChg chg="del">
          <ac:chgData name="Mark Grimes" userId="b58058b7-2ab8-4142-95e7-f7e306e81118" providerId="ADAL" clId="{7CE5461B-B108-456F-827A-374D3DF7E3CB}" dt="2017-12-15T18:30:44.643" v="2391" actId="478"/>
          <ac:spMkLst>
            <pc:docMk/>
            <pc:sldMk cId="3932938254" sldId="1410"/>
            <ac:spMk id="9" creationId="{00000000-0000-0000-0000-000000000000}"/>
          </ac:spMkLst>
        </pc:spChg>
        <pc:spChg chg="del">
          <ac:chgData name="Mark Grimes" userId="b58058b7-2ab8-4142-95e7-f7e306e81118" providerId="ADAL" clId="{7CE5461B-B108-456F-827A-374D3DF7E3CB}" dt="2017-12-15T18:30:44.643" v="2391" actId="478"/>
          <ac:spMkLst>
            <pc:docMk/>
            <pc:sldMk cId="3932938254" sldId="1410"/>
            <ac:spMk id="11" creationId="{00000000-0000-0000-0000-000000000000}"/>
          </ac:spMkLst>
        </pc:spChg>
        <pc:spChg chg="del">
          <ac:chgData name="Mark Grimes" userId="b58058b7-2ab8-4142-95e7-f7e306e81118" providerId="ADAL" clId="{7CE5461B-B108-456F-827A-374D3DF7E3CB}" dt="2017-12-15T18:30:44.643" v="2391" actId="478"/>
          <ac:spMkLst>
            <pc:docMk/>
            <pc:sldMk cId="3932938254" sldId="1410"/>
            <ac:spMk id="12" creationId="{00000000-0000-0000-0000-000000000000}"/>
          </ac:spMkLst>
        </pc:spChg>
        <pc:spChg chg="del">
          <ac:chgData name="Mark Grimes" userId="b58058b7-2ab8-4142-95e7-f7e306e81118" providerId="ADAL" clId="{7CE5461B-B108-456F-827A-374D3DF7E3CB}" dt="2017-12-15T18:30:44.643" v="2391" actId="478"/>
          <ac:spMkLst>
            <pc:docMk/>
            <pc:sldMk cId="3932938254" sldId="1410"/>
            <ac:spMk id="13" creationId="{00000000-0000-0000-0000-000000000000}"/>
          </ac:spMkLst>
        </pc:spChg>
        <pc:spChg chg="del">
          <ac:chgData name="Mark Grimes" userId="b58058b7-2ab8-4142-95e7-f7e306e81118" providerId="ADAL" clId="{7CE5461B-B108-456F-827A-374D3DF7E3CB}" dt="2017-12-15T18:30:44.643" v="2391" actId="478"/>
          <ac:spMkLst>
            <pc:docMk/>
            <pc:sldMk cId="3932938254" sldId="1410"/>
            <ac:spMk id="46" creationId="{00000000-0000-0000-0000-000000000000}"/>
          </ac:spMkLst>
        </pc:spChg>
        <pc:spChg chg="del">
          <ac:chgData name="Mark Grimes" userId="b58058b7-2ab8-4142-95e7-f7e306e81118" providerId="ADAL" clId="{7CE5461B-B108-456F-827A-374D3DF7E3CB}" dt="2017-12-15T18:30:44.643" v="2391" actId="478"/>
          <ac:spMkLst>
            <pc:docMk/>
            <pc:sldMk cId="3932938254" sldId="1410"/>
            <ac:spMk id="47" creationId="{00000000-0000-0000-0000-000000000000}"/>
          </ac:spMkLst>
        </pc:spChg>
        <pc:spChg chg="add">
          <ac:chgData name="Mark Grimes" userId="b58058b7-2ab8-4142-95e7-f7e306e81118" providerId="ADAL" clId="{7CE5461B-B108-456F-827A-374D3DF7E3CB}" dt="2017-12-15T18:30:50.665" v="2393" actId="6549"/>
          <ac:spMkLst>
            <pc:docMk/>
            <pc:sldMk cId="3932938254" sldId="1410"/>
            <ac:spMk id="108" creationId="{D848FFD2-A9F7-430E-ABAB-639BE3977D24}"/>
          </ac:spMkLst>
        </pc:spChg>
        <pc:spChg chg="add">
          <ac:chgData name="Mark Grimes" userId="b58058b7-2ab8-4142-95e7-f7e306e81118" providerId="ADAL" clId="{7CE5461B-B108-456F-827A-374D3DF7E3CB}" dt="2017-12-15T18:30:50.665" v="2393" actId="6549"/>
          <ac:spMkLst>
            <pc:docMk/>
            <pc:sldMk cId="3932938254" sldId="1410"/>
            <ac:spMk id="109" creationId="{650ABAB7-E08E-4E28-B7AA-C304B37594F7}"/>
          </ac:spMkLst>
        </pc:spChg>
        <pc:spChg chg="add">
          <ac:chgData name="Mark Grimes" userId="b58058b7-2ab8-4142-95e7-f7e306e81118" providerId="ADAL" clId="{7CE5461B-B108-456F-827A-374D3DF7E3CB}" dt="2017-12-15T18:30:50.665" v="2393" actId="6549"/>
          <ac:spMkLst>
            <pc:docMk/>
            <pc:sldMk cId="3932938254" sldId="1410"/>
            <ac:spMk id="131" creationId="{59AC0495-3EAC-48B5-B108-4734C11892BC}"/>
          </ac:spMkLst>
        </pc:spChg>
        <pc:spChg chg="add">
          <ac:chgData name="Mark Grimes" userId="b58058b7-2ab8-4142-95e7-f7e306e81118" providerId="ADAL" clId="{7CE5461B-B108-456F-827A-374D3DF7E3CB}" dt="2017-12-15T18:30:50.665" v="2393" actId="6549"/>
          <ac:spMkLst>
            <pc:docMk/>
            <pc:sldMk cId="3932938254" sldId="1410"/>
            <ac:spMk id="132" creationId="{4923EFB2-9A17-448F-A08B-C155C46CB486}"/>
          </ac:spMkLst>
        </pc:spChg>
        <pc:spChg chg="add">
          <ac:chgData name="Mark Grimes" userId="b58058b7-2ab8-4142-95e7-f7e306e81118" providerId="ADAL" clId="{7CE5461B-B108-456F-827A-374D3DF7E3CB}" dt="2017-12-15T18:30:50.665" v="2393" actId="6549"/>
          <ac:spMkLst>
            <pc:docMk/>
            <pc:sldMk cId="3932938254" sldId="1410"/>
            <ac:spMk id="133" creationId="{9C0129CB-150B-4C16-87C0-3355730EDEED}"/>
          </ac:spMkLst>
        </pc:spChg>
        <pc:spChg chg="add mod">
          <ac:chgData name="Mark Grimes" userId="b58058b7-2ab8-4142-95e7-f7e306e81118" providerId="ADAL" clId="{7CE5461B-B108-456F-827A-374D3DF7E3CB}" dt="2017-12-15T18:31:01.574" v="2394" actId="108"/>
          <ac:spMkLst>
            <pc:docMk/>
            <pc:sldMk cId="3932938254" sldId="1410"/>
            <ac:spMk id="134" creationId="{3915401A-43CB-47F0-BC7B-F78FA49BCD26}"/>
          </ac:spMkLst>
        </pc:spChg>
        <pc:spChg chg="add">
          <ac:chgData name="Mark Grimes" userId="b58058b7-2ab8-4142-95e7-f7e306e81118" providerId="ADAL" clId="{7CE5461B-B108-456F-827A-374D3DF7E3CB}" dt="2017-12-15T18:30:50.665" v="2393" actId="6549"/>
          <ac:spMkLst>
            <pc:docMk/>
            <pc:sldMk cId="3932938254" sldId="1410"/>
            <ac:spMk id="135" creationId="{3FF954E1-9ED7-4E5E-B6F0-15573B4E01FB}"/>
          </ac:spMkLst>
        </pc:spChg>
        <pc:spChg chg="add">
          <ac:chgData name="Mark Grimes" userId="b58058b7-2ab8-4142-95e7-f7e306e81118" providerId="ADAL" clId="{7CE5461B-B108-456F-827A-374D3DF7E3CB}" dt="2017-12-15T18:30:50.665" v="2393" actId="6549"/>
          <ac:spMkLst>
            <pc:docMk/>
            <pc:sldMk cId="3932938254" sldId="1410"/>
            <ac:spMk id="136" creationId="{BAE533DD-14B8-4197-B55E-56B775B533CE}"/>
          </ac:spMkLst>
        </pc:spChg>
        <pc:spChg chg="add">
          <ac:chgData name="Mark Grimes" userId="b58058b7-2ab8-4142-95e7-f7e306e81118" providerId="ADAL" clId="{7CE5461B-B108-456F-827A-374D3DF7E3CB}" dt="2017-12-15T18:30:50.665" v="2393" actId="6549"/>
          <ac:spMkLst>
            <pc:docMk/>
            <pc:sldMk cId="3932938254" sldId="1410"/>
            <ac:spMk id="137" creationId="{8C3770C5-26CB-4DA0-AAC1-956E53EF864B}"/>
          </ac:spMkLst>
        </pc:spChg>
        <pc:spChg chg="add">
          <ac:chgData name="Mark Grimes" userId="b58058b7-2ab8-4142-95e7-f7e306e81118" providerId="ADAL" clId="{7CE5461B-B108-456F-827A-374D3DF7E3CB}" dt="2017-12-15T18:30:50.665" v="2393" actId="6549"/>
          <ac:spMkLst>
            <pc:docMk/>
            <pc:sldMk cId="3932938254" sldId="1410"/>
            <ac:spMk id="138" creationId="{1F6336F4-BD2D-4D12-8B3C-9A25CBF9BE7A}"/>
          </ac:spMkLst>
        </pc:spChg>
        <pc:grpChg chg="add">
          <ac:chgData name="Mark Grimes" userId="b58058b7-2ab8-4142-95e7-f7e306e81118" providerId="ADAL" clId="{7CE5461B-B108-456F-827A-374D3DF7E3CB}" dt="2017-12-15T18:30:50.665" v="2393" actId="6549"/>
          <ac:grpSpMkLst>
            <pc:docMk/>
            <pc:sldMk cId="3932938254" sldId="1410"/>
            <ac:grpSpMk id="14" creationId="{67958FCA-45A6-43DA-BAC6-B46E5B46B0E8}"/>
          </ac:grpSpMkLst>
        </pc:grpChg>
        <pc:grpChg chg="add">
          <ac:chgData name="Mark Grimes" userId="b58058b7-2ab8-4142-95e7-f7e306e81118" providerId="ADAL" clId="{7CE5461B-B108-456F-827A-374D3DF7E3CB}" dt="2017-12-15T18:30:50.665" v="2393" actId="6549"/>
          <ac:grpSpMkLst>
            <pc:docMk/>
            <pc:sldMk cId="3932938254" sldId="1410"/>
            <ac:grpSpMk id="17" creationId="{99F6BB0D-C780-45D9-A31A-BDF73174552E}"/>
          </ac:grpSpMkLst>
        </pc:grpChg>
        <pc:grpChg chg="add">
          <ac:chgData name="Mark Grimes" userId="b58058b7-2ab8-4142-95e7-f7e306e81118" providerId="ADAL" clId="{7CE5461B-B108-456F-827A-374D3DF7E3CB}" dt="2017-12-15T18:30:50.665" v="2393" actId="6549"/>
          <ac:grpSpMkLst>
            <pc:docMk/>
            <pc:sldMk cId="3932938254" sldId="1410"/>
            <ac:grpSpMk id="20" creationId="{692A39D1-7959-4D94-8FC9-3E9D05172CDE}"/>
          </ac:grpSpMkLst>
        </pc:grpChg>
        <pc:grpChg chg="add">
          <ac:chgData name="Mark Grimes" userId="b58058b7-2ab8-4142-95e7-f7e306e81118" providerId="ADAL" clId="{7CE5461B-B108-456F-827A-374D3DF7E3CB}" dt="2017-12-15T18:30:50.665" v="2393" actId="6549"/>
          <ac:grpSpMkLst>
            <pc:docMk/>
            <pc:sldMk cId="3932938254" sldId="1410"/>
            <ac:grpSpMk id="23" creationId="{76B9CD2A-34E1-410A-958C-76DDD802E6D8}"/>
          </ac:grpSpMkLst>
        </pc:grpChg>
        <pc:grpChg chg="add">
          <ac:chgData name="Mark Grimes" userId="b58058b7-2ab8-4142-95e7-f7e306e81118" providerId="ADAL" clId="{7CE5461B-B108-456F-827A-374D3DF7E3CB}" dt="2017-12-15T18:30:50.665" v="2393" actId="6549"/>
          <ac:grpSpMkLst>
            <pc:docMk/>
            <pc:sldMk cId="3932938254" sldId="1410"/>
            <ac:grpSpMk id="26" creationId="{E4985935-0B42-4307-A216-6F3F84154267}"/>
          </ac:grpSpMkLst>
        </pc:grpChg>
        <pc:grpChg chg="add">
          <ac:chgData name="Mark Grimes" userId="b58058b7-2ab8-4142-95e7-f7e306e81118" providerId="ADAL" clId="{7CE5461B-B108-456F-827A-374D3DF7E3CB}" dt="2017-12-15T18:30:50.665" v="2393" actId="6549"/>
          <ac:grpSpMkLst>
            <pc:docMk/>
            <pc:sldMk cId="3932938254" sldId="1410"/>
            <ac:grpSpMk id="29" creationId="{55FCDC86-A6EE-4666-90E7-6E9150BEE7B7}"/>
          </ac:grpSpMkLst>
        </pc:grpChg>
        <pc:grpChg chg="add">
          <ac:chgData name="Mark Grimes" userId="b58058b7-2ab8-4142-95e7-f7e306e81118" providerId="ADAL" clId="{7CE5461B-B108-456F-827A-374D3DF7E3CB}" dt="2017-12-15T18:30:50.665" v="2393" actId="6549"/>
          <ac:grpSpMkLst>
            <pc:docMk/>
            <pc:sldMk cId="3932938254" sldId="1410"/>
            <ac:grpSpMk id="32" creationId="{AA20D893-2F05-444F-A975-6D289792C807}"/>
          </ac:grpSpMkLst>
        </pc:grpChg>
        <pc:grpChg chg="add">
          <ac:chgData name="Mark Grimes" userId="b58058b7-2ab8-4142-95e7-f7e306e81118" providerId="ADAL" clId="{7CE5461B-B108-456F-827A-374D3DF7E3CB}" dt="2017-12-15T18:30:50.665" v="2393" actId="6549"/>
          <ac:grpSpMkLst>
            <pc:docMk/>
            <pc:sldMk cId="3932938254" sldId="1410"/>
            <ac:grpSpMk id="35" creationId="{3A87A7DE-41F8-4F51-91A0-E4E77A72EF10}"/>
          </ac:grpSpMkLst>
        </pc:grpChg>
        <pc:grpChg chg="add">
          <ac:chgData name="Mark Grimes" userId="b58058b7-2ab8-4142-95e7-f7e306e81118" providerId="ADAL" clId="{7CE5461B-B108-456F-827A-374D3DF7E3CB}" dt="2017-12-15T18:30:50.665" v="2393" actId="6549"/>
          <ac:grpSpMkLst>
            <pc:docMk/>
            <pc:sldMk cId="3932938254" sldId="1410"/>
            <ac:grpSpMk id="38" creationId="{58A576F8-0EBD-4E53-BFD8-0BC5919ED9D3}"/>
          </ac:grpSpMkLst>
        </pc:grpChg>
        <pc:grpChg chg="add">
          <ac:chgData name="Mark Grimes" userId="b58058b7-2ab8-4142-95e7-f7e306e81118" providerId="ADAL" clId="{7CE5461B-B108-456F-827A-374D3DF7E3CB}" dt="2017-12-15T18:30:50.665" v="2393" actId="6549"/>
          <ac:grpSpMkLst>
            <pc:docMk/>
            <pc:sldMk cId="3932938254" sldId="1410"/>
            <ac:grpSpMk id="41" creationId="{94713A71-88F3-41F6-8F2C-4AB79D0C319E}"/>
          </ac:grpSpMkLst>
        </pc:grpChg>
        <pc:grpChg chg="add">
          <ac:chgData name="Mark Grimes" userId="b58058b7-2ab8-4142-95e7-f7e306e81118" providerId="ADAL" clId="{7CE5461B-B108-456F-827A-374D3DF7E3CB}" dt="2017-12-15T18:30:50.665" v="2393" actId="6549"/>
          <ac:grpSpMkLst>
            <pc:docMk/>
            <pc:sldMk cId="3932938254" sldId="1410"/>
            <ac:grpSpMk id="44" creationId="{C29042C2-0135-400A-9D3F-669C241752F8}"/>
          </ac:grpSpMkLst>
        </pc:grpChg>
        <pc:grpChg chg="add">
          <ac:chgData name="Mark Grimes" userId="b58058b7-2ab8-4142-95e7-f7e306e81118" providerId="ADAL" clId="{7CE5461B-B108-456F-827A-374D3DF7E3CB}" dt="2017-12-15T18:30:50.665" v="2393" actId="6549"/>
          <ac:grpSpMkLst>
            <pc:docMk/>
            <pc:sldMk cId="3932938254" sldId="1410"/>
            <ac:grpSpMk id="49" creationId="{1FA43D72-21AC-49E2-AB3E-8B872FA52970}"/>
          </ac:grpSpMkLst>
        </pc:grpChg>
        <pc:grpChg chg="add">
          <ac:chgData name="Mark Grimes" userId="b58058b7-2ab8-4142-95e7-f7e306e81118" providerId="ADAL" clId="{7CE5461B-B108-456F-827A-374D3DF7E3CB}" dt="2017-12-15T18:30:50.665" v="2393" actId="6549"/>
          <ac:grpSpMkLst>
            <pc:docMk/>
            <pc:sldMk cId="3932938254" sldId="1410"/>
            <ac:grpSpMk id="52" creationId="{C844D583-EF8D-423B-A478-902973A3E23D}"/>
          </ac:grpSpMkLst>
        </pc:grpChg>
        <pc:grpChg chg="add">
          <ac:chgData name="Mark Grimes" userId="b58058b7-2ab8-4142-95e7-f7e306e81118" providerId="ADAL" clId="{7CE5461B-B108-456F-827A-374D3DF7E3CB}" dt="2017-12-15T18:30:50.665" v="2393" actId="6549"/>
          <ac:grpSpMkLst>
            <pc:docMk/>
            <pc:sldMk cId="3932938254" sldId="1410"/>
            <ac:grpSpMk id="55" creationId="{14170DA8-F6DF-4779-9DA7-36EDDFE82C05}"/>
          </ac:grpSpMkLst>
        </pc:grpChg>
        <pc:grpChg chg="add">
          <ac:chgData name="Mark Grimes" userId="b58058b7-2ab8-4142-95e7-f7e306e81118" providerId="ADAL" clId="{7CE5461B-B108-456F-827A-374D3DF7E3CB}" dt="2017-12-15T18:30:50.665" v="2393" actId="6549"/>
          <ac:grpSpMkLst>
            <pc:docMk/>
            <pc:sldMk cId="3932938254" sldId="1410"/>
            <ac:grpSpMk id="58" creationId="{0418A27E-54C8-4E9C-B608-4F097F5F3782}"/>
          </ac:grpSpMkLst>
        </pc:grpChg>
        <pc:grpChg chg="add">
          <ac:chgData name="Mark Grimes" userId="b58058b7-2ab8-4142-95e7-f7e306e81118" providerId="ADAL" clId="{7CE5461B-B108-456F-827A-374D3DF7E3CB}" dt="2017-12-15T18:30:50.665" v="2393" actId="6549"/>
          <ac:grpSpMkLst>
            <pc:docMk/>
            <pc:sldMk cId="3932938254" sldId="1410"/>
            <ac:grpSpMk id="61" creationId="{17BC13D3-072E-4625-975A-89838A59C04D}"/>
          </ac:grpSpMkLst>
        </pc:grpChg>
        <pc:grpChg chg="add">
          <ac:chgData name="Mark Grimes" userId="b58058b7-2ab8-4142-95e7-f7e306e81118" providerId="ADAL" clId="{7CE5461B-B108-456F-827A-374D3DF7E3CB}" dt="2017-12-15T18:30:50.665" v="2393" actId="6549"/>
          <ac:grpSpMkLst>
            <pc:docMk/>
            <pc:sldMk cId="3932938254" sldId="1410"/>
            <ac:grpSpMk id="64" creationId="{A2AAD66F-2B2C-4E81-90D3-F65ECB9355FF}"/>
          </ac:grpSpMkLst>
        </pc:grpChg>
        <pc:grpChg chg="add">
          <ac:chgData name="Mark Grimes" userId="b58058b7-2ab8-4142-95e7-f7e306e81118" providerId="ADAL" clId="{7CE5461B-B108-456F-827A-374D3DF7E3CB}" dt="2017-12-15T18:30:50.665" v="2393" actId="6549"/>
          <ac:grpSpMkLst>
            <pc:docMk/>
            <pc:sldMk cId="3932938254" sldId="1410"/>
            <ac:grpSpMk id="67" creationId="{7D61334A-9B79-415B-8275-CBFF398A092B}"/>
          </ac:grpSpMkLst>
        </pc:grpChg>
        <pc:grpChg chg="add">
          <ac:chgData name="Mark Grimes" userId="b58058b7-2ab8-4142-95e7-f7e306e81118" providerId="ADAL" clId="{7CE5461B-B108-456F-827A-374D3DF7E3CB}" dt="2017-12-15T18:30:50.665" v="2393" actId="6549"/>
          <ac:grpSpMkLst>
            <pc:docMk/>
            <pc:sldMk cId="3932938254" sldId="1410"/>
            <ac:grpSpMk id="70" creationId="{25EA38BB-BA0E-499C-AC7C-B7D92633CF9A}"/>
          </ac:grpSpMkLst>
        </pc:grpChg>
        <pc:grpChg chg="add">
          <ac:chgData name="Mark Grimes" userId="b58058b7-2ab8-4142-95e7-f7e306e81118" providerId="ADAL" clId="{7CE5461B-B108-456F-827A-374D3DF7E3CB}" dt="2017-12-15T18:30:50.665" v="2393" actId="6549"/>
          <ac:grpSpMkLst>
            <pc:docMk/>
            <pc:sldMk cId="3932938254" sldId="1410"/>
            <ac:grpSpMk id="73" creationId="{3B67A876-C11C-43A7-AE87-026A5DC218BB}"/>
          </ac:grpSpMkLst>
        </pc:grpChg>
        <pc:grpChg chg="add">
          <ac:chgData name="Mark Grimes" userId="b58058b7-2ab8-4142-95e7-f7e306e81118" providerId="ADAL" clId="{7CE5461B-B108-456F-827A-374D3DF7E3CB}" dt="2017-12-15T18:30:50.665" v="2393" actId="6549"/>
          <ac:grpSpMkLst>
            <pc:docMk/>
            <pc:sldMk cId="3932938254" sldId="1410"/>
            <ac:grpSpMk id="76" creationId="{2A04A162-EC89-4956-97F8-1AC3163EC6B3}"/>
          </ac:grpSpMkLst>
        </pc:grpChg>
        <pc:grpChg chg="add">
          <ac:chgData name="Mark Grimes" userId="b58058b7-2ab8-4142-95e7-f7e306e81118" providerId="ADAL" clId="{7CE5461B-B108-456F-827A-374D3DF7E3CB}" dt="2017-12-15T18:30:50.665" v="2393" actId="6549"/>
          <ac:grpSpMkLst>
            <pc:docMk/>
            <pc:sldMk cId="3932938254" sldId="1410"/>
            <ac:grpSpMk id="79" creationId="{35422C6A-1C90-4B45-961D-853345914298}"/>
          </ac:grpSpMkLst>
        </pc:grpChg>
        <pc:grpChg chg="add">
          <ac:chgData name="Mark Grimes" userId="b58058b7-2ab8-4142-95e7-f7e306e81118" providerId="ADAL" clId="{7CE5461B-B108-456F-827A-374D3DF7E3CB}" dt="2017-12-15T18:30:50.665" v="2393" actId="6549"/>
          <ac:grpSpMkLst>
            <pc:docMk/>
            <pc:sldMk cId="3932938254" sldId="1410"/>
            <ac:grpSpMk id="88" creationId="{A28096AF-18D4-42E7-B33F-1ED19EB9E7B6}"/>
          </ac:grpSpMkLst>
        </pc:grpChg>
        <pc:grpChg chg="add">
          <ac:chgData name="Mark Grimes" userId="b58058b7-2ab8-4142-95e7-f7e306e81118" providerId="ADAL" clId="{7CE5461B-B108-456F-827A-374D3DF7E3CB}" dt="2017-12-15T18:30:50.665" v="2393" actId="6549"/>
          <ac:grpSpMkLst>
            <pc:docMk/>
            <pc:sldMk cId="3932938254" sldId="1410"/>
            <ac:grpSpMk id="97" creationId="{EBDA7887-880E-43CB-AEA3-4E28A05B2477}"/>
          </ac:grpSpMkLst>
        </pc:grpChg>
        <pc:grpChg chg="add">
          <ac:chgData name="Mark Grimes" userId="b58058b7-2ab8-4142-95e7-f7e306e81118" providerId="ADAL" clId="{7CE5461B-B108-456F-827A-374D3DF7E3CB}" dt="2017-12-15T18:30:50.665" v="2393" actId="6549"/>
          <ac:grpSpMkLst>
            <pc:docMk/>
            <pc:sldMk cId="3932938254" sldId="1410"/>
            <ac:grpSpMk id="100" creationId="{3ADEC63C-5CF3-41DA-B914-45A964C11DC3}"/>
          </ac:grpSpMkLst>
        </pc:grpChg>
        <pc:grpChg chg="add">
          <ac:chgData name="Mark Grimes" userId="b58058b7-2ab8-4142-95e7-f7e306e81118" providerId="ADAL" clId="{7CE5461B-B108-456F-827A-374D3DF7E3CB}" dt="2017-12-15T18:30:50.665" v="2393" actId="6549"/>
          <ac:grpSpMkLst>
            <pc:docMk/>
            <pc:sldMk cId="3932938254" sldId="1410"/>
            <ac:grpSpMk id="110" creationId="{47A88CA0-575D-4277-8CB9-9163ECD3F27C}"/>
          </ac:grpSpMkLst>
        </pc:grpChg>
        <pc:grpChg chg="add">
          <ac:chgData name="Mark Grimes" userId="b58058b7-2ab8-4142-95e7-f7e306e81118" providerId="ADAL" clId="{7CE5461B-B108-456F-827A-374D3DF7E3CB}" dt="2017-12-15T18:30:50.665" v="2393" actId="6549"/>
          <ac:grpSpMkLst>
            <pc:docMk/>
            <pc:sldMk cId="3932938254" sldId="1410"/>
            <ac:grpSpMk id="113" creationId="{30C6D3C0-62C9-425B-A3D5-D51E1C852054}"/>
          </ac:grpSpMkLst>
        </pc:grpChg>
        <pc:grpChg chg="add">
          <ac:chgData name="Mark Grimes" userId="b58058b7-2ab8-4142-95e7-f7e306e81118" providerId="ADAL" clId="{7CE5461B-B108-456F-827A-374D3DF7E3CB}" dt="2017-12-15T18:30:50.665" v="2393" actId="6549"/>
          <ac:grpSpMkLst>
            <pc:docMk/>
            <pc:sldMk cId="3932938254" sldId="1410"/>
            <ac:grpSpMk id="116" creationId="{A32230A2-C4C6-4E6A-B156-A6E479CC688E}"/>
          </ac:grpSpMkLst>
        </pc:grpChg>
        <pc:grpChg chg="add">
          <ac:chgData name="Mark Grimes" userId="b58058b7-2ab8-4142-95e7-f7e306e81118" providerId="ADAL" clId="{7CE5461B-B108-456F-827A-374D3DF7E3CB}" dt="2017-12-15T18:30:50.665" v="2393" actId="6549"/>
          <ac:grpSpMkLst>
            <pc:docMk/>
            <pc:sldMk cId="3932938254" sldId="1410"/>
            <ac:grpSpMk id="122" creationId="{1E680945-C654-4F59-87E5-99C25DA6E043}"/>
          </ac:grpSpMkLst>
        </pc:grpChg>
        <pc:grpChg chg="add">
          <ac:chgData name="Mark Grimes" userId="b58058b7-2ab8-4142-95e7-f7e306e81118" providerId="ADAL" clId="{7CE5461B-B108-456F-827A-374D3DF7E3CB}" dt="2017-12-15T18:30:50.665" v="2393" actId="6549"/>
          <ac:grpSpMkLst>
            <pc:docMk/>
            <pc:sldMk cId="3932938254" sldId="1410"/>
            <ac:grpSpMk id="125" creationId="{C909BE44-D5E0-4F3D-84B9-33FD45290471}"/>
          </ac:grpSpMkLst>
        </pc:grpChg>
        <pc:cxnChg chg="add">
          <ac:chgData name="Mark Grimes" userId="b58058b7-2ab8-4142-95e7-f7e306e81118" providerId="ADAL" clId="{7CE5461B-B108-456F-827A-374D3DF7E3CB}" dt="2017-12-15T18:30:50.665" v="2393" actId="6549"/>
          <ac:cxnSpMkLst>
            <pc:docMk/>
            <pc:sldMk cId="3932938254" sldId="1410"/>
            <ac:cxnSpMk id="119" creationId="{9A1D6212-180A-4C77-9B52-8C6245691559}"/>
          </ac:cxnSpMkLst>
        </pc:cxnChg>
        <pc:cxnChg chg="add">
          <ac:chgData name="Mark Grimes" userId="b58058b7-2ab8-4142-95e7-f7e306e81118" providerId="ADAL" clId="{7CE5461B-B108-456F-827A-374D3DF7E3CB}" dt="2017-12-15T18:30:50.665" v="2393" actId="6549"/>
          <ac:cxnSpMkLst>
            <pc:docMk/>
            <pc:sldMk cId="3932938254" sldId="1410"/>
            <ac:cxnSpMk id="120" creationId="{6AEB8EBD-37CC-4099-B8F7-7D2753475C26}"/>
          </ac:cxnSpMkLst>
        </pc:cxnChg>
        <pc:cxnChg chg="add">
          <ac:chgData name="Mark Grimes" userId="b58058b7-2ab8-4142-95e7-f7e306e81118" providerId="ADAL" clId="{7CE5461B-B108-456F-827A-374D3DF7E3CB}" dt="2017-12-15T18:30:50.665" v="2393" actId="6549"/>
          <ac:cxnSpMkLst>
            <pc:docMk/>
            <pc:sldMk cId="3932938254" sldId="1410"/>
            <ac:cxnSpMk id="121" creationId="{94BDF2C4-83F9-4FFA-8359-9F1FCB928223}"/>
          </ac:cxnSpMkLst>
        </pc:cxnChg>
        <pc:cxnChg chg="add">
          <ac:chgData name="Mark Grimes" userId="b58058b7-2ab8-4142-95e7-f7e306e81118" providerId="ADAL" clId="{7CE5461B-B108-456F-827A-374D3DF7E3CB}" dt="2017-12-15T18:30:50.665" v="2393" actId="6549"/>
          <ac:cxnSpMkLst>
            <pc:docMk/>
            <pc:sldMk cId="3932938254" sldId="1410"/>
            <ac:cxnSpMk id="128" creationId="{E1D1F0AD-57DE-46DA-BB9C-C2B604F1ACB2}"/>
          </ac:cxnSpMkLst>
        </pc:cxnChg>
        <pc:cxnChg chg="add">
          <ac:chgData name="Mark Grimes" userId="b58058b7-2ab8-4142-95e7-f7e306e81118" providerId="ADAL" clId="{7CE5461B-B108-456F-827A-374D3DF7E3CB}" dt="2017-12-15T18:30:50.665" v="2393" actId="6549"/>
          <ac:cxnSpMkLst>
            <pc:docMk/>
            <pc:sldMk cId="3932938254" sldId="1410"/>
            <ac:cxnSpMk id="129" creationId="{42FB8653-10CF-469A-BDB1-6B1D499EF7A0}"/>
          </ac:cxnSpMkLst>
        </pc:cxnChg>
        <pc:cxnChg chg="add">
          <ac:chgData name="Mark Grimes" userId="b58058b7-2ab8-4142-95e7-f7e306e81118" providerId="ADAL" clId="{7CE5461B-B108-456F-827A-374D3DF7E3CB}" dt="2017-12-15T18:30:50.665" v="2393" actId="6549"/>
          <ac:cxnSpMkLst>
            <pc:docMk/>
            <pc:sldMk cId="3932938254" sldId="1410"/>
            <ac:cxnSpMk id="130" creationId="{EAE6504D-FABE-43BB-A27B-7FA3F4B932BD}"/>
          </ac:cxnSpMkLst>
        </pc:cxnChg>
      </pc:sldChg>
      <pc:sldChg chg="ord">
        <pc:chgData name="Mark Grimes" userId="b58058b7-2ab8-4142-95e7-f7e306e81118" providerId="ADAL" clId="{7CE5461B-B108-456F-827A-374D3DF7E3CB}" dt="2017-12-15T19:01:50.737" v="2593" actId="27022"/>
        <pc:sldMkLst>
          <pc:docMk/>
          <pc:sldMk cId="4097052206" sldId="1413"/>
        </pc:sldMkLst>
      </pc:sldChg>
      <pc:sldChg chg="ord">
        <pc:chgData name="Mark Grimes" userId="b58058b7-2ab8-4142-95e7-f7e306e81118" providerId="ADAL" clId="{7CE5461B-B108-456F-827A-374D3DF7E3CB}" dt="2017-12-15T19:01:50.737" v="2593" actId="27022"/>
        <pc:sldMkLst>
          <pc:docMk/>
          <pc:sldMk cId="929896088" sldId="1414"/>
        </pc:sldMkLst>
      </pc:sldChg>
      <pc:sldChg chg="del">
        <pc:chgData name="Mark Grimes" userId="b58058b7-2ab8-4142-95e7-f7e306e81118" providerId="ADAL" clId="{7CE5461B-B108-456F-827A-374D3DF7E3CB}" dt="2017-12-18T19:08:57.750" v="8933" actId="2696"/>
        <pc:sldMkLst>
          <pc:docMk/>
          <pc:sldMk cId="2217106267" sldId="1415"/>
        </pc:sldMkLst>
      </pc:sldChg>
      <pc:sldChg chg="addSp delSp modSp modAnim">
        <pc:chgData name="Mark Grimes" userId="b58058b7-2ab8-4142-95e7-f7e306e81118" providerId="ADAL" clId="{7CE5461B-B108-456F-827A-374D3DF7E3CB}" dt="2017-12-15T18:38:25.383" v="2411" actId="1076"/>
        <pc:sldMkLst>
          <pc:docMk/>
          <pc:sldMk cId="1098150389" sldId="1418"/>
        </pc:sldMkLst>
        <pc:spChg chg="add del mod">
          <ac:chgData name="Mark Grimes" userId="b58058b7-2ab8-4142-95e7-f7e306e81118" providerId="ADAL" clId="{7CE5461B-B108-456F-827A-374D3DF7E3CB}" dt="2017-12-15T18:37:20.167" v="2408" actId="478"/>
          <ac:spMkLst>
            <pc:docMk/>
            <pc:sldMk cId="1098150389" sldId="1418"/>
            <ac:spMk id="3" creationId="{4793EAA9-8EA6-41E2-A0FC-791112E6A06F}"/>
          </ac:spMkLst>
        </pc:spChg>
        <pc:spChg chg="del">
          <ac:chgData name="Mark Grimes" userId="b58058b7-2ab8-4142-95e7-f7e306e81118" providerId="ADAL" clId="{7CE5461B-B108-456F-827A-374D3DF7E3CB}" dt="2017-12-15T18:37:14.033" v="2407" actId="478"/>
          <ac:spMkLst>
            <pc:docMk/>
            <pc:sldMk cId="1098150389" sldId="1418"/>
            <ac:spMk id="6" creationId="{00000000-0000-0000-0000-000000000000}"/>
          </ac:spMkLst>
        </pc:spChg>
        <pc:spChg chg="del">
          <ac:chgData name="Mark Grimes" userId="b58058b7-2ab8-4142-95e7-f7e306e81118" providerId="ADAL" clId="{7CE5461B-B108-456F-827A-374D3DF7E3CB}" dt="2017-12-15T18:37:14.033" v="2407" actId="478"/>
          <ac:spMkLst>
            <pc:docMk/>
            <pc:sldMk cId="1098150389" sldId="1418"/>
            <ac:spMk id="17" creationId="{00000000-0000-0000-0000-000000000000}"/>
          </ac:spMkLst>
        </pc:spChg>
        <pc:spChg chg="mod">
          <ac:chgData name="Mark Grimes" userId="b58058b7-2ab8-4142-95e7-f7e306e81118" providerId="ADAL" clId="{7CE5461B-B108-456F-827A-374D3DF7E3CB}" dt="2017-12-15T18:38:25.383" v="2411" actId="1076"/>
          <ac:spMkLst>
            <pc:docMk/>
            <pc:sldMk cId="1098150389" sldId="1418"/>
            <ac:spMk id="26" creationId="{00000000-0000-0000-0000-000000000000}"/>
          </ac:spMkLst>
        </pc:spChg>
        <pc:spChg chg="add del mod">
          <ac:chgData name="Mark Grimes" userId="b58058b7-2ab8-4142-95e7-f7e306e81118" providerId="ADAL" clId="{7CE5461B-B108-456F-827A-374D3DF7E3CB}" dt="2017-12-15T18:37:20.167" v="2408" actId="478"/>
          <ac:spMkLst>
            <pc:docMk/>
            <pc:sldMk cId="1098150389" sldId="1418"/>
            <ac:spMk id="28" creationId="{32EA35BA-1E1B-4127-9FE4-54AC9794B9D9}"/>
          </ac:spMkLst>
        </pc:spChg>
        <pc:spChg chg="add">
          <ac:chgData name="Mark Grimes" userId="b58058b7-2ab8-4142-95e7-f7e306e81118" providerId="ADAL" clId="{7CE5461B-B108-456F-827A-374D3DF7E3CB}" dt="2017-12-15T18:37:55.983" v="2409" actId="1076"/>
          <ac:spMkLst>
            <pc:docMk/>
            <pc:sldMk cId="1098150389" sldId="1418"/>
            <ac:spMk id="29" creationId="{EEF7CC9D-DC08-4D71-98E9-AD7920442699}"/>
          </ac:spMkLst>
        </pc:spChg>
        <pc:spChg chg="add">
          <ac:chgData name="Mark Grimes" userId="b58058b7-2ab8-4142-95e7-f7e306e81118" providerId="ADAL" clId="{7CE5461B-B108-456F-827A-374D3DF7E3CB}" dt="2017-12-15T18:37:55.983" v="2409" actId="1076"/>
          <ac:spMkLst>
            <pc:docMk/>
            <pc:sldMk cId="1098150389" sldId="1418"/>
            <ac:spMk id="40" creationId="{D2B5C55C-09C0-46F5-82DD-A6F25526B6BF}"/>
          </ac:spMkLst>
        </pc:spChg>
        <pc:spChg chg="add">
          <ac:chgData name="Mark Grimes" userId="b58058b7-2ab8-4142-95e7-f7e306e81118" providerId="ADAL" clId="{7CE5461B-B108-456F-827A-374D3DF7E3CB}" dt="2017-12-15T18:37:55.983" v="2409" actId="1076"/>
          <ac:spMkLst>
            <pc:docMk/>
            <pc:sldMk cId="1098150389" sldId="1418"/>
            <ac:spMk id="88" creationId="{1ADEF901-59C2-4B8C-88BA-6BC75010C0EF}"/>
          </ac:spMkLst>
        </pc:spChg>
        <pc:spChg chg="add">
          <ac:chgData name="Mark Grimes" userId="b58058b7-2ab8-4142-95e7-f7e306e81118" providerId="ADAL" clId="{7CE5461B-B108-456F-827A-374D3DF7E3CB}" dt="2017-12-15T18:37:55.983" v="2409" actId="1076"/>
          <ac:spMkLst>
            <pc:docMk/>
            <pc:sldMk cId="1098150389" sldId="1418"/>
            <ac:spMk id="89" creationId="{00E593DE-8F96-4B7F-A7A1-1944BE04729F}"/>
          </ac:spMkLst>
        </pc:spChg>
        <pc:spChg chg="add">
          <ac:chgData name="Mark Grimes" userId="b58058b7-2ab8-4142-95e7-f7e306e81118" providerId="ADAL" clId="{7CE5461B-B108-456F-827A-374D3DF7E3CB}" dt="2017-12-15T18:37:55.983" v="2409" actId="1076"/>
          <ac:spMkLst>
            <pc:docMk/>
            <pc:sldMk cId="1098150389" sldId="1418"/>
            <ac:spMk id="90" creationId="{69D92F2D-6A90-439F-AE55-B321AFFF1F2A}"/>
          </ac:spMkLst>
        </pc:spChg>
        <pc:spChg chg="add">
          <ac:chgData name="Mark Grimes" userId="b58058b7-2ab8-4142-95e7-f7e306e81118" providerId="ADAL" clId="{7CE5461B-B108-456F-827A-374D3DF7E3CB}" dt="2017-12-15T18:37:55.983" v="2409" actId="1076"/>
          <ac:spMkLst>
            <pc:docMk/>
            <pc:sldMk cId="1098150389" sldId="1418"/>
            <ac:spMk id="91" creationId="{B1D07298-43A8-440F-8455-100089C0727B}"/>
          </ac:spMkLst>
        </pc:spChg>
        <pc:spChg chg="add">
          <ac:chgData name="Mark Grimes" userId="b58058b7-2ab8-4142-95e7-f7e306e81118" providerId="ADAL" clId="{7CE5461B-B108-456F-827A-374D3DF7E3CB}" dt="2017-12-15T18:37:55.983" v="2409" actId="1076"/>
          <ac:spMkLst>
            <pc:docMk/>
            <pc:sldMk cId="1098150389" sldId="1418"/>
            <ac:spMk id="92" creationId="{108A6349-202C-414D-B7D2-9271B90162FD}"/>
          </ac:spMkLst>
        </pc:spChg>
        <pc:spChg chg="add">
          <ac:chgData name="Mark Grimes" userId="b58058b7-2ab8-4142-95e7-f7e306e81118" providerId="ADAL" clId="{7CE5461B-B108-456F-827A-374D3DF7E3CB}" dt="2017-12-15T18:37:55.983" v="2409" actId="1076"/>
          <ac:spMkLst>
            <pc:docMk/>
            <pc:sldMk cId="1098150389" sldId="1418"/>
            <ac:spMk id="93" creationId="{B4FDDCD6-FA28-4DFB-A1F5-0BE462F72929}"/>
          </ac:spMkLst>
        </pc:spChg>
        <pc:spChg chg="add">
          <ac:chgData name="Mark Grimes" userId="b58058b7-2ab8-4142-95e7-f7e306e81118" providerId="ADAL" clId="{7CE5461B-B108-456F-827A-374D3DF7E3CB}" dt="2017-12-15T18:37:55.983" v="2409" actId="1076"/>
          <ac:spMkLst>
            <pc:docMk/>
            <pc:sldMk cId="1098150389" sldId="1418"/>
            <ac:spMk id="94" creationId="{98B370B0-0943-421B-A80A-A8483C430C5A}"/>
          </ac:spMkLst>
        </pc:spChg>
        <pc:spChg chg="add mod">
          <ac:chgData name="Mark Grimes" userId="b58058b7-2ab8-4142-95e7-f7e306e81118" providerId="ADAL" clId="{7CE5461B-B108-456F-827A-374D3DF7E3CB}" dt="2017-12-15T18:38:18.237" v="2410" actId="14100"/>
          <ac:spMkLst>
            <pc:docMk/>
            <pc:sldMk cId="1098150389" sldId="1418"/>
            <ac:spMk id="275" creationId="{B598DFE6-155D-4EA9-91CD-79122E289E11}"/>
          </ac:spMkLst>
        </pc:spChg>
        <pc:spChg chg="add">
          <ac:chgData name="Mark Grimes" userId="b58058b7-2ab8-4142-95e7-f7e306e81118" providerId="ADAL" clId="{7CE5461B-B108-456F-827A-374D3DF7E3CB}" dt="2017-12-15T18:37:55.983" v="2409" actId="1076"/>
          <ac:spMkLst>
            <pc:docMk/>
            <pc:sldMk cId="1098150389" sldId="1418"/>
            <ac:spMk id="276" creationId="{AFD41DAF-9079-4844-A8A4-5F589205B3CB}"/>
          </ac:spMkLst>
        </pc:spChg>
        <pc:spChg chg="add">
          <ac:chgData name="Mark Grimes" userId="b58058b7-2ab8-4142-95e7-f7e306e81118" providerId="ADAL" clId="{7CE5461B-B108-456F-827A-374D3DF7E3CB}" dt="2017-12-15T18:37:55.983" v="2409" actId="1076"/>
          <ac:spMkLst>
            <pc:docMk/>
            <pc:sldMk cId="1098150389" sldId="1418"/>
            <ac:spMk id="277" creationId="{F7E9ABD6-0E88-4C92-B3AE-B71605E06C7E}"/>
          </ac:spMkLst>
        </pc:spChg>
        <pc:spChg chg="add">
          <ac:chgData name="Mark Grimes" userId="b58058b7-2ab8-4142-95e7-f7e306e81118" providerId="ADAL" clId="{7CE5461B-B108-456F-827A-374D3DF7E3CB}" dt="2017-12-15T18:37:55.983" v="2409" actId="1076"/>
          <ac:spMkLst>
            <pc:docMk/>
            <pc:sldMk cId="1098150389" sldId="1418"/>
            <ac:spMk id="278" creationId="{5CD5C0D9-7A55-4570-B72E-8A92FE9C5D07}"/>
          </ac:spMkLst>
        </pc:spChg>
        <pc:spChg chg="add">
          <ac:chgData name="Mark Grimes" userId="b58058b7-2ab8-4142-95e7-f7e306e81118" providerId="ADAL" clId="{7CE5461B-B108-456F-827A-374D3DF7E3CB}" dt="2017-12-15T18:37:55.983" v="2409" actId="1076"/>
          <ac:spMkLst>
            <pc:docMk/>
            <pc:sldMk cId="1098150389" sldId="1418"/>
            <ac:spMk id="279" creationId="{C6851D2D-9947-44B7-92A1-B32EE976D15F}"/>
          </ac:spMkLst>
        </pc:spChg>
        <pc:spChg chg="add">
          <ac:chgData name="Mark Grimes" userId="b58058b7-2ab8-4142-95e7-f7e306e81118" providerId="ADAL" clId="{7CE5461B-B108-456F-827A-374D3DF7E3CB}" dt="2017-12-15T18:37:55.983" v="2409" actId="1076"/>
          <ac:spMkLst>
            <pc:docMk/>
            <pc:sldMk cId="1098150389" sldId="1418"/>
            <ac:spMk id="280" creationId="{92FAB43F-A034-44F1-8734-F2F47860E4BD}"/>
          </ac:spMkLst>
        </pc:spChg>
        <pc:spChg chg="add">
          <ac:chgData name="Mark Grimes" userId="b58058b7-2ab8-4142-95e7-f7e306e81118" providerId="ADAL" clId="{7CE5461B-B108-456F-827A-374D3DF7E3CB}" dt="2017-12-15T18:37:55.983" v="2409" actId="1076"/>
          <ac:spMkLst>
            <pc:docMk/>
            <pc:sldMk cId="1098150389" sldId="1418"/>
            <ac:spMk id="281" creationId="{B220461F-86F6-434E-B4A1-5885ED9DE89C}"/>
          </ac:spMkLst>
        </pc:spChg>
        <pc:spChg chg="add">
          <ac:chgData name="Mark Grimes" userId="b58058b7-2ab8-4142-95e7-f7e306e81118" providerId="ADAL" clId="{7CE5461B-B108-456F-827A-374D3DF7E3CB}" dt="2017-12-15T18:37:55.983" v="2409" actId="1076"/>
          <ac:spMkLst>
            <pc:docMk/>
            <pc:sldMk cId="1098150389" sldId="1418"/>
            <ac:spMk id="282" creationId="{055960B7-71E0-4378-9B86-90157BBE9A37}"/>
          </ac:spMkLst>
        </pc:spChg>
        <pc:spChg chg="add">
          <ac:chgData name="Mark Grimes" userId="b58058b7-2ab8-4142-95e7-f7e306e81118" providerId="ADAL" clId="{7CE5461B-B108-456F-827A-374D3DF7E3CB}" dt="2017-12-15T18:37:55.983" v="2409" actId="1076"/>
          <ac:spMkLst>
            <pc:docMk/>
            <pc:sldMk cId="1098150389" sldId="1418"/>
            <ac:spMk id="283" creationId="{27067126-7965-43F7-A980-1822B36BC10C}"/>
          </ac:spMkLst>
        </pc:spChg>
        <pc:grpChg chg="del">
          <ac:chgData name="Mark Grimes" userId="b58058b7-2ab8-4142-95e7-f7e306e81118" providerId="ADAL" clId="{7CE5461B-B108-456F-827A-374D3DF7E3CB}" dt="2017-12-15T18:37:14.033" v="2407" actId="478"/>
          <ac:grpSpMkLst>
            <pc:docMk/>
            <pc:sldMk cId="1098150389" sldId="1418"/>
            <ac:grpSpMk id="4" creationId="{00000000-0000-0000-0000-000000000000}"/>
          </ac:grpSpMkLst>
        </pc:grpChg>
        <pc:grpChg chg="add">
          <ac:chgData name="Mark Grimes" userId="b58058b7-2ab8-4142-95e7-f7e306e81118" providerId="ADAL" clId="{7CE5461B-B108-456F-827A-374D3DF7E3CB}" dt="2017-12-15T18:37:55.983" v="2409" actId="1076"/>
          <ac:grpSpMkLst>
            <pc:docMk/>
            <pc:sldMk cId="1098150389" sldId="1418"/>
            <ac:grpSpMk id="30" creationId="{7C6D33BA-E7B0-4347-A646-D6C85DFD9508}"/>
          </ac:grpSpMkLst>
        </pc:grpChg>
        <pc:grpChg chg="add">
          <ac:chgData name="Mark Grimes" userId="b58058b7-2ab8-4142-95e7-f7e306e81118" providerId="ADAL" clId="{7CE5461B-B108-456F-827A-374D3DF7E3CB}" dt="2017-12-15T18:37:55.983" v="2409" actId="1076"/>
          <ac:grpSpMkLst>
            <pc:docMk/>
            <pc:sldMk cId="1098150389" sldId="1418"/>
            <ac:grpSpMk id="37" creationId="{354B6D5B-6EFD-47CD-9D68-502801D4E44B}"/>
          </ac:grpSpMkLst>
        </pc:grpChg>
        <pc:grpChg chg="add">
          <ac:chgData name="Mark Grimes" userId="b58058b7-2ab8-4142-95e7-f7e306e81118" providerId="ADAL" clId="{7CE5461B-B108-456F-827A-374D3DF7E3CB}" dt="2017-12-15T18:37:55.983" v="2409" actId="1076"/>
          <ac:grpSpMkLst>
            <pc:docMk/>
            <pc:sldMk cId="1098150389" sldId="1418"/>
            <ac:grpSpMk id="41" creationId="{C2BF2A64-F2AA-4F5B-AFF8-D45BA5A31C9F}"/>
          </ac:grpSpMkLst>
        </pc:grpChg>
        <pc:grpChg chg="add">
          <ac:chgData name="Mark Grimes" userId="b58058b7-2ab8-4142-95e7-f7e306e81118" providerId="ADAL" clId="{7CE5461B-B108-456F-827A-374D3DF7E3CB}" dt="2017-12-15T18:37:55.983" v="2409" actId="1076"/>
          <ac:grpSpMkLst>
            <pc:docMk/>
            <pc:sldMk cId="1098150389" sldId="1418"/>
            <ac:grpSpMk id="46" creationId="{DD61F654-0FDF-478E-82E0-CC378078CDF1}"/>
          </ac:grpSpMkLst>
        </pc:grpChg>
        <pc:grpChg chg="add">
          <ac:chgData name="Mark Grimes" userId="b58058b7-2ab8-4142-95e7-f7e306e81118" providerId="ADAL" clId="{7CE5461B-B108-456F-827A-374D3DF7E3CB}" dt="2017-12-15T18:37:55.983" v="2409" actId="1076"/>
          <ac:grpSpMkLst>
            <pc:docMk/>
            <pc:sldMk cId="1098150389" sldId="1418"/>
            <ac:grpSpMk id="49" creationId="{7C0B525D-F240-4070-9258-52C7C9667761}"/>
          </ac:grpSpMkLst>
        </pc:grpChg>
        <pc:grpChg chg="add">
          <ac:chgData name="Mark Grimes" userId="b58058b7-2ab8-4142-95e7-f7e306e81118" providerId="ADAL" clId="{7CE5461B-B108-456F-827A-374D3DF7E3CB}" dt="2017-12-15T18:37:55.983" v="2409" actId="1076"/>
          <ac:grpSpMkLst>
            <pc:docMk/>
            <pc:sldMk cId="1098150389" sldId="1418"/>
            <ac:grpSpMk id="52" creationId="{B8EDC40B-7848-40D1-AA73-0B51E90AA744}"/>
          </ac:grpSpMkLst>
        </pc:grpChg>
        <pc:grpChg chg="add">
          <ac:chgData name="Mark Grimes" userId="b58058b7-2ab8-4142-95e7-f7e306e81118" providerId="ADAL" clId="{7CE5461B-B108-456F-827A-374D3DF7E3CB}" dt="2017-12-15T18:37:55.983" v="2409" actId="1076"/>
          <ac:grpSpMkLst>
            <pc:docMk/>
            <pc:sldMk cId="1098150389" sldId="1418"/>
            <ac:grpSpMk id="58" creationId="{C7E2FF66-540A-420F-9268-378CB8873D15}"/>
          </ac:grpSpMkLst>
        </pc:grpChg>
        <pc:grpChg chg="add">
          <ac:chgData name="Mark Grimes" userId="b58058b7-2ab8-4142-95e7-f7e306e81118" providerId="ADAL" clId="{7CE5461B-B108-456F-827A-374D3DF7E3CB}" dt="2017-12-15T18:37:55.983" v="2409" actId="1076"/>
          <ac:grpSpMkLst>
            <pc:docMk/>
            <pc:sldMk cId="1098150389" sldId="1418"/>
            <ac:grpSpMk id="66" creationId="{424B136E-99AE-4832-944F-D9EA9F199D92}"/>
          </ac:grpSpMkLst>
        </pc:grpChg>
        <pc:grpChg chg="add">
          <ac:chgData name="Mark Grimes" userId="b58058b7-2ab8-4142-95e7-f7e306e81118" providerId="ADAL" clId="{7CE5461B-B108-456F-827A-374D3DF7E3CB}" dt="2017-12-15T18:37:55.983" v="2409" actId="1076"/>
          <ac:grpSpMkLst>
            <pc:docMk/>
            <pc:sldMk cId="1098150389" sldId="1418"/>
            <ac:grpSpMk id="74" creationId="{F4ED65AD-E6B1-4B3F-BE2B-BE0C19606B32}"/>
          </ac:grpSpMkLst>
        </pc:grpChg>
        <pc:grpChg chg="add">
          <ac:chgData name="Mark Grimes" userId="b58058b7-2ab8-4142-95e7-f7e306e81118" providerId="ADAL" clId="{7CE5461B-B108-456F-827A-374D3DF7E3CB}" dt="2017-12-15T18:37:55.983" v="2409" actId="1076"/>
          <ac:grpSpMkLst>
            <pc:docMk/>
            <pc:sldMk cId="1098150389" sldId="1418"/>
            <ac:grpSpMk id="85" creationId="{173A6115-23C1-4494-A307-49760FCF4FED}"/>
          </ac:grpSpMkLst>
        </pc:grpChg>
        <pc:grpChg chg="add">
          <ac:chgData name="Mark Grimes" userId="b58058b7-2ab8-4142-95e7-f7e306e81118" providerId="ADAL" clId="{7CE5461B-B108-456F-827A-374D3DF7E3CB}" dt="2017-12-15T18:37:55.983" v="2409" actId="1076"/>
          <ac:grpSpMkLst>
            <pc:docMk/>
            <pc:sldMk cId="1098150389" sldId="1418"/>
            <ac:grpSpMk id="95" creationId="{D130B372-7C27-4F00-A6CD-1CF74BA7351E}"/>
          </ac:grpSpMkLst>
        </pc:grpChg>
        <pc:grpChg chg="add">
          <ac:chgData name="Mark Grimes" userId="b58058b7-2ab8-4142-95e7-f7e306e81118" providerId="ADAL" clId="{7CE5461B-B108-456F-827A-374D3DF7E3CB}" dt="2017-12-15T18:37:55.983" v="2409" actId="1076"/>
          <ac:grpSpMkLst>
            <pc:docMk/>
            <pc:sldMk cId="1098150389" sldId="1418"/>
            <ac:grpSpMk id="108" creationId="{969F4756-2780-4DFF-8044-402C003BEDE0}"/>
          </ac:grpSpMkLst>
        </pc:grpChg>
        <pc:grpChg chg="add">
          <ac:chgData name="Mark Grimes" userId="b58058b7-2ab8-4142-95e7-f7e306e81118" providerId="ADAL" clId="{7CE5461B-B108-456F-827A-374D3DF7E3CB}" dt="2017-12-15T18:37:55.983" v="2409" actId="1076"/>
          <ac:grpSpMkLst>
            <pc:docMk/>
            <pc:sldMk cId="1098150389" sldId="1418"/>
            <ac:grpSpMk id="268" creationId="{B4CB58D9-9104-4F86-8E33-BCE490655C2C}"/>
          </ac:grpSpMkLst>
        </pc:grpChg>
      </pc:sldChg>
      <pc:sldChg chg="modSp del">
        <pc:chgData name="Mark Grimes" userId="b58058b7-2ab8-4142-95e7-f7e306e81118" providerId="ADAL" clId="{7CE5461B-B108-456F-827A-374D3DF7E3CB}" dt="2017-12-18T19:04:01.703" v="8914" actId="2696"/>
        <pc:sldMkLst>
          <pc:docMk/>
          <pc:sldMk cId="733647390" sldId="1420"/>
        </pc:sldMkLst>
        <pc:spChg chg="mod">
          <ac:chgData name="Mark Grimes" userId="b58058b7-2ab8-4142-95e7-f7e306e81118" providerId="ADAL" clId="{7CE5461B-B108-456F-827A-374D3DF7E3CB}" dt="2017-12-18T18:57:33.649" v="8912" actId="20577"/>
          <ac:spMkLst>
            <pc:docMk/>
            <pc:sldMk cId="733647390" sldId="1420"/>
            <ac:spMk id="2" creationId="{00000000-0000-0000-0000-000000000000}"/>
          </ac:spMkLst>
        </pc:spChg>
      </pc:sldChg>
      <pc:sldChg chg="del">
        <pc:chgData name="Mark Grimes" userId="b58058b7-2ab8-4142-95e7-f7e306e81118" providerId="ADAL" clId="{7CE5461B-B108-456F-827A-374D3DF7E3CB}" dt="2017-12-18T19:04:01.615" v="8913" actId="2696"/>
        <pc:sldMkLst>
          <pc:docMk/>
          <pc:sldMk cId="3099748495" sldId="1422"/>
        </pc:sldMkLst>
      </pc:sldChg>
      <pc:sldChg chg="del ord modNotesTx">
        <pc:chgData name="Mark Grimes" userId="b58058b7-2ab8-4142-95e7-f7e306e81118" providerId="ADAL" clId="{7CE5461B-B108-456F-827A-374D3DF7E3CB}" dt="2017-12-18T15:31:24.963" v="8382" actId="2696"/>
        <pc:sldMkLst>
          <pc:docMk/>
          <pc:sldMk cId="1592839027" sldId="1440"/>
        </pc:sldMkLst>
      </pc:sldChg>
      <pc:sldChg chg="del">
        <pc:chgData name="Mark Grimes" userId="b58058b7-2ab8-4142-95e7-f7e306e81118" providerId="ADAL" clId="{7CE5461B-B108-456F-827A-374D3DF7E3CB}" dt="2017-12-18T19:08:52.572" v="8932" actId="2696"/>
        <pc:sldMkLst>
          <pc:docMk/>
          <pc:sldMk cId="1690195983" sldId="1442"/>
        </pc:sldMkLst>
      </pc:sldChg>
      <pc:sldChg chg="add del">
        <pc:chgData name="Mark Grimes" userId="b58058b7-2ab8-4142-95e7-f7e306e81118" providerId="ADAL" clId="{7CE5461B-B108-456F-827A-374D3DF7E3CB}" dt="2017-12-18T19:08:37.287" v="8927" actId="2696"/>
        <pc:sldMkLst>
          <pc:docMk/>
          <pc:sldMk cId="1833518638" sldId="1445"/>
        </pc:sldMkLst>
      </pc:sldChg>
      <pc:sldChg chg="del">
        <pc:chgData name="Mark Grimes" userId="b58058b7-2ab8-4142-95e7-f7e306e81118" providerId="ADAL" clId="{7CE5461B-B108-456F-827A-374D3DF7E3CB}" dt="2017-12-18T19:09:20.161" v="8934" actId="2696"/>
        <pc:sldMkLst>
          <pc:docMk/>
          <pc:sldMk cId="3733446913" sldId="1453"/>
        </pc:sldMkLst>
      </pc:sldChg>
      <pc:sldChg chg="addSp delSp modSp modAnim">
        <pc:chgData name="Mark Grimes" userId="b58058b7-2ab8-4142-95e7-f7e306e81118" providerId="ADAL" clId="{7CE5461B-B108-456F-827A-374D3DF7E3CB}" dt="2017-12-18T19:20:49.070" v="9156" actId="20577"/>
        <pc:sldMkLst>
          <pc:docMk/>
          <pc:sldMk cId="739208116" sldId="1458"/>
        </pc:sldMkLst>
        <pc:spChg chg="mod">
          <ac:chgData name="Mark Grimes" userId="b58058b7-2ab8-4142-95e7-f7e306e81118" providerId="ADAL" clId="{7CE5461B-B108-456F-827A-374D3DF7E3CB}" dt="2017-12-18T19:20:28.122" v="9154" actId="20577"/>
          <ac:spMkLst>
            <pc:docMk/>
            <pc:sldMk cId="739208116" sldId="1458"/>
            <ac:spMk id="2" creationId="{00000000-0000-0000-0000-000000000000}"/>
          </ac:spMkLst>
        </pc:spChg>
        <pc:spChg chg="add">
          <ac:chgData name="Mark Grimes" userId="b58058b7-2ab8-4142-95e7-f7e306e81118" providerId="ADAL" clId="{7CE5461B-B108-456F-827A-374D3DF7E3CB}" dt="2017-12-18T19:20:49.070" v="9156" actId="20577"/>
          <ac:spMkLst>
            <pc:docMk/>
            <pc:sldMk cId="739208116" sldId="1458"/>
            <ac:spMk id="8" creationId="{884781FA-A067-4A94-8EE8-FAD4284CAC96}"/>
          </ac:spMkLst>
        </pc:spChg>
        <pc:spChg chg="add">
          <ac:chgData name="Mark Grimes" userId="b58058b7-2ab8-4142-95e7-f7e306e81118" providerId="ADAL" clId="{7CE5461B-B108-456F-827A-374D3DF7E3CB}" dt="2017-12-18T19:20:49.070" v="9156" actId="20577"/>
          <ac:spMkLst>
            <pc:docMk/>
            <pc:sldMk cId="739208116" sldId="1458"/>
            <ac:spMk id="13" creationId="{45D14871-D8FC-4737-9239-0F67EE3525B4}"/>
          </ac:spMkLst>
        </pc:spChg>
        <pc:spChg chg="add">
          <ac:chgData name="Mark Grimes" userId="b58058b7-2ab8-4142-95e7-f7e306e81118" providerId="ADAL" clId="{7CE5461B-B108-456F-827A-374D3DF7E3CB}" dt="2017-12-18T19:20:49.070" v="9156" actId="20577"/>
          <ac:spMkLst>
            <pc:docMk/>
            <pc:sldMk cId="739208116" sldId="1458"/>
            <ac:spMk id="14" creationId="{AE06C0DB-3558-4D36-81D5-CA012945AD6B}"/>
          </ac:spMkLst>
        </pc:spChg>
        <pc:spChg chg="add">
          <ac:chgData name="Mark Grimes" userId="b58058b7-2ab8-4142-95e7-f7e306e81118" providerId="ADAL" clId="{7CE5461B-B108-456F-827A-374D3DF7E3CB}" dt="2017-12-18T19:20:49.070" v="9156" actId="20577"/>
          <ac:spMkLst>
            <pc:docMk/>
            <pc:sldMk cId="739208116" sldId="1458"/>
            <ac:spMk id="15" creationId="{D2AEB923-5AB0-4545-8359-B96FB0B3CC1F}"/>
          </ac:spMkLst>
        </pc:spChg>
        <pc:spChg chg="add">
          <ac:chgData name="Mark Grimes" userId="b58058b7-2ab8-4142-95e7-f7e306e81118" providerId="ADAL" clId="{7CE5461B-B108-456F-827A-374D3DF7E3CB}" dt="2017-12-18T19:20:49.070" v="9156" actId="20577"/>
          <ac:spMkLst>
            <pc:docMk/>
            <pc:sldMk cId="739208116" sldId="1458"/>
            <ac:spMk id="16" creationId="{13E37CEA-301D-48CB-825C-0D2EB329DCC4}"/>
          </ac:spMkLst>
        </pc:spChg>
        <pc:spChg chg="add">
          <ac:chgData name="Mark Grimes" userId="b58058b7-2ab8-4142-95e7-f7e306e81118" providerId="ADAL" clId="{7CE5461B-B108-456F-827A-374D3DF7E3CB}" dt="2017-12-18T19:20:49.070" v="9156" actId="20577"/>
          <ac:spMkLst>
            <pc:docMk/>
            <pc:sldMk cId="739208116" sldId="1458"/>
            <ac:spMk id="17" creationId="{DDE27CB6-5C32-4227-BB3E-478DEEFA34A7}"/>
          </ac:spMkLst>
        </pc:spChg>
        <pc:spChg chg="add">
          <ac:chgData name="Mark Grimes" userId="b58058b7-2ab8-4142-95e7-f7e306e81118" providerId="ADAL" clId="{7CE5461B-B108-456F-827A-374D3DF7E3CB}" dt="2017-12-18T19:20:49.070" v="9156" actId="20577"/>
          <ac:spMkLst>
            <pc:docMk/>
            <pc:sldMk cId="739208116" sldId="1458"/>
            <ac:spMk id="26" creationId="{FC657DC6-E3DF-46B1-850B-970CE9B39DAC}"/>
          </ac:spMkLst>
        </pc:spChg>
        <pc:spChg chg="add">
          <ac:chgData name="Mark Grimes" userId="b58058b7-2ab8-4142-95e7-f7e306e81118" providerId="ADAL" clId="{7CE5461B-B108-456F-827A-374D3DF7E3CB}" dt="2017-12-18T19:20:49.070" v="9156" actId="20577"/>
          <ac:spMkLst>
            <pc:docMk/>
            <pc:sldMk cId="739208116" sldId="1458"/>
            <ac:spMk id="29" creationId="{101C501D-E61C-4747-9A53-D7A4EA2839BA}"/>
          </ac:spMkLst>
        </pc:spChg>
        <pc:spChg chg="add">
          <ac:chgData name="Mark Grimes" userId="b58058b7-2ab8-4142-95e7-f7e306e81118" providerId="ADAL" clId="{7CE5461B-B108-456F-827A-374D3DF7E3CB}" dt="2017-12-18T19:20:49.070" v="9156" actId="20577"/>
          <ac:spMkLst>
            <pc:docMk/>
            <pc:sldMk cId="739208116" sldId="1458"/>
            <ac:spMk id="31" creationId="{5FBA43E8-8D97-472C-A4EF-C3B4305E1B77}"/>
          </ac:spMkLst>
        </pc:spChg>
        <pc:spChg chg="add">
          <ac:chgData name="Mark Grimes" userId="b58058b7-2ab8-4142-95e7-f7e306e81118" providerId="ADAL" clId="{7CE5461B-B108-456F-827A-374D3DF7E3CB}" dt="2017-12-18T19:20:49.070" v="9156" actId="20577"/>
          <ac:spMkLst>
            <pc:docMk/>
            <pc:sldMk cId="739208116" sldId="1458"/>
            <ac:spMk id="32" creationId="{5C6D2188-8CC7-491C-819A-3A5ACB8E094B}"/>
          </ac:spMkLst>
        </pc:spChg>
        <pc:spChg chg="add">
          <ac:chgData name="Mark Grimes" userId="b58058b7-2ab8-4142-95e7-f7e306e81118" providerId="ADAL" clId="{7CE5461B-B108-456F-827A-374D3DF7E3CB}" dt="2017-12-18T19:20:49.070" v="9156" actId="20577"/>
          <ac:spMkLst>
            <pc:docMk/>
            <pc:sldMk cId="739208116" sldId="1458"/>
            <ac:spMk id="33" creationId="{212CFEA0-4F6E-4D6A-82CB-53C00D4DEB1E}"/>
          </ac:spMkLst>
        </pc:spChg>
        <pc:spChg chg="add">
          <ac:chgData name="Mark Grimes" userId="b58058b7-2ab8-4142-95e7-f7e306e81118" providerId="ADAL" clId="{7CE5461B-B108-456F-827A-374D3DF7E3CB}" dt="2017-12-18T19:20:49.070" v="9156" actId="20577"/>
          <ac:spMkLst>
            <pc:docMk/>
            <pc:sldMk cId="739208116" sldId="1458"/>
            <ac:spMk id="184" creationId="{0E936C73-5481-4AD7-A28F-50C6623FA0EF}"/>
          </ac:spMkLst>
        </pc:spChg>
        <pc:grpChg chg="add">
          <ac:chgData name="Mark Grimes" userId="b58058b7-2ab8-4142-95e7-f7e306e81118" providerId="ADAL" clId="{7CE5461B-B108-456F-827A-374D3DF7E3CB}" dt="2017-12-18T19:20:49.070" v="9156" actId="20577"/>
          <ac:grpSpMkLst>
            <pc:docMk/>
            <pc:sldMk cId="739208116" sldId="1458"/>
            <ac:grpSpMk id="9" creationId="{5F84E515-804A-4C0C-9340-DCB5CF448A87}"/>
          </ac:grpSpMkLst>
        </pc:grpChg>
        <pc:grpChg chg="add">
          <ac:chgData name="Mark Grimes" userId="b58058b7-2ab8-4142-95e7-f7e306e81118" providerId="ADAL" clId="{7CE5461B-B108-456F-827A-374D3DF7E3CB}" dt="2017-12-18T19:20:49.070" v="9156" actId="20577"/>
          <ac:grpSpMkLst>
            <pc:docMk/>
            <pc:sldMk cId="739208116" sldId="1458"/>
            <ac:grpSpMk id="18" creationId="{6D3FC4A2-1E29-48D3-AAD3-AA58F7CA0D61}"/>
          </ac:grpSpMkLst>
        </pc:grpChg>
        <pc:grpChg chg="add">
          <ac:chgData name="Mark Grimes" userId="b58058b7-2ab8-4142-95e7-f7e306e81118" providerId="ADAL" clId="{7CE5461B-B108-456F-827A-374D3DF7E3CB}" dt="2017-12-18T19:20:49.070" v="9156" actId="20577"/>
          <ac:grpSpMkLst>
            <pc:docMk/>
            <pc:sldMk cId="739208116" sldId="1458"/>
            <ac:grpSpMk id="22" creationId="{805AE5A7-539E-4558-9D7C-ACB839E8877B}"/>
          </ac:grpSpMkLst>
        </pc:grpChg>
        <pc:grpChg chg="add">
          <ac:chgData name="Mark Grimes" userId="b58058b7-2ab8-4142-95e7-f7e306e81118" providerId="ADAL" clId="{7CE5461B-B108-456F-827A-374D3DF7E3CB}" dt="2017-12-18T19:20:49.070" v="9156" actId="20577"/>
          <ac:grpSpMkLst>
            <pc:docMk/>
            <pc:sldMk cId="739208116" sldId="1458"/>
            <ac:grpSpMk id="34" creationId="{65BE3EFD-2BEB-4A3E-9418-0B56353F871B}"/>
          </ac:grpSpMkLst>
        </pc:grpChg>
        <pc:grpChg chg="add">
          <ac:chgData name="Mark Grimes" userId="b58058b7-2ab8-4142-95e7-f7e306e81118" providerId="ADAL" clId="{7CE5461B-B108-456F-827A-374D3DF7E3CB}" dt="2017-12-18T19:20:49.070" v="9156" actId="20577"/>
          <ac:grpSpMkLst>
            <pc:docMk/>
            <pc:sldMk cId="739208116" sldId="1458"/>
            <ac:grpSpMk id="82" creationId="{094E2B9A-B609-4476-B896-38743577088E}"/>
          </ac:grpSpMkLst>
        </pc:grpChg>
        <pc:grpChg chg="add">
          <ac:chgData name="Mark Grimes" userId="b58058b7-2ab8-4142-95e7-f7e306e81118" providerId="ADAL" clId="{7CE5461B-B108-456F-827A-374D3DF7E3CB}" dt="2017-12-18T19:20:49.070" v="9156" actId="20577"/>
          <ac:grpSpMkLst>
            <pc:docMk/>
            <pc:sldMk cId="739208116" sldId="1458"/>
            <ac:grpSpMk id="132" creationId="{92C58695-2311-44C1-B8BF-A9D49CC68DE8}"/>
          </ac:grpSpMkLst>
        </pc:grpChg>
        <pc:grpChg chg="add">
          <ac:chgData name="Mark Grimes" userId="b58058b7-2ab8-4142-95e7-f7e306e81118" providerId="ADAL" clId="{7CE5461B-B108-456F-827A-374D3DF7E3CB}" dt="2017-12-18T19:20:49.070" v="9156" actId="20577"/>
          <ac:grpSpMkLst>
            <pc:docMk/>
            <pc:sldMk cId="739208116" sldId="1458"/>
            <ac:grpSpMk id="180" creationId="{2BECA18A-E6D3-4D31-B66A-5727A2D471D6}"/>
          </ac:grpSpMkLst>
        </pc:grpChg>
        <pc:picChg chg="add">
          <ac:chgData name="Mark Grimes" userId="b58058b7-2ab8-4142-95e7-f7e306e81118" providerId="ADAL" clId="{7CE5461B-B108-456F-827A-374D3DF7E3CB}" dt="2017-12-18T19:20:49.070" v="9156" actId="20577"/>
          <ac:picMkLst>
            <pc:docMk/>
            <pc:sldMk cId="739208116" sldId="1458"/>
            <ac:picMk id="5" creationId="{9E52EFCD-5C5A-4951-9197-1361877D1A04}"/>
          </ac:picMkLst>
        </pc:picChg>
        <pc:picChg chg="add">
          <ac:chgData name="Mark Grimes" userId="b58058b7-2ab8-4142-95e7-f7e306e81118" providerId="ADAL" clId="{7CE5461B-B108-456F-827A-374D3DF7E3CB}" dt="2017-12-18T19:20:49.070" v="9156" actId="20577"/>
          <ac:picMkLst>
            <pc:docMk/>
            <pc:sldMk cId="739208116" sldId="1458"/>
            <ac:picMk id="6" creationId="{76B340C4-1915-4D8F-AC92-9F6BF41623BC}"/>
          </ac:picMkLst>
        </pc:picChg>
        <pc:picChg chg="del">
          <ac:chgData name="Mark Grimes" userId="b58058b7-2ab8-4142-95e7-f7e306e81118" providerId="ADAL" clId="{7CE5461B-B108-456F-827A-374D3DF7E3CB}" dt="2017-12-18T19:20:35.774" v="9155" actId="478"/>
          <ac:picMkLst>
            <pc:docMk/>
            <pc:sldMk cId="739208116" sldId="1458"/>
            <ac:picMk id="7" creationId="{00000000-0000-0000-0000-000000000000}"/>
          </ac:picMkLst>
        </pc:picChg>
        <pc:picChg chg="add">
          <ac:chgData name="Mark Grimes" userId="b58058b7-2ab8-4142-95e7-f7e306e81118" providerId="ADAL" clId="{7CE5461B-B108-456F-827A-374D3DF7E3CB}" dt="2017-12-18T19:20:49.070" v="9156" actId="20577"/>
          <ac:picMkLst>
            <pc:docMk/>
            <pc:sldMk cId="739208116" sldId="1458"/>
            <ac:picMk id="12" creationId="{DC998EA4-8E3D-4486-9CBA-CAA7358A48BF}"/>
          </ac:picMkLst>
        </pc:picChg>
        <pc:cxnChg chg="add">
          <ac:chgData name="Mark Grimes" userId="b58058b7-2ab8-4142-95e7-f7e306e81118" providerId="ADAL" clId="{7CE5461B-B108-456F-827A-374D3DF7E3CB}" dt="2017-12-18T19:20:49.070" v="9156" actId="20577"/>
          <ac:cxnSpMkLst>
            <pc:docMk/>
            <pc:sldMk cId="739208116" sldId="1458"/>
            <ac:cxnSpMk id="27" creationId="{F61D7396-F6C5-450A-9A55-05C72341C40C}"/>
          </ac:cxnSpMkLst>
        </pc:cxnChg>
        <pc:cxnChg chg="add">
          <ac:chgData name="Mark Grimes" userId="b58058b7-2ab8-4142-95e7-f7e306e81118" providerId="ADAL" clId="{7CE5461B-B108-456F-827A-374D3DF7E3CB}" dt="2017-12-18T19:20:49.070" v="9156" actId="20577"/>
          <ac:cxnSpMkLst>
            <pc:docMk/>
            <pc:sldMk cId="739208116" sldId="1458"/>
            <ac:cxnSpMk id="28" creationId="{5C542589-E490-497C-BF16-F2A5EB9B54F9}"/>
          </ac:cxnSpMkLst>
        </pc:cxnChg>
        <pc:cxnChg chg="add">
          <ac:chgData name="Mark Grimes" userId="b58058b7-2ab8-4142-95e7-f7e306e81118" providerId="ADAL" clId="{7CE5461B-B108-456F-827A-374D3DF7E3CB}" dt="2017-12-18T19:20:49.070" v="9156" actId="20577"/>
          <ac:cxnSpMkLst>
            <pc:docMk/>
            <pc:sldMk cId="739208116" sldId="1458"/>
            <ac:cxnSpMk id="30" creationId="{49E76546-5C86-44C6-92A6-D6D72D209301}"/>
          </ac:cxnSpMkLst>
        </pc:cxnChg>
      </pc:sldChg>
      <pc:sldChg chg="modSp">
        <pc:chgData name="Mark Grimes" userId="b58058b7-2ab8-4142-95e7-f7e306e81118" providerId="ADAL" clId="{7CE5461B-B108-456F-827A-374D3DF7E3CB}" dt="2017-12-15T18:54:39.979" v="2543" actId="20577"/>
        <pc:sldMkLst>
          <pc:docMk/>
          <pc:sldMk cId="2914000393" sldId="1463"/>
        </pc:sldMkLst>
        <pc:spChg chg="mod">
          <ac:chgData name="Mark Grimes" userId="b58058b7-2ab8-4142-95e7-f7e306e81118" providerId="ADAL" clId="{7CE5461B-B108-456F-827A-374D3DF7E3CB}" dt="2017-12-15T18:54:39.979" v="2543" actId="20577"/>
          <ac:spMkLst>
            <pc:docMk/>
            <pc:sldMk cId="2914000393" sldId="1463"/>
            <ac:spMk id="5" creationId="{00000000-0000-0000-0000-000000000000}"/>
          </ac:spMkLst>
        </pc:spChg>
      </pc:sldChg>
      <pc:sldChg chg="addSp delSp modSp delAnim">
        <pc:chgData name="Mark Grimes" userId="b58058b7-2ab8-4142-95e7-f7e306e81118" providerId="ADAL" clId="{7CE5461B-B108-456F-827A-374D3DF7E3CB}" dt="2017-12-15T23:34:24.134" v="3190" actId="478"/>
        <pc:sldMkLst>
          <pc:docMk/>
          <pc:sldMk cId="700704894" sldId="1465"/>
        </pc:sldMkLst>
        <pc:spChg chg="del">
          <ac:chgData name="Mark Grimes" userId="b58058b7-2ab8-4142-95e7-f7e306e81118" providerId="ADAL" clId="{7CE5461B-B108-456F-827A-374D3DF7E3CB}" dt="2017-12-15T23:33:24.748" v="3181" actId="478"/>
          <ac:spMkLst>
            <pc:docMk/>
            <pc:sldMk cId="700704894" sldId="1465"/>
            <ac:spMk id="3" creationId="{00000000-0000-0000-0000-000000000000}"/>
          </ac:spMkLst>
        </pc:spChg>
        <pc:spChg chg="del">
          <ac:chgData name="Mark Grimes" userId="b58058b7-2ab8-4142-95e7-f7e306e81118" providerId="ADAL" clId="{7CE5461B-B108-456F-827A-374D3DF7E3CB}" dt="2017-12-15T23:33:24.748" v="3181" actId="478"/>
          <ac:spMkLst>
            <pc:docMk/>
            <pc:sldMk cId="700704894" sldId="1465"/>
            <ac:spMk id="4" creationId="{00000000-0000-0000-0000-000000000000}"/>
          </ac:spMkLst>
        </pc:spChg>
        <pc:spChg chg="del">
          <ac:chgData name="Mark Grimes" userId="b58058b7-2ab8-4142-95e7-f7e306e81118" providerId="ADAL" clId="{7CE5461B-B108-456F-827A-374D3DF7E3CB}" dt="2017-12-15T23:33:24.748" v="3181" actId="478"/>
          <ac:spMkLst>
            <pc:docMk/>
            <pc:sldMk cId="700704894" sldId="1465"/>
            <ac:spMk id="5" creationId="{00000000-0000-0000-0000-000000000000}"/>
          </ac:spMkLst>
        </pc:spChg>
        <pc:spChg chg="add del mod">
          <ac:chgData name="Mark Grimes" userId="b58058b7-2ab8-4142-95e7-f7e306e81118" providerId="ADAL" clId="{7CE5461B-B108-456F-827A-374D3DF7E3CB}" dt="2017-12-15T23:33:25.565" v="3182" actId="478"/>
          <ac:spMkLst>
            <pc:docMk/>
            <pc:sldMk cId="700704894" sldId="1465"/>
            <ac:spMk id="8" creationId="{B647C7C8-8D97-48FE-926A-D62D8A5319EA}"/>
          </ac:spMkLst>
        </pc:spChg>
        <pc:spChg chg="del">
          <ac:chgData name="Mark Grimes" userId="b58058b7-2ab8-4142-95e7-f7e306e81118" providerId="ADAL" clId="{7CE5461B-B108-456F-827A-374D3DF7E3CB}" dt="2017-12-15T23:33:24.748" v="3181" actId="478"/>
          <ac:spMkLst>
            <pc:docMk/>
            <pc:sldMk cId="700704894" sldId="1465"/>
            <ac:spMk id="13" creationId="{00000000-0000-0000-0000-000000000000}"/>
          </ac:spMkLst>
        </pc:spChg>
        <pc:spChg chg="del">
          <ac:chgData name="Mark Grimes" userId="b58058b7-2ab8-4142-95e7-f7e306e81118" providerId="ADAL" clId="{7CE5461B-B108-456F-827A-374D3DF7E3CB}" dt="2017-12-15T23:33:24.748" v="3181" actId="478"/>
          <ac:spMkLst>
            <pc:docMk/>
            <pc:sldMk cId="700704894" sldId="1465"/>
            <ac:spMk id="20" creationId="{00000000-0000-0000-0000-000000000000}"/>
          </ac:spMkLst>
        </pc:spChg>
        <pc:spChg chg="del">
          <ac:chgData name="Mark Grimes" userId="b58058b7-2ab8-4142-95e7-f7e306e81118" providerId="ADAL" clId="{7CE5461B-B108-456F-827A-374D3DF7E3CB}" dt="2017-12-15T23:33:24.748" v="3181" actId="478"/>
          <ac:spMkLst>
            <pc:docMk/>
            <pc:sldMk cId="700704894" sldId="1465"/>
            <ac:spMk id="21" creationId="{00000000-0000-0000-0000-000000000000}"/>
          </ac:spMkLst>
        </pc:spChg>
        <pc:spChg chg="del">
          <ac:chgData name="Mark Grimes" userId="b58058b7-2ab8-4142-95e7-f7e306e81118" providerId="ADAL" clId="{7CE5461B-B108-456F-827A-374D3DF7E3CB}" dt="2017-12-15T23:33:24.748" v="3181" actId="478"/>
          <ac:spMkLst>
            <pc:docMk/>
            <pc:sldMk cId="700704894" sldId="1465"/>
            <ac:spMk id="22" creationId="{00000000-0000-0000-0000-000000000000}"/>
          </ac:spMkLst>
        </pc:spChg>
        <pc:spChg chg="del">
          <ac:chgData name="Mark Grimes" userId="b58058b7-2ab8-4142-95e7-f7e306e81118" providerId="ADAL" clId="{7CE5461B-B108-456F-827A-374D3DF7E3CB}" dt="2017-12-15T23:33:24.748" v="3181" actId="478"/>
          <ac:spMkLst>
            <pc:docMk/>
            <pc:sldMk cId="700704894" sldId="1465"/>
            <ac:spMk id="23" creationId="{00000000-0000-0000-0000-000000000000}"/>
          </ac:spMkLst>
        </pc:spChg>
        <pc:spChg chg="del">
          <ac:chgData name="Mark Grimes" userId="b58058b7-2ab8-4142-95e7-f7e306e81118" providerId="ADAL" clId="{7CE5461B-B108-456F-827A-374D3DF7E3CB}" dt="2017-12-15T23:33:24.748" v="3181" actId="478"/>
          <ac:spMkLst>
            <pc:docMk/>
            <pc:sldMk cId="700704894" sldId="1465"/>
            <ac:spMk id="24" creationId="{00000000-0000-0000-0000-000000000000}"/>
          </ac:spMkLst>
        </pc:spChg>
        <pc:spChg chg="del">
          <ac:chgData name="Mark Grimes" userId="b58058b7-2ab8-4142-95e7-f7e306e81118" providerId="ADAL" clId="{7CE5461B-B108-456F-827A-374D3DF7E3CB}" dt="2017-12-15T23:33:24.748" v="3181" actId="478"/>
          <ac:spMkLst>
            <pc:docMk/>
            <pc:sldMk cId="700704894" sldId="1465"/>
            <ac:spMk id="25" creationId="{00000000-0000-0000-0000-000000000000}"/>
          </ac:spMkLst>
        </pc:spChg>
        <pc:spChg chg="del">
          <ac:chgData name="Mark Grimes" userId="b58058b7-2ab8-4142-95e7-f7e306e81118" providerId="ADAL" clId="{7CE5461B-B108-456F-827A-374D3DF7E3CB}" dt="2017-12-15T23:33:24.748" v="3181" actId="478"/>
          <ac:spMkLst>
            <pc:docMk/>
            <pc:sldMk cId="700704894" sldId="1465"/>
            <ac:spMk id="26" creationId="{00000000-0000-0000-0000-000000000000}"/>
          </ac:spMkLst>
        </pc:spChg>
        <pc:spChg chg="add del">
          <ac:chgData name="Mark Grimes" userId="b58058b7-2ab8-4142-95e7-f7e306e81118" providerId="ADAL" clId="{7CE5461B-B108-456F-827A-374D3DF7E3CB}" dt="2017-12-15T23:33:31.251" v="3184" actId="478"/>
          <ac:spMkLst>
            <pc:docMk/>
            <pc:sldMk cId="700704894" sldId="1465"/>
            <ac:spMk id="27" creationId="{C9FB3BCF-B1B0-4914-BF58-7E0E70C5D94B}"/>
          </ac:spMkLst>
        </pc:spChg>
        <pc:spChg chg="add del">
          <ac:chgData name="Mark Grimes" userId="b58058b7-2ab8-4142-95e7-f7e306e81118" providerId="ADAL" clId="{7CE5461B-B108-456F-827A-374D3DF7E3CB}" dt="2017-12-15T23:33:31.251" v="3184" actId="478"/>
          <ac:spMkLst>
            <pc:docMk/>
            <pc:sldMk cId="700704894" sldId="1465"/>
            <ac:spMk id="28" creationId="{1CBAA414-E8F8-4248-AF9F-86F1E54AACBB}"/>
          </ac:spMkLst>
        </pc:spChg>
        <pc:spChg chg="add del">
          <ac:chgData name="Mark Grimes" userId="b58058b7-2ab8-4142-95e7-f7e306e81118" providerId="ADAL" clId="{7CE5461B-B108-456F-827A-374D3DF7E3CB}" dt="2017-12-15T23:33:31.251" v="3184" actId="478"/>
          <ac:spMkLst>
            <pc:docMk/>
            <pc:sldMk cId="700704894" sldId="1465"/>
            <ac:spMk id="29" creationId="{08DDA647-C9D3-4915-AC4B-EA7B934CDA6E}"/>
          </ac:spMkLst>
        </pc:spChg>
        <pc:spChg chg="add del">
          <ac:chgData name="Mark Grimes" userId="b58058b7-2ab8-4142-95e7-f7e306e81118" providerId="ADAL" clId="{7CE5461B-B108-456F-827A-374D3DF7E3CB}" dt="2017-12-15T23:33:31.251" v="3184" actId="478"/>
          <ac:spMkLst>
            <pc:docMk/>
            <pc:sldMk cId="700704894" sldId="1465"/>
            <ac:spMk id="30" creationId="{0D04099B-8D04-4D6F-8367-4FA72D051F8E}"/>
          </ac:spMkLst>
        </pc:spChg>
        <pc:spChg chg="add del">
          <ac:chgData name="Mark Grimes" userId="b58058b7-2ab8-4142-95e7-f7e306e81118" providerId="ADAL" clId="{7CE5461B-B108-456F-827A-374D3DF7E3CB}" dt="2017-12-15T23:33:31.251" v="3184" actId="478"/>
          <ac:spMkLst>
            <pc:docMk/>
            <pc:sldMk cId="700704894" sldId="1465"/>
            <ac:spMk id="31" creationId="{6AF76832-61F9-4801-9ED4-5BEF1469328A}"/>
          </ac:spMkLst>
        </pc:spChg>
        <pc:spChg chg="add del">
          <ac:chgData name="Mark Grimes" userId="b58058b7-2ab8-4142-95e7-f7e306e81118" providerId="ADAL" clId="{7CE5461B-B108-456F-827A-374D3DF7E3CB}" dt="2017-12-15T23:33:31.251" v="3184" actId="478"/>
          <ac:spMkLst>
            <pc:docMk/>
            <pc:sldMk cId="700704894" sldId="1465"/>
            <ac:spMk id="33" creationId="{76A0BE1D-BEAA-4D9B-9256-E1070B479008}"/>
          </ac:spMkLst>
        </pc:spChg>
        <pc:spChg chg="add del">
          <ac:chgData name="Mark Grimes" userId="b58058b7-2ab8-4142-95e7-f7e306e81118" providerId="ADAL" clId="{7CE5461B-B108-456F-827A-374D3DF7E3CB}" dt="2017-12-15T23:33:31.251" v="3184" actId="478"/>
          <ac:spMkLst>
            <pc:docMk/>
            <pc:sldMk cId="700704894" sldId="1465"/>
            <ac:spMk id="34" creationId="{037941FD-AEDF-44C3-8184-EE0325F1DCB2}"/>
          </ac:spMkLst>
        </pc:spChg>
        <pc:spChg chg="add del">
          <ac:chgData name="Mark Grimes" userId="b58058b7-2ab8-4142-95e7-f7e306e81118" providerId="ADAL" clId="{7CE5461B-B108-456F-827A-374D3DF7E3CB}" dt="2017-12-15T23:33:31.251" v="3184" actId="478"/>
          <ac:spMkLst>
            <pc:docMk/>
            <pc:sldMk cId="700704894" sldId="1465"/>
            <ac:spMk id="65" creationId="{291619EB-FD2E-4671-A199-C83A5E872888}"/>
          </ac:spMkLst>
        </pc:spChg>
        <pc:spChg chg="add del">
          <ac:chgData name="Mark Grimes" userId="b58058b7-2ab8-4142-95e7-f7e306e81118" providerId="ADAL" clId="{7CE5461B-B108-456F-827A-374D3DF7E3CB}" dt="2017-12-15T23:33:31.251" v="3184" actId="478"/>
          <ac:spMkLst>
            <pc:docMk/>
            <pc:sldMk cId="700704894" sldId="1465"/>
            <ac:spMk id="68" creationId="{14C61181-3A3D-43B6-BB40-5A1E82FE3E29}"/>
          </ac:spMkLst>
        </pc:spChg>
        <pc:spChg chg="add del">
          <ac:chgData name="Mark Grimes" userId="b58058b7-2ab8-4142-95e7-f7e306e81118" providerId="ADAL" clId="{7CE5461B-B108-456F-827A-374D3DF7E3CB}" dt="2017-12-15T23:33:31.251" v="3184" actId="478"/>
          <ac:spMkLst>
            <pc:docMk/>
            <pc:sldMk cId="700704894" sldId="1465"/>
            <ac:spMk id="69" creationId="{6FD2CF41-5165-45CB-8082-56782DECC01B}"/>
          </ac:spMkLst>
        </pc:spChg>
        <pc:spChg chg="add del">
          <ac:chgData name="Mark Grimes" userId="b58058b7-2ab8-4142-95e7-f7e306e81118" providerId="ADAL" clId="{7CE5461B-B108-456F-827A-374D3DF7E3CB}" dt="2017-12-15T23:33:31.251" v="3184" actId="478"/>
          <ac:spMkLst>
            <pc:docMk/>
            <pc:sldMk cId="700704894" sldId="1465"/>
            <ac:spMk id="70" creationId="{5D6298E3-B001-489A-B01B-A18E9EF0D1F4}"/>
          </ac:spMkLst>
        </pc:spChg>
        <pc:spChg chg="add del">
          <ac:chgData name="Mark Grimes" userId="b58058b7-2ab8-4142-95e7-f7e306e81118" providerId="ADAL" clId="{7CE5461B-B108-456F-827A-374D3DF7E3CB}" dt="2017-12-15T23:33:31.251" v="3184" actId="478"/>
          <ac:spMkLst>
            <pc:docMk/>
            <pc:sldMk cId="700704894" sldId="1465"/>
            <ac:spMk id="73" creationId="{C47F77FF-76B9-40BE-8B1D-D8C3F24EEBB1}"/>
          </ac:spMkLst>
        </pc:spChg>
        <pc:spChg chg="add del">
          <ac:chgData name="Mark Grimes" userId="b58058b7-2ab8-4142-95e7-f7e306e81118" providerId="ADAL" clId="{7CE5461B-B108-456F-827A-374D3DF7E3CB}" dt="2017-12-15T23:33:31.251" v="3184" actId="478"/>
          <ac:spMkLst>
            <pc:docMk/>
            <pc:sldMk cId="700704894" sldId="1465"/>
            <ac:spMk id="74" creationId="{397F18B7-A3D8-413D-96B7-19DC911CF09A}"/>
          </ac:spMkLst>
        </pc:spChg>
        <pc:spChg chg="add del">
          <ac:chgData name="Mark Grimes" userId="b58058b7-2ab8-4142-95e7-f7e306e81118" providerId="ADAL" clId="{7CE5461B-B108-456F-827A-374D3DF7E3CB}" dt="2017-12-15T23:33:31.251" v="3184" actId="478"/>
          <ac:spMkLst>
            <pc:docMk/>
            <pc:sldMk cId="700704894" sldId="1465"/>
            <ac:spMk id="131" creationId="{134037D1-6728-49B5-A255-64161959D575}"/>
          </ac:spMkLst>
        </pc:spChg>
        <pc:spChg chg="add del">
          <ac:chgData name="Mark Grimes" userId="b58058b7-2ab8-4142-95e7-f7e306e81118" providerId="ADAL" clId="{7CE5461B-B108-456F-827A-374D3DF7E3CB}" dt="2017-12-15T23:33:31.251" v="3184" actId="478"/>
          <ac:spMkLst>
            <pc:docMk/>
            <pc:sldMk cId="700704894" sldId="1465"/>
            <ac:spMk id="139" creationId="{08A1A34F-E287-4CE7-8A51-3A0E356351BA}"/>
          </ac:spMkLst>
        </pc:spChg>
        <pc:spChg chg="add del">
          <ac:chgData name="Mark Grimes" userId="b58058b7-2ab8-4142-95e7-f7e306e81118" providerId="ADAL" clId="{7CE5461B-B108-456F-827A-374D3DF7E3CB}" dt="2017-12-15T23:33:31.251" v="3184" actId="478"/>
          <ac:spMkLst>
            <pc:docMk/>
            <pc:sldMk cId="700704894" sldId="1465"/>
            <ac:spMk id="140" creationId="{09554FC0-4001-4571-B87F-F912304CA7C6}"/>
          </ac:spMkLst>
        </pc:spChg>
        <pc:spChg chg="add del">
          <ac:chgData name="Mark Grimes" userId="b58058b7-2ab8-4142-95e7-f7e306e81118" providerId="ADAL" clId="{7CE5461B-B108-456F-827A-374D3DF7E3CB}" dt="2017-12-15T23:33:31.251" v="3184" actId="478"/>
          <ac:spMkLst>
            <pc:docMk/>
            <pc:sldMk cId="700704894" sldId="1465"/>
            <ac:spMk id="141" creationId="{E39DB057-AF68-43D6-8ECC-19623AB414E7}"/>
          </ac:spMkLst>
        </pc:spChg>
        <pc:spChg chg="add del">
          <ac:chgData name="Mark Grimes" userId="b58058b7-2ab8-4142-95e7-f7e306e81118" providerId="ADAL" clId="{7CE5461B-B108-456F-827A-374D3DF7E3CB}" dt="2017-12-15T23:33:31.251" v="3184" actId="478"/>
          <ac:spMkLst>
            <pc:docMk/>
            <pc:sldMk cId="700704894" sldId="1465"/>
            <ac:spMk id="142" creationId="{E4BC2D17-FC1D-4331-9576-41D70258777B}"/>
          </ac:spMkLst>
        </pc:spChg>
        <pc:spChg chg="add">
          <ac:chgData name="Mark Grimes" userId="b58058b7-2ab8-4142-95e7-f7e306e81118" providerId="ADAL" clId="{7CE5461B-B108-456F-827A-374D3DF7E3CB}" dt="2017-12-15T23:33:34.716" v="3185" actId="478"/>
          <ac:spMkLst>
            <pc:docMk/>
            <pc:sldMk cId="700704894" sldId="1465"/>
            <ac:spMk id="144" creationId="{3BD1B433-4BF1-4DFA-A7E4-D38B357724A9}"/>
          </ac:spMkLst>
        </pc:spChg>
        <pc:spChg chg="add">
          <ac:chgData name="Mark Grimes" userId="b58058b7-2ab8-4142-95e7-f7e306e81118" providerId="ADAL" clId="{7CE5461B-B108-456F-827A-374D3DF7E3CB}" dt="2017-12-15T23:33:34.716" v="3185" actId="478"/>
          <ac:spMkLst>
            <pc:docMk/>
            <pc:sldMk cId="700704894" sldId="1465"/>
            <ac:spMk id="145" creationId="{7D760C3C-F273-4191-86E5-C959886CF294}"/>
          </ac:spMkLst>
        </pc:spChg>
        <pc:spChg chg="add">
          <ac:chgData name="Mark Grimes" userId="b58058b7-2ab8-4142-95e7-f7e306e81118" providerId="ADAL" clId="{7CE5461B-B108-456F-827A-374D3DF7E3CB}" dt="2017-12-15T23:33:34.716" v="3185" actId="478"/>
          <ac:spMkLst>
            <pc:docMk/>
            <pc:sldMk cId="700704894" sldId="1465"/>
            <ac:spMk id="146" creationId="{6736B3C5-E652-4FD1-85E0-8A3726B2FD23}"/>
          </ac:spMkLst>
        </pc:spChg>
        <pc:spChg chg="add del mod">
          <ac:chgData name="Mark Grimes" userId="b58058b7-2ab8-4142-95e7-f7e306e81118" providerId="ADAL" clId="{7CE5461B-B108-456F-827A-374D3DF7E3CB}" dt="2017-12-15T23:34:24.134" v="3190" actId="478"/>
          <ac:spMkLst>
            <pc:docMk/>
            <pc:sldMk cId="700704894" sldId="1465"/>
            <ac:spMk id="147" creationId="{DB0D7B35-0D46-47A3-8B90-422865588C3A}"/>
          </ac:spMkLst>
        </pc:spChg>
        <pc:spChg chg="add">
          <ac:chgData name="Mark Grimes" userId="b58058b7-2ab8-4142-95e7-f7e306e81118" providerId="ADAL" clId="{7CE5461B-B108-456F-827A-374D3DF7E3CB}" dt="2017-12-15T23:33:34.716" v="3185" actId="478"/>
          <ac:spMkLst>
            <pc:docMk/>
            <pc:sldMk cId="700704894" sldId="1465"/>
            <ac:spMk id="148" creationId="{FBB9219B-D609-42C5-B995-8B05BFA67E24}"/>
          </ac:spMkLst>
        </pc:spChg>
        <pc:spChg chg="add">
          <ac:chgData name="Mark Grimes" userId="b58058b7-2ab8-4142-95e7-f7e306e81118" providerId="ADAL" clId="{7CE5461B-B108-456F-827A-374D3DF7E3CB}" dt="2017-12-15T23:33:34.716" v="3185" actId="478"/>
          <ac:spMkLst>
            <pc:docMk/>
            <pc:sldMk cId="700704894" sldId="1465"/>
            <ac:spMk id="150" creationId="{0CBE527C-A077-4C55-A473-A28FB73F761D}"/>
          </ac:spMkLst>
        </pc:spChg>
        <pc:spChg chg="add">
          <ac:chgData name="Mark Grimes" userId="b58058b7-2ab8-4142-95e7-f7e306e81118" providerId="ADAL" clId="{7CE5461B-B108-456F-827A-374D3DF7E3CB}" dt="2017-12-15T23:33:34.716" v="3185" actId="478"/>
          <ac:spMkLst>
            <pc:docMk/>
            <pc:sldMk cId="700704894" sldId="1465"/>
            <ac:spMk id="151" creationId="{1EBC6593-B952-4DA1-96B5-E4135FD812B1}"/>
          </ac:spMkLst>
        </pc:spChg>
        <pc:spChg chg="add">
          <ac:chgData name="Mark Grimes" userId="b58058b7-2ab8-4142-95e7-f7e306e81118" providerId="ADAL" clId="{7CE5461B-B108-456F-827A-374D3DF7E3CB}" dt="2017-12-15T23:33:34.716" v="3185" actId="478"/>
          <ac:spMkLst>
            <pc:docMk/>
            <pc:sldMk cId="700704894" sldId="1465"/>
            <ac:spMk id="182" creationId="{1A800E43-CEE0-4586-9BE5-6BB3C0FCDA9B}"/>
          </ac:spMkLst>
        </pc:spChg>
        <pc:spChg chg="add">
          <ac:chgData name="Mark Grimes" userId="b58058b7-2ab8-4142-95e7-f7e306e81118" providerId="ADAL" clId="{7CE5461B-B108-456F-827A-374D3DF7E3CB}" dt="2017-12-15T23:33:34.716" v="3185" actId="478"/>
          <ac:spMkLst>
            <pc:docMk/>
            <pc:sldMk cId="700704894" sldId="1465"/>
            <ac:spMk id="185" creationId="{E5CBBE36-37BE-4454-AF47-9338E1D4EE22}"/>
          </ac:spMkLst>
        </pc:spChg>
        <pc:spChg chg="add">
          <ac:chgData name="Mark Grimes" userId="b58058b7-2ab8-4142-95e7-f7e306e81118" providerId="ADAL" clId="{7CE5461B-B108-456F-827A-374D3DF7E3CB}" dt="2017-12-15T23:33:34.716" v="3185" actId="478"/>
          <ac:spMkLst>
            <pc:docMk/>
            <pc:sldMk cId="700704894" sldId="1465"/>
            <ac:spMk id="186" creationId="{B857AB0D-DF27-4136-A284-A42316CDD18F}"/>
          </ac:spMkLst>
        </pc:spChg>
        <pc:spChg chg="add">
          <ac:chgData name="Mark Grimes" userId="b58058b7-2ab8-4142-95e7-f7e306e81118" providerId="ADAL" clId="{7CE5461B-B108-456F-827A-374D3DF7E3CB}" dt="2017-12-15T23:33:34.716" v="3185" actId="478"/>
          <ac:spMkLst>
            <pc:docMk/>
            <pc:sldMk cId="700704894" sldId="1465"/>
            <ac:spMk id="187" creationId="{93D0FA01-D74E-471A-9F05-12652935AD9D}"/>
          </ac:spMkLst>
        </pc:spChg>
        <pc:spChg chg="add">
          <ac:chgData name="Mark Grimes" userId="b58058b7-2ab8-4142-95e7-f7e306e81118" providerId="ADAL" clId="{7CE5461B-B108-456F-827A-374D3DF7E3CB}" dt="2017-12-15T23:33:34.716" v="3185" actId="478"/>
          <ac:spMkLst>
            <pc:docMk/>
            <pc:sldMk cId="700704894" sldId="1465"/>
            <ac:spMk id="190" creationId="{1B5D1C15-6696-4DD0-AF6E-B1C932595894}"/>
          </ac:spMkLst>
        </pc:spChg>
        <pc:spChg chg="add">
          <ac:chgData name="Mark Grimes" userId="b58058b7-2ab8-4142-95e7-f7e306e81118" providerId="ADAL" clId="{7CE5461B-B108-456F-827A-374D3DF7E3CB}" dt="2017-12-15T23:33:34.716" v="3185" actId="478"/>
          <ac:spMkLst>
            <pc:docMk/>
            <pc:sldMk cId="700704894" sldId="1465"/>
            <ac:spMk id="191" creationId="{7C9096DC-3836-4C7E-905E-AC43474BAA0D}"/>
          </ac:spMkLst>
        </pc:spChg>
        <pc:spChg chg="add">
          <ac:chgData name="Mark Grimes" userId="b58058b7-2ab8-4142-95e7-f7e306e81118" providerId="ADAL" clId="{7CE5461B-B108-456F-827A-374D3DF7E3CB}" dt="2017-12-15T23:33:34.716" v="3185" actId="478"/>
          <ac:spMkLst>
            <pc:docMk/>
            <pc:sldMk cId="700704894" sldId="1465"/>
            <ac:spMk id="248" creationId="{F231ED7C-40DF-4E16-A401-DCCD10F2CE59}"/>
          </ac:spMkLst>
        </pc:spChg>
        <pc:spChg chg="add">
          <ac:chgData name="Mark Grimes" userId="b58058b7-2ab8-4142-95e7-f7e306e81118" providerId="ADAL" clId="{7CE5461B-B108-456F-827A-374D3DF7E3CB}" dt="2017-12-15T23:33:34.716" v="3185" actId="478"/>
          <ac:spMkLst>
            <pc:docMk/>
            <pc:sldMk cId="700704894" sldId="1465"/>
            <ac:spMk id="256" creationId="{03BB6713-EED9-4C58-94C9-53BB9D45D000}"/>
          </ac:spMkLst>
        </pc:spChg>
        <pc:spChg chg="add">
          <ac:chgData name="Mark Grimes" userId="b58058b7-2ab8-4142-95e7-f7e306e81118" providerId="ADAL" clId="{7CE5461B-B108-456F-827A-374D3DF7E3CB}" dt="2017-12-15T23:33:34.716" v="3185" actId="478"/>
          <ac:spMkLst>
            <pc:docMk/>
            <pc:sldMk cId="700704894" sldId="1465"/>
            <ac:spMk id="257" creationId="{2BBAAC9A-B748-4136-8E19-7569E5268318}"/>
          </ac:spMkLst>
        </pc:spChg>
        <pc:spChg chg="add">
          <ac:chgData name="Mark Grimes" userId="b58058b7-2ab8-4142-95e7-f7e306e81118" providerId="ADAL" clId="{7CE5461B-B108-456F-827A-374D3DF7E3CB}" dt="2017-12-15T23:33:34.716" v="3185" actId="478"/>
          <ac:spMkLst>
            <pc:docMk/>
            <pc:sldMk cId="700704894" sldId="1465"/>
            <ac:spMk id="258" creationId="{F86B6C6C-A885-4F5C-961D-8AB43B4A357C}"/>
          </ac:spMkLst>
        </pc:spChg>
        <pc:spChg chg="add">
          <ac:chgData name="Mark Grimes" userId="b58058b7-2ab8-4142-95e7-f7e306e81118" providerId="ADAL" clId="{7CE5461B-B108-456F-827A-374D3DF7E3CB}" dt="2017-12-15T23:33:34.716" v="3185" actId="478"/>
          <ac:spMkLst>
            <pc:docMk/>
            <pc:sldMk cId="700704894" sldId="1465"/>
            <ac:spMk id="259" creationId="{04572F8B-7E0A-4342-BC22-E3C88A3788C3}"/>
          </ac:spMkLst>
        </pc:spChg>
        <pc:spChg chg="add mod ord">
          <ac:chgData name="Mark Grimes" userId="b58058b7-2ab8-4142-95e7-f7e306e81118" providerId="ADAL" clId="{7CE5461B-B108-456F-827A-374D3DF7E3CB}" dt="2017-12-15T23:34:19.344" v="3188" actId="478"/>
          <ac:spMkLst>
            <pc:docMk/>
            <pc:sldMk cId="700704894" sldId="1465"/>
            <ac:spMk id="261" creationId="{E36051CD-E574-465E-AE99-FD707FE1ED57}"/>
          </ac:spMkLst>
        </pc:spChg>
        <pc:grpChg chg="del">
          <ac:chgData name="Mark Grimes" userId="b58058b7-2ab8-4142-95e7-f7e306e81118" providerId="ADAL" clId="{7CE5461B-B108-456F-827A-374D3DF7E3CB}" dt="2017-12-15T23:33:24.748" v="3181" actId="478"/>
          <ac:grpSpMkLst>
            <pc:docMk/>
            <pc:sldMk cId="700704894" sldId="1465"/>
            <ac:grpSpMk id="19" creationId="{00000000-0000-0000-0000-000000000000}"/>
          </ac:grpSpMkLst>
        </pc:grpChg>
        <pc:grpChg chg="add del">
          <ac:chgData name="Mark Grimes" userId="b58058b7-2ab8-4142-95e7-f7e306e81118" providerId="ADAL" clId="{7CE5461B-B108-456F-827A-374D3DF7E3CB}" dt="2017-12-15T23:33:31.251" v="3184" actId="478"/>
          <ac:grpSpMkLst>
            <pc:docMk/>
            <pc:sldMk cId="700704894" sldId="1465"/>
            <ac:grpSpMk id="35" creationId="{FE2135E3-B770-4B1D-BEB7-55C060E2B133}"/>
          </ac:grpSpMkLst>
        </pc:grpChg>
        <pc:grpChg chg="add del">
          <ac:chgData name="Mark Grimes" userId="b58058b7-2ab8-4142-95e7-f7e306e81118" providerId="ADAL" clId="{7CE5461B-B108-456F-827A-374D3DF7E3CB}" dt="2017-12-15T23:33:31.251" v="3184" actId="478"/>
          <ac:grpSpMkLst>
            <pc:docMk/>
            <pc:sldMk cId="700704894" sldId="1465"/>
            <ac:grpSpMk id="53" creationId="{14EDFE4F-8F26-437F-8F83-C9ED01D51088}"/>
          </ac:grpSpMkLst>
        </pc:grpChg>
        <pc:grpChg chg="add del">
          <ac:chgData name="Mark Grimes" userId="b58058b7-2ab8-4142-95e7-f7e306e81118" providerId="ADAL" clId="{7CE5461B-B108-456F-827A-374D3DF7E3CB}" dt="2017-12-15T23:33:31.251" v="3184" actId="478"/>
          <ac:grpSpMkLst>
            <pc:docMk/>
            <pc:sldMk cId="700704894" sldId="1465"/>
            <ac:grpSpMk id="59" creationId="{9C35949A-794D-42A7-B463-8C11B85EB148}"/>
          </ac:grpSpMkLst>
        </pc:grpChg>
        <pc:grpChg chg="add del">
          <ac:chgData name="Mark Grimes" userId="b58058b7-2ab8-4142-95e7-f7e306e81118" providerId="ADAL" clId="{7CE5461B-B108-456F-827A-374D3DF7E3CB}" dt="2017-12-15T23:33:31.251" v="3184" actId="478"/>
          <ac:grpSpMkLst>
            <pc:docMk/>
            <pc:sldMk cId="700704894" sldId="1465"/>
            <ac:grpSpMk id="62" creationId="{6A368FDD-A5CE-4795-9BFF-C7EABEF4DE24}"/>
          </ac:grpSpMkLst>
        </pc:grpChg>
        <pc:grpChg chg="add del">
          <ac:chgData name="Mark Grimes" userId="b58058b7-2ab8-4142-95e7-f7e306e81118" providerId="ADAL" clId="{7CE5461B-B108-456F-827A-374D3DF7E3CB}" dt="2017-12-15T23:33:31.251" v="3184" actId="478"/>
          <ac:grpSpMkLst>
            <pc:docMk/>
            <pc:sldMk cId="700704894" sldId="1465"/>
            <ac:grpSpMk id="76" creationId="{A85C308A-865A-49A4-8BEC-F37F68C9AAE9}"/>
          </ac:grpSpMkLst>
        </pc:grpChg>
        <pc:grpChg chg="add del">
          <ac:chgData name="Mark Grimes" userId="b58058b7-2ab8-4142-95e7-f7e306e81118" providerId="ADAL" clId="{7CE5461B-B108-456F-827A-374D3DF7E3CB}" dt="2017-12-15T23:33:31.251" v="3184" actId="478"/>
          <ac:grpSpMkLst>
            <pc:docMk/>
            <pc:sldMk cId="700704894" sldId="1465"/>
            <ac:grpSpMk id="81" creationId="{6C08CACE-EA64-4517-865B-4D9857BDBF11}"/>
          </ac:grpSpMkLst>
        </pc:grpChg>
        <pc:grpChg chg="add del">
          <ac:chgData name="Mark Grimes" userId="b58058b7-2ab8-4142-95e7-f7e306e81118" providerId="ADAL" clId="{7CE5461B-B108-456F-827A-374D3DF7E3CB}" dt="2017-12-15T23:33:31.251" v="3184" actId="478"/>
          <ac:grpSpMkLst>
            <pc:docMk/>
            <pc:sldMk cId="700704894" sldId="1465"/>
            <ac:grpSpMk id="87" creationId="{95E7FAA1-8C96-4460-9EFA-313224B79FFF}"/>
          </ac:grpSpMkLst>
        </pc:grpChg>
        <pc:grpChg chg="add del">
          <ac:chgData name="Mark Grimes" userId="b58058b7-2ab8-4142-95e7-f7e306e81118" providerId="ADAL" clId="{7CE5461B-B108-456F-827A-374D3DF7E3CB}" dt="2017-12-15T23:33:31.251" v="3184" actId="478"/>
          <ac:grpSpMkLst>
            <pc:docMk/>
            <pc:sldMk cId="700704894" sldId="1465"/>
            <ac:grpSpMk id="91" creationId="{36C32C78-6F18-416D-AF70-FE686540325F}"/>
          </ac:grpSpMkLst>
        </pc:grpChg>
        <pc:grpChg chg="add del">
          <ac:chgData name="Mark Grimes" userId="b58058b7-2ab8-4142-95e7-f7e306e81118" providerId="ADAL" clId="{7CE5461B-B108-456F-827A-374D3DF7E3CB}" dt="2017-12-15T23:33:31.251" v="3184" actId="478"/>
          <ac:grpSpMkLst>
            <pc:docMk/>
            <pc:sldMk cId="700704894" sldId="1465"/>
            <ac:grpSpMk id="94" creationId="{55FE041B-6941-4A0F-8B7D-D662FBB2A4C8}"/>
          </ac:grpSpMkLst>
        </pc:grpChg>
        <pc:grpChg chg="add del">
          <ac:chgData name="Mark Grimes" userId="b58058b7-2ab8-4142-95e7-f7e306e81118" providerId="ADAL" clId="{7CE5461B-B108-456F-827A-374D3DF7E3CB}" dt="2017-12-15T23:33:31.251" v="3184" actId="478"/>
          <ac:grpSpMkLst>
            <pc:docMk/>
            <pc:sldMk cId="700704894" sldId="1465"/>
            <ac:grpSpMk id="98" creationId="{AD489950-6B01-4ED7-88D5-EC925BADBE2F}"/>
          </ac:grpSpMkLst>
        </pc:grpChg>
        <pc:grpChg chg="add del">
          <ac:chgData name="Mark Grimes" userId="b58058b7-2ab8-4142-95e7-f7e306e81118" providerId="ADAL" clId="{7CE5461B-B108-456F-827A-374D3DF7E3CB}" dt="2017-12-15T23:33:31.251" v="3184" actId="478"/>
          <ac:grpSpMkLst>
            <pc:docMk/>
            <pc:sldMk cId="700704894" sldId="1465"/>
            <ac:grpSpMk id="105" creationId="{9A9C8CC9-2A8C-42A7-9A26-5186F5247078}"/>
          </ac:grpSpMkLst>
        </pc:grpChg>
        <pc:grpChg chg="add del">
          <ac:chgData name="Mark Grimes" userId="b58058b7-2ab8-4142-95e7-f7e306e81118" providerId="ADAL" clId="{7CE5461B-B108-456F-827A-374D3DF7E3CB}" dt="2017-12-15T23:33:31.251" v="3184" actId="478"/>
          <ac:grpSpMkLst>
            <pc:docMk/>
            <pc:sldMk cId="700704894" sldId="1465"/>
            <ac:grpSpMk id="110" creationId="{6C13C8A2-FAF5-44F1-AD50-3602A886BAFE}"/>
          </ac:grpSpMkLst>
        </pc:grpChg>
        <pc:grpChg chg="add del">
          <ac:chgData name="Mark Grimes" userId="b58058b7-2ab8-4142-95e7-f7e306e81118" providerId="ADAL" clId="{7CE5461B-B108-456F-827A-374D3DF7E3CB}" dt="2017-12-15T23:33:31.251" v="3184" actId="478"/>
          <ac:grpSpMkLst>
            <pc:docMk/>
            <pc:sldMk cId="700704894" sldId="1465"/>
            <ac:grpSpMk id="132" creationId="{BAD363AF-C70C-4FCE-A1BE-6BAE2A905EE7}"/>
          </ac:grpSpMkLst>
        </pc:grpChg>
        <pc:grpChg chg="add del">
          <ac:chgData name="Mark Grimes" userId="b58058b7-2ab8-4142-95e7-f7e306e81118" providerId="ADAL" clId="{7CE5461B-B108-456F-827A-374D3DF7E3CB}" dt="2017-12-15T23:33:31.251" v="3184" actId="478"/>
          <ac:grpSpMkLst>
            <pc:docMk/>
            <pc:sldMk cId="700704894" sldId="1465"/>
            <ac:grpSpMk id="136" creationId="{EE311B91-1412-4234-92B7-448751E24407}"/>
          </ac:grpSpMkLst>
        </pc:grpChg>
        <pc:grpChg chg="add">
          <ac:chgData name="Mark Grimes" userId="b58058b7-2ab8-4142-95e7-f7e306e81118" providerId="ADAL" clId="{7CE5461B-B108-456F-827A-374D3DF7E3CB}" dt="2017-12-15T23:33:34.716" v="3185" actId="478"/>
          <ac:grpSpMkLst>
            <pc:docMk/>
            <pc:sldMk cId="700704894" sldId="1465"/>
            <ac:grpSpMk id="152" creationId="{31DC2E08-3182-4B43-907E-DD57C63103EB}"/>
          </ac:grpSpMkLst>
        </pc:grpChg>
        <pc:grpChg chg="add">
          <ac:chgData name="Mark Grimes" userId="b58058b7-2ab8-4142-95e7-f7e306e81118" providerId="ADAL" clId="{7CE5461B-B108-456F-827A-374D3DF7E3CB}" dt="2017-12-15T23:33:34.716" v="3185" actId="478"/>
          <ac:grpSpMkLst>
            <pc:docMk/>
            <pc:sldMk cId="700704894" sldId="1465"/>
            <ac:grpSpMk id="170" creationId="{BDB92A8B-4FC4-44BC-AD81-F32D671DA264}"/>
          </ac:grpSpMkLst>
        </pc:grpChg>
        <pc:grpChg chg="add">
          <ac:chgData name="Mark Grimes" userId="b58058b7-2ab8-4142-95e7-f7e306e81118" providerId="ADAL" clId="{7CE5461B-B108-456F-827A-374D3DF7E3CB}" dt="2017-12-15T23:33:34.716" v="3185" actId="478"/>
          <ac:grpSpMkLst>
            <pc:docMk/>
            <pc:sldMk cId="700704894" sldId="1465"/>
            <ac:grpSpMk id="176" creationId="{8D9F9865-C15E-4FDD-842B-82A77D173BB2}"/>
          </ac:grpSpMkLst>
        </pc:grpChg>
        <pc:grpChg chg="add">
          <ac:chgData name="Mark Grimes" userId="b58058b7-2ab8-4142-95e7-f7e306e81118" providerId="ADAL" clId="{7CE5461B-B108-456F-827A-374D3DF7E3CB}" dt="2017-12-15T23:33:34.716" v="3185" actId="478"/>
          <ac:grpSpMkLst>
            <pc:docMk/>
            <pc:sldMk cId="700704894" sldId="1465"/>
            <ac:grpSpMk id="179" creationId="{DB421B00-BA8B-49E7-A1BD-EE4915718555}"/>
          </ac:grpSpMkLst>
        </pc:grpChg>
        <pc:grpChg chg="add">
          <ac:chgData name="Mark Grimes" userId="b58058b7-2ab8-4142-95e7-f7e306e81118" providerId="ADAL" clId="{7CE5461B-B108-456F-827A-374D3DF7E3CB}" dt="2017-12-15T23:33:34.716" v="3185" actId="478"/>
          <ac:grpSpMkLst>
            <pc:docMk/>
            <pc:sldMk cId="700704894" sldId="1465"/>
            <ac:grpSpMk id="193" creationId="{1B77198F-5617-4B97-8224-0B9C847368F3}"/>
          </ac:grpSpMkLst>
        </pc:grpChg>
        <pc:grpChg chg="add">
          <ac:chgData name="Mark Grimes" userId="b58058b7-2ab8-4142-95e7-f7e306e81118" providerId="ADAL" clId="{7CE5461B-B108-456F-827A-374D3DF7E3CB}" dt="2017-12-15T23:33:34.716" v="3185" actId="478"/>
          <ac:grpSpMkLst>
            <pc:docMk/>
            <pc:sldMk cId="700704894" sldId="1465"/>
            <ac:grpSpMk id="198" creationId="{F81614A0-444F-43AF-AC29-CAFB160CE7F6}"/>
          </ac:grpSpMkLst>
        </pc:grpChg>
        <pc:grpChg chg="add">
          <ac:chgData name="Mark Grimes" userId="b58058b7-2ab8-4142-95e7-f7e306e81118" providerId="ADAL" clId="{7CE5461B-B108-456F-827A-374D3DF7E3CB}" dt="2017-12-15T23:33:34.716" v="3185" actId="478"/>
          <ac:grpSpMkLst>
            <pc:docMk/>
            <pc:sldMk cId="700704894" sldId="1465"/>
            <ac:grpSpMk id="204" creationId="{5B092231-7C40-4770-9248-452F494674A7}"/>
          </ac:grpSpMkLst>
        </pc:grpChg>
        <pc:grpChg chg="add">
          <ac:chgData name="Mark Grimes" userId="b58058b7-2ab8-4142-95e7-f7e306e81118" providerId="ADAL" clId="{7CE5461B-B108-456F-827A-374D3DF7E3CB}" dt="2017-12-15T23:33:34.716" v="3185" actId="478"/>
          <ac:grpSpMkLst>
            <pc:docMk/>
            <pc:sldMk cId="700704894" sldId="1465"/>
            <ac:grpSpMk id="208" creationId="{6E59A301-3374-4907-A515-84964AE617E2}"/>
          </ac:grpSpMkLst>
        </pc:grpChg>
        <pc:grpChg chg="add">
          <ac:chgData name="Mark Grimes" userId="b58058b7-2ab8-4142-95e7-f7e306e81118" providerId="ADAL" clId="{7CE5461B-B108-456F-827A-374D3DF7E3CB}" dt="2017-12-15T23:33:34.716" v="3185" actId="478"/>
          <ac:grpSpMkLst>
            <pc:docMk/>
            <pc:sldMk cId="700704894" sldId="1465"/>
            <ac:grpSpMk id="211" creationId="{8555F7AF-09CF-4DA7-814D-6CB4D4CC04BA}"/>
          </ac:grpSpMkLst>
        </pc:grpChg>
        <pc:grpChg chg="add">
          <ac:chgData name="Mark Grimes" userId="b58058b7-2ab8-4142-95e7-f7e306e81118" providerId="ADAL" clId="{7CE5461B-B108-456F-827A-374D3DF7E3CB}" dt="2017-12-15T23:33:34.716" v="3185" actId="478"/>
          <ac:grpSpMkLst>
            <pc:docMk/>
            <pc:sldMk cId="700704894" sldId="1465"/>
            <ac:grpSpMk id="215" creationId="{FF67FDCE-F2C2-42A2-BE76-4ED6B21DDDAA}"/>
          </ac:grpSpMkLst>
        </pc:grpChg>
        <pc:grpChg chg="add">
          <ac:chgData name="Mark Grimes" userId="b58058b7-2ab8-4142-95e7-f7e306e81118" providerId="ADAL" clId="{7CE5461B-B108-456F-827A-374D3DF7E3CB}" dt="2017-12-15T23:33:34.716" v="3185" actId="478"/>
          <ac:grpSpMkLst>
            <pc:docMk/>
            <pc:sldMk cId="700704894" sldId="1465"/>
            <ac:grpSpMk id="222" creationId="{C77FCD93-E13E-4A45-8B0E-2BA9A3434C27}"/>
          </ac:grpSpMkLst>
        </pc:grpChg>
        <pc:grpChg chg="add">
          <ac:chgData name="Mark Grimes" userId="b58058b7-2ab8-4142-95e7-f7e306e81118" providerId="ADAL" clId="{7CE5461B-B108-456F-827A-374D3DF7E3CB}" dt="2017-12-15T23:33:34.716" v="3185" actId="478"/>
          <ac:grpSpMkLst>
            <pc:docMk/>
            <pc:sldMk cId="700704894" sldId="1465"/>
            <ac:grpSpMk id="227" creationId="{5EF48647-BFED-47E3-AF7E-DD737619821C}"/>
          </ac:grpSpMkLst>
        </pc:grpChg>
        <pc:grpChg chg="add">
          <ac:chgData name="Mark Grimes" userId="b58058b7-2ab8-4142-95e7-f7e306e81118" providerId="ADAL" clId="{7CE5461B-B108-456F-827A-374D3DF7E3CB}" dt="2017-12-15T23:33:34.716" v="3185" actId="478"/>
          <ac:grpSpMkLst>
            <pc:docMk/>
            <pc:sldMk cId="700704894" sldId="1465"/>
            <ac:grpSpMk id="249" creationId="{0EF5F3A2-2968-4F2E-92B6-0A2A715FC86C}"/>
          </ac:grpSpMkLst>
        </pc:grpChg>
        <pc:grpChg chg="add">
          <ac:chgData name="Mark Grimes" userId="b58058b7-2ab8-4142-95e7-f7e306e81118" providerId="ADAL" clId="{7CE5461B-B108-456F-827A-374D3DF7E3CB}" dt="2017-12-15T23:33:34.716" v="3185" actId="478"/>
          <ac:grpSpMkLst>
            <pc:docMk/>
            <pc:sldMk cId="700704894" sldId="1465"/>
            <ac:grpSpMk id="253" creationId="{D488E60C-2C33-4644-90DA-DCD31BBE1A97}"/>
          </ac:grpSpMkLst>
        </pc:grpChg>
        <pc:graphicFrameChg chg="del">
          <ac:chgData name="Mark Grimes" userId="b58058b7-2ab8-4142-95e7-f7e306e81118" providerId="ADAL" clId="{7CE5461B-B108-456F-827A-374D3DF7E3CB}" dt="2017-12-15T23:33:24.748" v="3181" actId="478"/>
          <ac:graphicFrameMkLst>
            <pc:docMk/>
            <pc:sldMk cId="700704894" sldId="1465"/>
            <ac:graphicFrameMk id="9" creationId="{00000000-0000-0000-0000-000000000000}"/>
          </ac:graphicFrameMkLst>
        </pc:graphicFrameChg>
        <pc:graphicFrameChg chg="del">
          <ac:chgData name="Mark Grimes" userId="b58058b7-2ab8-4142-95e7-f7e306e81118" providerId="ADAL" clId="{7CE5461B-B108-456F-827A-374D3DF7E3CB}" dt="2017-12-15T23:33:24.748" v="3181" actId="478"/>
          <ac:graphicFrameMkLst>
            <pc:docMk/>
            <pc:sldMk cId="700704894" sldId="1465"/>
            <ac:graphicFrameMk id="18" creationId="{00000000-0000-0000-0000-000000000000}"/>
          </ac:graphicFrameMkLst>
        </pc:graphicFrameChg>
        <pc:picChg chg="del">
          <ac:chgData name="Mark Grimes" userId="b58058b7-2ab8-4142-95e7-f7e306e81118" providerId="ADAL" clId="{7CE5461B-B108-456F-827A-374D3DF7E3CB}" dt="2017-12-15T23:33:24.748" v="3181" actId="478"/>
          <ac:picMkLst>
            <pc:docMk/>
            <pc:sldMk cId="700704894" sldId="1465"/>
            <ac:picMk id="6" creationId="{00000000-0000-0000-0000-000000000000}"/>
          </ac:picMkLst>
        </pc:picChg>
        <pc:picChg chg="del">
          <ac:chgData name="Mark Grimes" userId="b58058b7-2ab8-4142-95e7-f7e306e81118" providerId="ADAL" clId="{7CE5461B-B108-456F-827A-374D3DF7E3CB}" dt="2017-12-15T23:33:24.748" v="3181" actId="478"/>
          <ac:picMkLst>
            <pc:docMk/>
            <pc:sldMk cId="700704894" sldId="1465"/>
            <ac:picMk id="7" creationId="{00000000-0000-0000-0000-000000000000}"/>
          </ac:picMkLst>
        </pc:picChg>
        <pc:picChg chg="del">
          <ac:chgData name="Mark Grimes" userId="b58058b7-2ab8-4142-95e7-f7e306e81118" providerId="ADAL" clId="{7CE5461B-B108-456F-827A-374D3DF7E3CB}" dt="2017-12-15T23:33:24.748" v="3181" actId="478"/>
          <ac:picMkLst>
            <pc:docMk/>
            <pc:sldMk cId="700704894" sldId="1465"/>
            <ac:picMk id="10" creationId="{00000000-0000-0000-0000-000000000000}"/>
          </ac:picMkLst>
        </pc:picChg>
        <pc:cxnChg chg="add del">
          <ac:chgData name="Mark Grimes" userId="b58058b7-2ab8-4142-95e7-f7e306e81118" providerId="ADAL" clId="{7CE5461B-B108-456F-827A-374D3DF7E3CB}" dt="2017-12-15T23:33:31.251" v="3184" actId="478"/>
          <ac:cxnSpMkLst>
            <pc:docMk/>
            <pc:sldMk cId="700704894" sldId="1465"/>
            <ac:cxnSpMk id="32" creationId="{C33026CE-2386-41DE-A53B-1969AF8F9C92}"/>
          </ac:cxnSpMkLst>
        </pc:cxnChg>
        <pc:cxnChg chg="add del">
          <ac:chgData name="Mark Grimes" userId="b58058b7-2ab8-4142-95e7-f7e306e81118" providerId="ADAL" clId="{7CE5461B-B108-456F-827A-374D3DF7E3CB}" dt="2017-12-15T23:33:31.251" v="3184" actId="478"/>
          <ac:cxnSpMkLst>
            <pc:docMk/>
            <pc:sldMk cId="700704894" sldId="1465"/>
            <ac:cxnSpMk id="66" creationId="{59BEED63-C3DA-4B17-BD21-55E0F809717F}"/>
          </ac:cxnSpMkLst>
        </pc:cxnChg>
        <pc:cxnChg chg="add del">
          <ac:chgData name="Mark Grimes" userId="b58058b7-2ab8-4142-95e7-f7e306e81118" providerId="ADAL" clId="{7CE5461B-B108-456F-827A-374D3DF7E3CB}" dt="2017-12-15T23:33:31.251" v="3184" actId="478"/>
          <ac:cxnSpMkLst>
            <pc:docMk/>
            <pc:sldMk cId="700704894" sldId="1465"/>
            <ac:cxnSpMk id="67" creationId="{E06B8756-5A73-464A-8F3A-B581C5B1983F}"/>
          </ac:cxnSpMkLst>
        </pc:cxnChg>
        <pc:cxnChg chg="add del">
          <ac:chgData name="Mark Grimes" userId="b58058b7-2ab8-4142-95e7-f7e306e81118" providerId="ADAL" clId="{7CE5461B-B108-456F-827A-374D3DF7E3CB}" dt="2017-12-15T23:33:31.251" v="3184" actId="478"/>
          <ac:cxnSpMkLst>
            <pc:docMk/>
            <pc:sldMk cId="700704894" sldId="1465"/>
            <ac:cxnSpMk id="71" creationId="{EE7FF1E9-5F61-4191-8D04-CBF8DAF78426}"/>
          </ac:cxnSpMkLst>
        </pc:cxnChg>
        <pc:cxnChg chg="add del">
          <ac:chgData name="Mark Grimes" userId="b58058b7-2ab8-4142-95e7-f7e306e81118" providerId="ADAL" clId="{7CE5461B-B108-456F-827A-374D3DF7E3CB}" dt="2017-12-15T23:33:31.251" v="3184" actId="478"/>
          <ac:cxnSpMkLst>
            <pc:docMk/>
            <pc:sldMk cId="700704894" sldId="1465"/>
            <ac:cxnSpMk id="72" creationId="{D9B7D6A4-45CE-49D8-95A8-1E261720C240}"/>
          </ac:cxnSpMkLst>
        </pc:cxnChg>
        <pc:cxnChg chg="add del">
          <ac:chgData name="Mark Grimes" userId="b58058b7-2ab8-4142-95e7-f7e306e81118" providerId="ADAL" clId="{7CE5461B-B108-456F-827A-374D3DF7E3CB}" dt="2017-12-15T23:33:31.251" v="3184" actId="478"/>
          <ac:cxnSpMkLst>
            <pc:docMk/>
            <pc:sldMk cId="700704894" sldId="1465"/>
            <ac:cxnSpMk id="75" creationId="{2698C44B-531A-4A38-915D-F1A69E1F96F8}"/>
          </ac:cxnSpMkLst>
        </pc:cxnChg>
        <pc:cxnChg chg="add del">
          <ac:chgData name="Mark Grimes" userId="b58058b7-2ab8-4142-95e7-f7e306e81118" providerId="ADAL" clId="{7CE5461B-B108-456F-827A-374D3DF7E3CB}" dt="2017-12-15T23:33:31.251" v="3184" actId="478"/>
          <ac:cxnSpMkLst>
            <pc:docMk/>
            <pc:sldMk cId="700704894" sldId="1465"/>
            <ac:cxnSpMk id="86" creationId="{B5C03E35-B2DE-40BD-9B1A-528B0B1D52AD}"/>
          </ac:cxnSpMkLst>
        </pc:cxnChg>
        <pc:cxnChg chg="add del">
          <ac:chgData name="Mark Grimes" userId="b58058b7-2ab8-4142-95e7-f7e306e81118" providerId="ADAL" clId="{7CE5461B-B108-456F-827A-374D3DF7E3CB}" dt="2017-12-15T23:33:31.251" v="3184" actId="478"/>
          <ac:cxnSpMkLst>
            <pc:docMk/>
            <pc:sldMk cId="700704894" sldId="1465"/>
            <ac:cxnSpMk id="90" creationId="{4EA7E062-1342-43B1-8831-7A4D4F99F4F6}"/>
          </ac:cxnSpMkLst>
        </pc:cxnChg>
        <pc:cxnChg chg="add del">
          <ac:chgData name="Mark Grimes" userId="b58058b7-2ab8-4142-95e7-f7e306e81118" providerId="ADAL" clId="{7CE5461B-B108-456F-827A-374D3DF7E3CB}" dt="2017-12-15T23:33:31.251" v="3184" actId="478"/>
          <ac:cxnSpMkLst>
            <pc:docMk/>
            <pc:sldMk cId="700704894" sldId="1465"/>
            <ac:cxnSpMk id="97" creationId="{742E4C96-4A6E-4BCD-9A7B-F3D7FADCD61A}"/>
          </ac:cxnSpMkLst>
        </pc:cxnChg>
        <pc:cxnChg chg="add del">
          <ac:chgData name="Mark Grimes" userId="b58058b7-2ab8-4142-95e7-f7e306e81118" providerId="ADAL" clId="{7CE5461B-B108-456F-827A-374D3DF7E3CB}" dt="2017-12-15T23:33:31.251" v="3184" actId="478"/>
          <ac:cxnSpMkLst>
            <pc:docMk/>
            <pc:sldMk cId="700704894" sldId="1465"/>
            <ac:cxnSpMk id="135" creationId="{556CD3CD-F266-46D0-92E7-A362A1BD9631}"/>
          </ac:cxnSpMkLst>
        </pc:cxnChg>
        <pc:cxnChg chg="add del">
          <ac:chgData name="Mark Grimes" userId="b58058b7-2ab8-4142-95e7-f7e306e81118" providerId="ADAL" clId="{7CE5461B-B108-456F-827A-374D3DF7E3CB}" dt="2017-12-15T23:33:31.251" v="3184" actId="478"/>
          <ac:cxnSpMkLst>
            <pc:docMk/>
            <pc:sldMk cId="700704894" sldId="1465"/>
            <ac:cxnSpMk id="143" creationId="{2F784F10-44FA-47FC-97FD-F7DD0F7FDF25}"/>
          </ac:cxnSpMkLst>
        </pc:cxnChg>
        <pc:cxnChg chg="add">
          <ac:chgData name="Mark Grimes" userId="b58058b7-2ab8-4142-95e7-f7e306e81118" providerId="ADAL" clId="{7CE5461B-B108-456F-827A-374D3DF7E3CB}" dt="2017-12-15T23:33:34.716" v="3185" actId="478"/>
          <ac:cxnSpMkLst>
            <pc:docMk/>
            <pc:sldMk cId="700704894" sldId="1465"/>
            <ac:cxnSpMk id="149" creationId="{BD400F33-4672-4C00-9499-FF91E62B3962}"/>
          </ac:cxnSpMkLst>
        </pc:cxnChg>
        <pc:cxnChg chg="add">
          <ac:chgData name="Mark Grimes" userId="b58058b7-2ab8-4142-95e7-f7e306e81118" providerId="ADAL" clId="{7CE5461B-B108-456F-827A-374D3DF7E3CB}" dt="2017-12-15T23:33:34.716" v="3185" actId="478"/>
          <ac:cxnSpMkLst>
            <pc:docMk/>
            <pc:sldMk cId="700704894" sldId="1465"/>
            <ac:cxnSpMk id="183" creationId="{1EE9C6B4-2518-4C48-82BC-932CD454081B}"/>
          </ac:cxnSpMkLst>
        </pc:cxnChg>
        <pc:cxnChg chg="add">
          <ac:chgData name="Mark Grimes" userId="b58058b7-2ab8-4142-95e7-f7e306e81118" providerId="ADAL" clId="{7CE5461B-B108-456F-827A-374D3DF7E3CB}" dt="2017-12-15T23:33:34.716" v="3185" actId="478"/>
          <ac:cxnSpMkLst>
            <pc:docMk/>
            <pc:sldMk cId="700704894" sldId="1465"/>
            <ac:cxnSpMk id="184" creationId="{2E3284E3-5586-4A6F-B17A-02CF1826A5AF}"/>
          </ac:cxnSpMkLst>
        </pc:cxnChg>
        <pc:cxnChg chg="add">
          <ac:chgData name="Mark Grimes" userId="b58058b7-2ab8-4142-95e7-f7e306e81118" providerId="ADAL" clId="{7CE5461B-B108-456F-827A-374D3DF7E3CB}" dt="2017-12-15T23:33:34.716" v="3185" actId="478"/>
          <ac:cxnSpMkLst>
            <pc:docMk/>
            <pc:sldMk cId="700704894" sldId="1465"/>
            <ac:cxnSpMk id="188" creationId="{2C89BEAB-41C6-492D-8A5F-24E4518694EF}"/>
          </ac:cxnSpMkLst>
        </pc:cxnChg>
        <pc:cxnChg chg="add">
          <ac:chgData name="Mark Grimes" userId="b58058b7-2ab8-4142-95e7-f7e306e81118" providerId="ADAL" clId="{7CE5461B-B108-456F-827A-374D3DF7E3CB}" dt="2017-12-15T23:33:34.716" v="3185" actId="478"/>
          <ac:cxnSpMkLst>
            <pc:docMk/>
            <pc:sldMk cId="700704894" sldId="1465"/>
            <ac:cxnSpMk id="189" creationId="{903131B1-F804-4750-B37A-D520D2827BE8}"/>
          </ac:cxnSpMkLst>
        </pc:cxnChg>
        <pc:cxnChg chg="add">
          <ac:chgData name="Mark Grimes" userId="b58058b7-2ab8-4142-95e7-f7e306e81118" providerId="ADAL" clId="{7CE5461B-B108-456F-827A-374D3DF7E3CB}" dt="2017-12-15T23:33:34.716" v="3185" actId="478"/>
          <ac:cxnSpMkLst>
            <pc:docMk/>
            <pc:sldMk cId="700704894" sldId="1465"/>
            <ac:cxnSpMk id="192" creationId="{E99758A6-FF55-484C-AF5F-2D37BA1DE20E}"/>
          </ac:cxnSpMkLst>
        </pc:cxnChg>
        <pc:cxnChg chg="add">
          <ac:chgData name="Mark Grimes" userId="b58058b7-2ab8-4142-95e7-f7e306e81118" providerId="ADAL" clId="{7CE5461B-B108-456F-827A-374D3DF7E3CB}" dt="2017-12-15T23:33:34.716" v="3185" actId="478"/>
          <ac:cxnSpMkLst>
            <pc:docMk/>
            <pc:sldMk cId="700704894" sldId="1465"/>
            <ac:cxnSpMk id="203" creationId="{E4615AA7-4B05-4F59-AB35-040541EA8233}"/>
          </ac:cxnSpMkLst>
        </pc:cxnChg>
        <pc:cxnChg chg="add">
          <ac:chgData name="Mark Grimes" userId="b58058b7-2ab8-4142-95e7-f7e306e81118" providerId="ADAL" clId="{7CE5461B-B108-456F-827A-374D3DF7E3CB}" dt="2017-12-15T23:33:34.716" v="3185" actId="478"/>
          <ac:cxnSpMkLst>
            <pc:docMk/>
            <pc:sldMk cId="700704894" sldId="1465"/>
            <ac:cxnSpMk id="207" creationId="{FD40A814-3194-4E07-9F4F-4E59EDD431B3}"/>
          </ac:cxnSpMkLst>
        </pc:cxnChg>
        <pc:cxnChg chg="add">
          <ac:chgData name="Mark Grimes" userId="b58058b7-2ab8-4142-95e7-f7e306e81118" providerId="ADAL" clId="{7CE5461B-B108-456F-827A-374D3DF7E3CB}" dt="2017-12-15T23:33:34.716" v="3185" actId="478"/>
          <ac:cxnSpMkLst>
            <pc:docMk/>
            <pc:sldMk cId="700704894" sldId="1465"/>
            <ac:cxnSpMk id="214" creationId="{AB280D3D-C27C-405E-93F4-ED182098CF24}"/>
          </ac:cxnSpMkLst>
        </pc:cxnChg>
        <pc:cxnChg chg="add">
          <ac:chgData name="Mark Grimes" userId="b58058b7-2ab8-4142-95e7-f7e306e81118" providerId="ADAL" clId="{7CE5461B-B108-456F-827A-374D3DF7E3CB}" dt="2017-12-15T23:33:34.716" v="3185" actId="478"/>
          <ac:cxnSpMkLst>
            <pc:docMk/>
            <pc:sldMk cId="700704894" sldId="1465"/>
            <ac:cxnSpMk id="252" creationId="{B1253385-66E4-4571-8990-513B5AF2295E}"/>
          </ac:cxnSpMkLst>
        </pc:cxnChg>
        <pc:cxnChg chg="add">
          <ac:chgData name="Mark Grimes" userId="b58058b7-2ab8-4142-95e7-f7e306e81118" providerId="ADAL" clId="{7CE5461B-B108-456F-827A-374D3DF7E3CB}" dt="2017-12-15T23:33:34.716" v="3185" actId="478"/>
          <ac:cxnSpMkLst>
            <pc:docMk/>
            <pc:sldMk cId="700704894" sldId="1465"/>
            <ac:cxnSpMk id="260" creationId="{A7AB7A2A-E721-4C3B-A3F1-9C39F937DCA6}"/>
          </ac:cxnSpMkLst>
        </pc:cxnChg>
      </pc:sldChg>
      <pc:sldChg chg="del">
        <pc:chgData name="Mark Grimes" userId="b58058b7-2ab8-4142-95e7-f7e306e81118" providerId="ADAL" clId="{7CE5461B-B108-456F-827A-374D3DF7E3CB}" dt="2017-12-18T19:27:23.785" v="9187" actId="2696"/>
        <pc:sldMkLst>
          <pc:docMk/>
          <pc:sldMk cId="2975798227" sldId="1472"/>
        </pc:sldMkLst>
      </pc:sldChg>
      <pc:sldChg chg="del ord">
        <pc:chgData name="Mark Grimes" userId="b58058b7-2ab8-4142-95e7-f7e306e81118" providerId="ADAL" clId="{7CE5461B-B108-456F-827A-374D3DF7E3CB}" dt="2017-12-19T13:40:50.708" v="9280" actId="2696"/>
        <pc:sldMkLst>
          <pc:docMk/>
          <pc:sldMk cId="4255165357" sldId="1475"/>
        </pc:sldMkLst>
      </pc:sldChg>
      <pc:sldChg chg="addSp delSp modSp delAnim">
        <pc:chgData name="Mark Grimes" userId="b58058b7-2ab8-4142-95e7-f7e306e81118" providerId="ADAL" clId="{7CE5461B-B108-456F-827A-374D3DF7E3CB}" dt="2017-12-18T17:18:06.220" v="8393" actId="20577"/>
        <pc:sldMkLst>
          <pc:docMk/>
          <pc:sldMk cId="1138598488" sldId="1477"/>
        </pc:sldMkLst>
        <pc:spChg chg="add mod">
          <ac:chgData name="Mark Grimes" userId="b58058b7-2ab8-4142-95e7-f7e306e81118" providerId="ADAL" clId="{7CE5461B-B108-456F-827A-374D3DF7E3CB}" dt="2017-12-18T17:18:06.220" v="8393" actId="20577"/>
          <ac:spMkLst>
            <pc:docMk/>
            <pc:sldMk cId="1138598488" sldId="1477"/>
            <ac:spMk id="2" creationId="{8A2E4A09-865D-40C0-87A9-BF10856DCB21}"/>
          </ac:spMkLst>
        </pc:spChg>
        <pc:spChg chg="del">
          <ac:chgData name="Mark Grimes" userId="b58058b7-2ab8-4142-95e7-f7e306e81118" providerId="ADAL" clId="{7CE5461B-B108-456F-827A-374D3DF7E3CB}" dt="2017-12-15T18:33:06.721" v="2396" actId="478"/>
          <ac:spMkLst>
            <pc:docMk/>
            <pc:sldMk cId="1138598488" sldId="1477"/>
            <ac:spMk id="2" creationId="{00000000-0000-0000-0000-000000000000}"/>
          </ac:spMkLst>
        </pc:spChg>
        <pc:spChg chg="del">
          <ac:chgData name="Mark Grimes" userId="b58058b7-2ab8-4142-95e7-f7e306e81118" providerId="ADAL" clId="{7CE5461B-B108-456F-827A-374D3DF7E3CB}" dt="2017-12-15T18:33:06.721" v="2396" actId="478"/>
          <ac:spMkLst>
            <pc:docMk/>
            <pc:sldMk cId="1138598488" sldId="1477"/>
            <ac:spMk id="7" creationId="{00000000-0000-0000-0000-000000000000}"/>
          </ac:spMkLst>
        </pc:spChg>
        <pc:spChg chg="add del mod">
          <ac:chgData name="Mark Grimes" userId="b58058b7-2ab8-4142-95e7-f7e306e81118" providerId="ADAL" clId="{7CE5461B-B108-456F-827A-374D3DF7E3CB}" dt="2017-12-15T18:33:08.017" v="2397" actId="478"/>
          <ac:spMkLst>
            <pc:docMk/>
            <pc:sldMk cId="1138598488" sldId="1477"/>
            <ac:spMk id="8" creationId="{E30E7F03-5EA6-47AB-8627-A4DA036F662A}"/>
          </ac:spMkLst>
        </pc:spChg>
        <pc:spChg chg="del">
          <ac:chgData name="Mark Grimes" userId="b58058b7-2ab8-4142-95e7-f7e306e81118" providerId="ADAL" clId="{7CE5461B-B108-456F-827A-374D3DF7E3CB}" dt="2017-12-15T18:33:06.721" v="2396" actId="478"/>
          <ac:spMkLst>
            <pc:docMk/>
            <pc:sldMk cId="1138598488" sldId="1477"/>
            <ac:spMk id="26" creationId="{00000000-0000-0000-0000-000000000000}"/>
          </ac:spMkLst>
        </pc:spChg>
        <pc:spChg chg="add">
          <ac:chgData name="Mark Grimes" userId="b58058b7-2ab8-4142-95e7-f7e306e81118" providerId="ADAL" clId="{7CE5461B-B108-456F-827A-374D3DF7E3CB}" dt="2017-12-15T18:33:11.289" v="2398" actId="27022"/>
          <ac:spMkLst>
            <pc:docMk/>
            <pc:sldMk cId="1138598488" sldId="1477"/>
            <ac:spMk id="30" creationId="{77A9C6B8-7DB8-45A6-A90C-6BCDB7CEE59A}"/>
          </ac:spMkLst>
        </pc:spChg>
        <pc:spChg chg="add">
          <ac:chgData name="Mark Grimes" userId="b58058b7-2ab8-4142-95e7-f7e306e81118" providerId="ADAL" clId="{7CE5461B-B108-456F-827A-374D3DF7E3CB}" dt="2017-12-15T18:33:11.289" v="2398" actId="27022"/>
          <ac:spMkLst>
            <pc:docMk/>
            <pc:sldMk cId="1138598488" sldId="1477"/>
            <ac:spMk id="31" creationId="{F39E5602-CBE9-4DB4-B49E-A836925F3C56}"/>
          </ac:spMkLst>
        </pc:spChg>
        <pc:spChg chg="add">
          <ac:chgData name="Mark Grimes" userId="b58058b7-2ab8-4142-95e7-f7e306e81118" providerId="ADAL" clId="{7CE5461B-B108-456F-827A-374D3DF7E3CB}" dt="2017-12-15T18:33:11.289" v="2398" actId="27022"/>
          <ac:spMkLst>
            <pc:docMk/>
            <pc:sldMk cId="1138598488" sldId="1477"/>
            <ac:spMk id="40" creationId="{B1177A03-2705-4E87-A627-B15967EEDCFB}"/>
          </ac:spMkLst>
        </pc:spChg>
        <pc:spChg chg="add">
          <ac:chgData name="Mark Grimes" userId="b58058b7-2ab8-4142-95e7-f7e306e81118" providerId="ADAL" clId="{7CE5461B-B108-456F-827A-374D3DF7E3CB}" dt="2017-12-15T18:33:11.289" v="2398" actId="27022"/>
          <ac:spMkLst>
            <pc:docMk/>
            <pc:sldMk cId="1138598488" sldId="1477"/>
            <ac:spMk id="41" creationId="{639E3B05-90F2-4F0B-957C-2C0CDE04627D}"/>
          </ac:spMkLst>
        </pc:spChg>
        <pc:spChg chg="add">
          <ac:chgData name="Mark Grimes" userId="b58058b7-2ab8-4142-95e7-f7e306e81118" providerId="ADAL" clId="{7CE5461B-B108-456F-827A-374D3DF7E3CB}" dt="2017-12-15T18:33:11.289" v="2398" actId="27022"/>
          <ac:spMkLst>
            <pc:docMk/>
            <pc:sldMk cId="1138598488" sldId="1477"/>
            <ac:spMk id="42" creationId="{6E2FB3FD-4998-4660-A9BB-A3BED16916FB}"/>
          </ac:spMkLst>
        </pc:spChg>
        <pc:spChg chg="add">
          <ac:chgData name="Mark Grimes" userId="b58058b7-2ab8-4142-95e7-f7e306e81118" providerId="ADAL" clId="{7CE5461B-B108-456F-827A-374D3DF7E3CB}" dt="2017-12-15T18:33:11.289" v="2398" actId="27022"/>
          <ac:spMkLst>
            <pc:docMk/>
            <pc:sldMk cId="1138598488" sldId="1477"/>
            <ac:spMk id="43" creationId="{6221BC59-591C-4152-AB27-303C263ED4F6}"/>
          </ac:spMkLst>
        </pc:spChg>
        <pc:spChg chg="add">
          <ac:chgData name="Mark Grimes" userId="b58058b7-2ab8-4142-95e7-f7e306e81118" providerId="ADAL" clId="{7CE5461B-B108-456F-827A-374D3DF7E3CB}" dt="2017-12-15T18:33:11.289" v="2398" actId="27022"/>
          <ac:spMkLst>
            <pc:docMk/>
            <pc:sldMk cId="1138598488" sldId="1477"/>
            <ac:spMk id="44" creationId="{96E1E3A1-857F-45E2-BEC6-C1835CA98955}"/>
          </ac:spMkLst>
        </pc:spChg>
        <pc:spChg chg="add">
          <ac:chgData name="Mark Grimes" userId="b58058b7-2ab8-4142-95e7-f7e306e81118" providerId="ADAL" clId="{7CE5461B-B108-456F-827A-374D3DF7E3CB}" dt="2017-12-15T18:33:11.289" v="2398" actId="27022"/>
          <ac:spMkLst>
            <pc:docMk/>
            <pc:sldMk cId="1138598488" sldId="1477"/>
            <ac:spMk id="45" creationId="{A66DF46E-384C-4380-B5F0-1025790DAB37}"/>
          </ac:spMkLst>
        </pc:spChg>
        <pc:spChg chg="add">
          <ac:chgData name="Mark Grimes" userId="b58058b7-2ab8-4142-95e7-f7e306e81118" providerId="ADAL" clId="{7CE5461B-B108-456F-827A-374D3DF7E3CB}" dt="2017-12-15T18:33:11.289" v="2398" actId="27022"/>
          <ac:spMkLst>
            <pc:docMk/>
            <pc:sldMk cId="1138598488" sldId="1477"/>
            <ac:spMk id="46" creationId="{A60B0719-ADC9-474E-9C85-6D9AA9FFA87F}"/>
          </ac:spMkLst>
        </pc:spChg>
        <pc:grpChg chg="del">
          <ac:chgData name="Mark Grimes" userId="b58058b7-2ab8-4142-95e7-f7e306e81118" providerId="ADAL" clId="{7CE5461B-B108-456F-827A-374D3DF7E3CB}" dt="2017-12-15T18:33:06.721" v="2396" actId="478"/>
          <ac:grpSpMkLst>
            <pc:docMk/>
            <pc:sldMk cId="1138598488" sldId="1477"/>
            <ac:grpSpMk id="3" creationId="{00000000-0000-0000-0000-000000000000}"/>
          </ac:grpSpMkLst>
        </pc:grpChg>
        <pc:grpChg chg="del">
          <ac:chgData name="Mark Grimes" userId="b58058b7-2ab8-4142-95e7-f7e306e81118" providerId="ADAL" clId="{7CE5461B-B108-456F-827A-374D3DF7E3CB}" dt="2017-12-15T18:33:06.721" v="2396" actId="478"/>
          <ac:grpSpMkLst>
            <pc:docMk/>
            <pc:sldMk cId="1138598488" sldId="1477"/>
            <ac:grpSpMk id="4" creationId="{00000000-0000-0000-0000-000000000000}"/>
          </ac:grpSpMkLst>
        </pc:grpChg>
        <pc:grpChg chg="del">
          <ac:chgData name="Mark Grimes" userId="b58058b7-2ab8-4142-95e7-f7e306e81118" providerId="ADAL" clId="{7CE5461B-B108-456F-827A-374D3DF7E3CB}" dt="2017-12-15T18:33:06.721" v="2396" actId="478"/>
          <ac:grpSpMkLst>
            <pc:docMk/>
            <pc:sldMk cId="1138598488" sldId="1477"/>
            <ac:grpSpMk id="5" creationId="{00000000-0000-0000-0000-000000000000}"/>
          </ac:grpSpMkLst>
        </pc:grpChg>
        <pc:grpChg chg="del">
          <ac:chgData name="Mark Grimes" userId="b58058b7-2ab8-4142-95e7-f7e306e81118" providerId="ADAL" clId="{7CE5461B-B108-456F-827A-374D3DF7E3CB}" dt="2017-12-15T18:33:06.721" v="2396" actId="478"/>
          <ac:grpSpMkLst>
            <pc:docMk/>
            <pc:sldMk cId="1138598488" sldId="1477"/>
            <ac:grpSpMk id="27" creationId="{00000000-0000-0000-0000-000000000000}"/>
          </ac:grpSpMkLst>
        </pc:grpChg>
        <pc:grpChg chg="del">
          <ac:chgData name="Mark Grimes" userId="b58058b7-2ab8-4142-95e7-f7e306e81118" providerId="ADAL" clId="{7CE5461B-B108-456F-827A-374D3DF7E3CB}" dt="2017-12-15T18:33:06.721" v="2396" actId="478"/>
          <ac:grpSpMkLst>
            <pc:docMk/>
            <pc:sldMk cId="1138598488" sldId="1477"/>
            <ac:grpSpMk id="36" creationId="{00000000-0000-0000-0000-000000000000}"/>
          </ac:grpSpMkLst>
        </pc:grpChg>
        <pc:grpChg chg="add">
          <ac:chgData name="Mark Grimes" userId="b58058b7-2ab8-4142-95e7-f7e306e81118" providerId="ADAL" clId="{7CE5461B-B108-456F-827A-374D3DF7E3CB}" dt="2017-12-15T18:33:11.289" v="2398" actId="27022"/>
          <ac:grpSpMkLst>
            <pc:docMk/>
            <pc:sldMk cId="1138598488" sldId="1477"/>
            <ac:grpSpMk id="47" creationId="{0AB8F120-9488-418C-83E4-925CB955F45F}"/>
          </ac:grpSpMkLst>
        </pc:grpChg>
        <pc:grpChg chg="add">
          <ac:chgData name="Mark Grimes" userId="b58058b7-2ab8-4142-95e7-f7e306e81118" providerId="ADAL" clId="{7CE5461B-B108-456F-827A-374D3DF7E3CB}" dt="2017-12-15T18:33:11.289" v="2398" actId="27022"/>
          <ac:grpSpMkLst>
            <pc:docMk/>
            <pc:sldMk cId="1138598488" sldId="1477"/>
            <ac:grpSpMk id="50" creationId="{A131F009-AF85-48A1-9E34-887B47433232}"/>
          </ac:grpSpMkLst>
        </pc:grpChg>
        <pc:grpChg chg="add">
          <ac:chgData name="Mark Grimes" userId="b58058b7-2ab8-4142-95e7-f7e306e81118" providerId="ADAL" clId="{7CE5461B-B108-456F-827A-374D3DF7E3CB}" dt="2017-12-15T18:33:11.289" v="2398" actId="27022"/>
          <ac:grpSpMkLst>
            <pc:docMk/>
            <pc:sldMk cId="1138598488" sldId="1477"/>
            <ac:grpSpMk id="53" creationId="{6474DC24-2572-4D66-B742-A737336B111E}"/>
          </ac:grpSpMkLst>
        </pc:grpChg>
        <pc:grpChg chg="add">
          <ac:chgData name="Mark Grimes" userId="b58058b7-2ab8-4142-95e7-f7e306e81118" providerId="ADAL" clId="{7CE5461B-B108-456F-827A-374D3DF7E3CB}" dt="2017-12-15T18:33:11.289" v="2398" actId="27022"/>
          <ac:grpSpMkLst>
            <pc:docMk/>
            <pc:sldMk cId="1138598488" sldId="1477"/>
            <ac:grpSpMk id="56" creationId="{9AD7D619-C631-448D-A690-422670EA9622}"/>
          </ac:grpSpMkLst>
        </pc:grpChg>
        <pc:grpChg chg="add">
          <ac:chgData name="Mark Grimes" userId="b58058b7-2ab8-4142-95e7-f7e306e81118" providerId="ADAL" clId="{7CE5461B-B108-456F-827A-374D3DF7E3CB}" dt="2017-12-15T18:33:11.289" v="2398" actId="27022"/>
          <ac:grpSpMkLst>
            <pc:docMk/>
            <pc:sldMk cId="1138598488" sldId="1477"/>
            <ac:grpSpMk id="59" creationId="{FE69A3E8-C907-447D-AACD-AF654A1C089B}"/>
          </ac:grpSpMkLst>
        </pc:grpChg>
        <pc:grpChg chg="add">
          <ac:chgData name="Mark Grimes" userId="b58058b7-2ab8-4142-95e7-f7e306e81118" providerId="ADAL" clId="{7CE5461B-B108-456F-827A-374D3DF7E3CB}" dt="2017-12-15T18:33:11.289" v="2398" actId="27022"/>
          <ac:grpSpMkLst>
            <pc:docMk/>
            <pc:sldMk cId="1138598488" sldId="1477"/>
            <ac:grpSpMk id="62" creationId="{1F8A44A5-3D5F-469A-A899-2E4AB5F80AA3}"/>
          </ac:grpSpMkLst>
        </pc:grpChg>
        <pc:grpChg chg="add">
          <ac:chgData name="Mark Grimes" userId="b58058b7-2ab8-4142-95e7-f7e306e81118" providerId="ADAL" clId="{7CE5461B-B108-456F-827A-374D3DF7E3CB}" dt="2017-12-15T18:33:11.289" v="2398" actId="27022"/>
          <ac:grpSpMkLst>
            <pc:docMk/>
            <pc:sldMk cId="1138598488" sldId="1477"/>
            <ac:grpSpMk id="65" creationId="{D94E886F-DA64-4B2F-B8A5-CD00507469F4}"/>
          </ac:grpSpMkLst>
        </pc:grpChg>
        <pc:grpChg chg="add">
          <ac:chgData name="Mark Grimes" userId="b58058b7-2ab8-4142-95e7-f7e306e81118" providerId="ADAL" clId="{7CE5461B-B108-456F-827A-374D3DF7E3CB}" dt="2017-12-15T18:33:11.289" v="2398" actId="27022"/>
          <ac:grpSpMkLst>
            <pc:docMk/>
            <pc:sldMk cId="1138598488" sldId="1477"/>
            <ac:grpSpMk id="68" creationId="{12990751-EE05-4765-B100-40227E38ABA4}"/>
          </ac:grpSpMkLst>
        </pc:grpChg>
        <pc:grpChg chg="add">
          <ac:chgData name="Mark Grimes" userId="b58058b7-2ab8-4142-95e7-f7e306e81118" providerId="ADAL" clId="{7CE5461B-B108-456F-827A-374D3DF7E3CB}" dt="2017-12-15T18:33:11.289" v="2398" actId="27022"/>
          <ac:grpSpMkLst>
            <pc:docMk/>
            <pc:sldMk cId="1138598488" sldId="1477"/>
            <ac:grpSpMk id="71" creationId="{71E30E2D-760D-4698-96A7-1ECA9DF1FE68}"/>
          </ac:grpSpMkLst>
        </pc:grpChg>
        <pc:grpChg chg="add">
          <ac:chgData name="Mark Grimes" userId="b58058b7-2ab8-4142-95e7-f7e306e81118" providerId="ADAL" clId="{7CE5461B-B108-456F-827A-374D3DF7E3CB}" dt="2017-12-15T18:33:11.289" v="2398" actId="27022"/>
          <ac:grpSpMkLst>
            <pc:docMk/>
            <pc:sldMk cId="1138598488" sldId="1477"/>
            <ac:grpSpMk id="74" creationId="{4EE9FC5C-2916-41ED-B281-C71E2FAF2933}"/>
          </ac:grpSpMkLst>
        </pc:grpChg>
        <pc:grpChg chg="add">
          <ac:chgData name="Mark Grimes" userId="b58058b7-2ab8-4142-95e7-f7e306e81118" providerId="ADAL" clId="{7CE5461B-B108-456F-827A-374D3DF7E3CB}" dt="2017-12-15T18:33:11.289" v="2398" actId="27022"/>
          <ac:grpSpMkLst>
            <pc:docMk/>
            <pc:sldMk cId="1138598488" sldId="1477"/>
            <ac:grpSpMk id="77" creationId="{4BE661D6-5DD3-4A4B-8F10-7AD8D8368CCE}"/>
          </ac:grpSpMkLst>
        </pc:grpChg>
        <pc:grpChg chg="add">
          <ac:chgData name="Mark Grimes" userId="b58058b7-2ab8-4142-95e7-f7e306e81118" providerId="ADAL" clId="{7CE5461B-B108-456F-827A-374D3DF7E3CB}" dt="2017-12-15T18:33:11.289" v="2398" actId="27022"/>
          <ac:grpSpMkLst>
            <pc:docMk/>
            <pc:sldMk cId="1138598488" sldId="1477"/>
            <ac:grpSpMk id="80" creationId="{F6A99AE5-DEB6-4129-8D98-EF97D7380045}"/>
          </ac:grpSpMkLst>
        </pc:grpChg>
        <pc:grpChg chg="add">
          <ac:chgData name="Mark Grimes" userId="b58058b7-2ab8-4142-95e7-f7e306e81118" providerId="ADAL" clId="{7CE5461B-B108-456F-827A-374D3DF7E3CB}" dt="2017-12-15T18:33:11.289" v="2398" actId="27022"/>
          <ac:grpSpMkLst>
            <pc:docMk/>
            <pc:sldMk cId="1138598488" sldId="1477"/>
            <ac:grpSpMk id="83" creationId="{56EFBF9A-1B4C-42A9-A0B7-516F0A2B8A88}"/>
          </ac:grpSpMkLst>
        </pc:grpChg>
        <pc:grpChg chg="add">
          <ac:chgData name="Mark Grimes" userId="b58058b7-2ab8-4142-95e7-f7e306e81118" providerId="ADAL" clId="{7CE5461B-B108-456F-827A-374D3DF7E3CB}" dt="2017-12-15T18:33:11.289" v="2398" actId="27022"/>
          <ac:grpSpMkLst>
            <pc:docMk/>
            <pc:sldMk cId="1138598488" sldId="1477"/>
            <ac:grpSpMk id="86" creationId="{15F78A31-93C9-4EAF-85FB-0B2C4AA9D4BF}"/>
          </ac:grpSpMkLst>
        </pc:grpChg>
        <pc:grpChg chg="add">
          <ac:chgData name="Mark Grimes" userId="b58058b7-2ab8-4142-95e7-f7e306e81118" providerId="ADAL" clId="{7CE5461B-B108-456F-827A-374D3DF7E3CB}" dt="2017-12-15T18:33:11.289" v="2398" actId="27022"/>
          <ac:grpSpMkLst>
            <pc:docMk/>
            <pc:sldMk cId="1138598488" sldId="1477"/>
            <ac:grpSpMk id="89" creationId="{80F3FF00-B0BE-4446-991F-F49680F4D199}"/>
          </ac:grpSpMkLst>
        </pc:grpChg>
        <pc:grpChg chg="add">
          <ac:chgData name="Mark Grimes" userId="b58058b7-2ab8-4142-95e7-f7e306e81118" providerId="ADAL" clId="{7CE5461B-B108-456F-827A-374D3DF7E3CB}" dt="2017-12-15T18:33:11.289" v="2398" actId="27022"/>
          <ac:grpSpMkLst>
            <pc:docMk/>
            <pc:sldMk cId="1138598488" sldId="1477"/>
            <ac:grpSpMk id="92" creationId="{678DB87C-06CD-41BC-B99F-AAC217668B82}"/>
          </ac:grpSpMkLst>
        </pc:grpChg>
        <pc:grpChg chg="add">
          <ac:chgData name="Mark Grimes" userId="b58058b7-2ab8-4142-95e7-f7e306e81118" providerId="ADAL" clId="{7CE5461B-B108-456F-827A-374D3DF7E3CB}" dt="2017-12-15T18:33:11.289" v="2398" actId="27022"/>
          <ac:grpSpMkLst>
            <pc:docMk/>
            <pc:sldMk cId="1138598488" sldId="1477"/>
            <ac:grpSpMk id="95" creationId="{EAAEF8CA-2BFF-44A5-8EE7-983C99197B25}"/>
          </ac:grpSpMkLst>
        </pc:grpChg>
        <pc:grpChg chg="add">
          <ac:chgData name="Mark Grimes" userId="b58058b7-2ab8-4142-95e7-f7e306e81118" providerId="ADAL" clId="{7CE5461B-B108-456F-827A-374D3DF7E3CB}" dt="2017-12-15T18:33:11.289" v="2398" actId="27022"/>
          <ac:grpSpMkLst>
            <pc:docMk/>
            <pc:sldMk cId="1138598488" sldId="1477"/>
            <ac:grpSpMk id="98" creationId="{E050C373-9869-4B48-976E-85A33F30C47F}"/>
          </ac:grpSpMkLst>
        </pc:grpChg>
        <pc:grpChg chg="add">
          <ac:chgData name="Mark Grimes" userId="b58058b7-2ab8-4142-95e7-f7e306e81118" providerId="ADAL" clId="{7CE5461B-B108-456F-827A-374D3DF7E3CB}" dt="2017-12-15T18:33:11.289" v="2398" actId="27022"/>
          <ac:grpSpMkLst>
            <pc:docMk/>
            <pc:sldMk cId="1138598488" sldId="1477"/>
            <ac:grpSpMk id="101" creationId="{9A2D5F33-8B95-48D3-99B2-0ADD009FD28C}"/>
          </ac:grpSpMkLst>
        </pc:grpChg>
        <pc:grpChg chg="add">
          <ac:chgData name="Mark Grimes" userId="b58058b7-2ab8-4142-95e7-f7e306e81118" providerId="ADAL" clId="{7CE5461B-B108-456F-827A-374D3DF7E3CB}" dt="2017-12-15T18:33:11.289" v="2398" actId="27022"/>
          <ac:grpSpMkLst>
            <pc:docMk/>
            <pc:sldMk cId="1138598488" sldId="1477"/>
            <ac:grpSpMk id="104" creationId="{00F72742-50DD-4FF1-BDE8-3D5100D8BAEF}"/>
          </ac:grpSpMkLst>
        </pc:grpChg>
        <pc:grpChg chg="add">
          <ac:chgData name="Mark Grimes" userId="b58058b7-2ab8-4142-95e7-f7e306e81118" providerId="ADAL" clId="{7CE5461B-B108-456F-827A-374D3DF7E3CB}" dt="2017-12-15T18:33:11.289" v="2398" actId="27022"/>
          <ac:grpSpMkLst>
            <pc:docMk/>
            <pc:sldMk cId="1138598488" sldId="1477"/>
            <ac:grpSpMk id="108" creationId="{025B36D5-FF6C-404C-83C5-8F4CD4E807B9}"/>
          </ac:grpSpMkLst>
        </pc:grpChg>
        <pc:grpChg chg="add">
          <ac:chgData name="Mark Grimes" userId="b58058b7-2ab8-4142-95e7-f7e306e81118" providerId="ADAL" clId="{7CE5461B-B108-456F-827A-374D3DF7E3CB}" dt="2017-12-15T18:33:11.289" v="2398" actId="27022"/>
          <ac:grpSpMkLst>
            <pc:docMk/>
            <pc:sldMk cId="1138598488" sldId="1477"/>
            <ac:grpSpMk id="118" creationId="{EB4BB85D-B45E-4C9E-BD99-5AE99490DA74}"/>
          </ac:grpSpMkLst>
        </pc:grpChg>
        <pc:grpChg chg="add">
          <ac:chgData name="Mark Grimes" userId="b58058b7-2ab8-4142-95e7-f7e306e81118" providerId="ADAL" clId="{7CE5461B-B108-456F-827A-374D3DF7E3CB}" dt="2017-12-15T18:33:11.289" v="2398" actId="27022"/>
          <ac:grpSpMkLst>
            <pc:docMk/>
            <pc:sldMk cId="1138598488" sldId="1477"/>
            <ac:grpSpMk id="127" creationId="{9EF81268-2288-4DDD-8CF9-B4C702C4614A}"/>
          </ac:grpSpMkLst>
        </pc:grpChg>
        <pc:grpChg chg="add">
          <ac:chgData name="Mark Grimes" userId="b58058b7-2ab8-4142-95e7-f7e306e81118" providerId="ADAL" clId="{7CE5461B-B108-456F-827A-374D3DF7E3CB}" dt="2017-12-15T18:33:11.289" v="2398" actId="27022"/>
          <ac:grpSpMkLst>
            <pc:docMk/>
            <pc:sldMk cId="1138598488" sldId="1477"/>
            <ac:grpSpMk id="130" creationId="{215AE62B-2716-46D9-8E99-E8B3F2DCA9D9}"/>
          </ac:grpSpMkLst>
        </pc:grpChg>
        <pc:cxnChg chg="del">
          <ac:chgData name="Mark Grimes" userId="b58058b7-2ab8-4142-95e7-f7e306e81118" providerId="ADAL" clId="{7CE5461B-B108-456F-827A-374D3DF7E3CB}" dt="2017-12-15T18:33:06.721" v="2396" actId="478"/>
          <ac:cxnSpMkLst>
            <pc:docMk/>
            <pc:sldMk cId="1138598488" sldId="1477"/>
            <ac:cxnSpMk id="10" creationId="{00000000-0000-0000-0000-000000000000}"/>
          </ac:cxnSpMkLst>
        </pc:cxnChg>
      </pc:sldChg>
      <pc:sldChg chg="addSp delSp modSp setBg">
        <pc:chgData name="Mark Grimes" userId="b58058b7-2ab8-4142-95e7-f7e306e81118" providerId="ADAL" clId="{7CE5461B-B108-456F-827A-374D3DF7E3CB}" dt="2017-12-18T19:41:53.965" v="9277" actId="20577"/>
        <pc:sldMkLst>
          <pc:docMk/>
          <pc:sldMk cId="3278129265" sldId="1501"/>
        </pc:sldMkLst>
        <pc:spChg chg="mod">
          <ac:chgData name="Mark Grimes" userId="b58058b7-2ab8-4142-95e7-f7e306e81118" providerId="ADAL" clId="{7CE5461B-B108-456F-827A-374D3DF7E3CB}" dt="2017-12-18T19:41:29.565" v="9274" actId="1035"/>
          <ac:spMkLst>
            <pc:docMk/>
            <pc:sldMk cId="3278129265" sldId="1501"/>
            <ac:spMk id="2" creationId="{00000000-0000-0000-0000-000000000000}"/>
          </ac:spMkLst>
        </pc:spChg>
        <pc:spChg chg="add del mod">
          <ac:chgData name="Mark Grimes" userId="b58058b7-2ab8-4142-95e7-f7e306e81118" providerId="ADAL" clId="{7CE5461B-B108-456F-827A-374D3DF7E3CB}" dt="2017-12-18T19:40:48.506" v="9258" actId="478"/>
          <ac:spMkLst>
            <pc:docMk/>
            <pc:sldMk cId="3278129265" sldId="1501"/>
            <ac:spMk id="5" creationId="{63FF0BDC-2012-41CC-A66E-009FDA2338AF}"/>
          </ac:spMkLst>
        </pc:spChg>
        <pc:picChg chg="add mod">
          <ac:chgData name="Mark Grimes" userId="b58058b7-2ab8-4142-95e7-f7e306e81118" providerId="ADAL" clId="{7CE5461B-B108-456F-827A-374D3DF7E3CB}" dt="2017-12-18T19:41:38.736" v="9276" actId="14100"/>
          <ac:picMkLst>
            <pc:docMk/>
            <pc:sldMk cId="3278129265" sldId="1501"/>
            <ac:picMk id="4" creationId="{0869FD46-F3A0-4D9C-AC48-515257E40DBC}"/>
          </ac:picMkLst>
        </pc:picChg>
      </pc:sldChg>
      <pc:sldChg chg="modSp">
        <pc:chgData name="Mark Grimes" userId="b58058b7-2ab8-4142-95e7-f7e306e81118" providerId="ADAL" clId="{7CE5461B-B108-456F-827A-374D3DF7E3CB}" dt="2017-12-15T16:08:56.815" v="367" actId="20577"/>
        <pc:sldMkLst>
          <pc:docMk/>
          <pc:sldMk cId="3887945797" sldId="1503"/>
        </pc:sldMkLst>
        <pc:spChg chg="mod">
          <ac:chgData name="Mark Grimes" userId="b58058b7-2ab8-4142-95e7-f7e306e81118" providerId="ADAL" clId="{7CE5461B-B108-456F-827A-374D3DF7E3CB}" dt="2017-12-15T16:08:56.815" v="367" actId="20577"/>
          <ac:spMkLst>
            <pc:docMk/>
            <pc:sldMk cId="3887945797" sldId="1503"/>
            <ac:spMk id="6" creationId="{00000000-0000-0000-0000-000000000000}"/>
          </ac:spMkLst>
        </pc:spChg>
      </pc:sldChg>
      <pc:sldChg chg="addSp delSp modSp modNotesTx">
        <pc:chgData name="Mark Grimes" userId="b58058b7-2ab8-4142-95e7-f7e306e81118" providerId="ADAL" clId="{7CE5461B-B108-456F-827A-374D3DF7E3CB}" dt="2017-12-18T14:02:13.645" v="5953" actId="20577"/>
        <pc:sldMkLst>
          <pc:docMk/>
          <pc:sldMk cId="2159253132" sldId="1507"/>
        </pc:sldMkLst>
        <pc:spChg chg="add del">
          <ac:chgData name="Mark Grimes" userId="b58058b7-2ab8-4142-95e7-f7e306e81118" providerId="ADAL" clId="{7CE5461B-B108-456F-827A-374D3DF7E3CB}" dt="2017-12-18T14:00:12.307" v="5843" actId="20577"/>
          <ac:spMkLst>
            <pc:docMk/>
            <pc:sldMk cId="2159253132" sldId="1507"/>
            <ac:spMk id="4" creationId="{9D72E4B6-C473-415E-8EFE-62FB5489B862}"/>
          </ac:spMkLst>
        </pc:spChg>
        <pc:picChg chg="add mod">
          <ac:chgData name="Mark Grimes" userId="b58058b7-2ab8-4142-95e7-f7e306e81118" providerId="ADAL" clId="{7CE5461B-B108-456F-827A-374D3DF7E3CB}" dt="2017-12-18T14:00:33" v="5847" actId="1076"/>
          <ac:picMkLst>
            <pc:docMk/>
            <pc:sldMk cId="2159253132" sldId="1507"/>
            <ac:picMk id="5" creationId="{CC437413-8529-4E60-A87F-515E2AB99726}"/>
          </ac:picMkLst>
        </pc:picChg>
        <pc:picChg chg="mod">
          <ac:chgData name="Mark Grimes" userId="b58058b7-2ab8-4142-95e7-f7e306e81118" providerId="ADAL" clId="{7CE5461B-B108-456F-827A-374D3DF7E3CB}" dt="2017-12-18T13:58:10.698" v="5836" actId="1076"/>
          <ac:picMkLst>
            <pc:docMk/>
            <pc:sldMk cId="2159253132" sldId="1507"/>
            <ac:picMk id="8" creationId="{EA8EFCEC-B05C-490E-A6A2-EA023F67AF2A}"/>
          </ac:picMkLst>
        </pc:picChg>
        <pc:picChg chg="mod">
          <ac:chgData name="Mark Grimes" userId="b58058b7-2ab8-4142-95e7-f7e306e81118" providerId="ADAL" clId="{7CE5461B-B108-456F-827A-374D3DF7E3CB}" dt="2017-12-18T13:58:15.109" v="5837" actId="1076"/>
          <ac:picMkLst>
            <pc:docMk/>
            <pc:sldMk cId="2159253132" sldId="1507"/>
            <ac:picMk id="10" creationId="{4CFF04EF-A171-4CDF-9C6C-12EAF942E7EC}"/>
          </ac:picMkLst>
        </pc:picChg>
        <pc:picChg chg="del mod">
          <ac:chgData name="Mark Grimes" userId="b58058b7-2ab8-4142-95e7-f7e306e81118" providerId="ADAL" clId="{7CE5461B-B108-456F-827A-374D3DF7E3CB}" dt="2017-12-18T14:00:08.986" v="5841" actId="478"/>
          <ac:picMkLst>
            <pc:docMk/>
            <pc:sldMk cId="2159253132" sldId="1507"/>
            <ac:picMk id="12" creationId="{D57271FE-EE3F-4B52-8316-9AC85B11A083}"/>
          </ac:picMkLst>
        </pc:picChg>
      </pc:sldChg>
      <pc:sldChg chg="ord modNotesTx">
        <pc:chgData name="Mark Grimes" userId="b58058b7-2ab8-4142-95e7-f7e306e81118" providerId="ADAL" clId="{7CE5461B-B108-456F-827A-374D3DF7E3CB}" dt="2017-12-19T13:57:46.021" v="9498" actId="20577"/>
        <pc:sldMkLst>
          <pc:docMk/>
          <pc:sldMk cId="3944081469" sldId="1508"/>
        </pc:sldMkLst>
      </pc:sldChg>
      <pc:sldChg chg="modSp setBg">
        <pc:chgData name="Mark Grimes" userId="b58058b7-2ab8-4142-95e7-f7e306e81118" providerId="ADAL" clId="{7CE5461B-B108-456F-827A-374D3DF7E3CB}" dt="2017-12-18T19:06:40.021" v="8923" actId="20577"/>
        <pc:sldMkLst>
          <pc:docMk/>
          <pc:sldMk cId="1544334808" sldId="1509"/>
        </pc:sldMkLst>
        <pc:spChg chg="mod">
          <ac:chgData name="Mark Grimes" userId="b58058b7-2ab8-4142-95e7-f7e306e81118" providerId="ADAL" clId="{7CE5461B-B108-456F-827A-374D3DF7E3CB}" dt="2017-12-18T19:06:40.021" v="8923" actId="20577"/>
          <ac:spMkLst>
            <pc:docMk/>
            <pc:sldMk cId="1544334808" sldId="1509"/>
            <ac:spMk id="3" creationId="{00000000-0000-0000-0000-000000000000}"/>
          </ac:spMkLst>
        </pc:spChg>
      </pc:sldChg>
      <pc:sldChg chg="addSp modSp modNotesTx">
        <pc:chgData name="Mark Grimes" userId="b58058b7-2ab8-4142-95e7-f7e306e81118" providerId="ADAL" clId="{7CE5461B-B108-456F-827A-374D3DF7E3CB}" dt="2017-12-18T18:52:28.217" v="8838" actId="20577"/>
        <pc:sldMkLst>
          <pc:docMk/>
          <pc:sldMk cId="975048014" sldId="1511"/>
        </pc:sldMkLst>
        <pc:spChg chg="mod">
          <ac:chgData name="Mark Grimes" userId="b58058b7-2ab8-4142-95e7-f7e306e81118" providerId="ADAL" clId="{7CE5461B-B108-456F-827A-374D3DF7E3CB}" dt="2017-12-18T18:52:28.217" v="8838" actId="20577"/>
          <ac:spMkLst>
            <pc:docMk/>
            <pc:sldMk cId="975048014" sldId="1511"/>
            <ac:spMk id="2" creationId="{00000000-0000-0000-0000-000000000000}"/>
          </ac:spMkLst>
        </pc:spChg>
        <pc:spChg chg="mod">
          <ac:chgData name="Mark Grimes" userId="b58058b7-2ab8-4142-95e7-f7e306e81118" providerId="ADAL" clId="{7CE5461B-B108-456F-827A-374D3DF7E3CB}" dt="2017-12-15T19:15:56.178" v="2770" actId="20577"/>
          <ac:spMkLst>
            <pc:docMk/>
            <pc:sldMk cId="975048014" sldId="1511"/>
            <ac:spMk id="3" creationId="{00000000-0000-0000-0000-000000000000}"/>
          </ac:spMkLst>
        </pc:spChg>
        <pc:picChg chg="add mod">
          <ac:chgData name="Mark Grimes" userId="b58058b7-2ab8-4142-95e7-f7e306e81118" providerId="ADAL" clId="{7CE5461B-B108-456F-827A-374D3DF7E3CB}" dt="2017-12-15T18:14:05.046" v="2380" actId="1076"/>
          <ac:picMkLst>
            <pc:docMk/>
            <pc:sldMk cId="975048014" sldId="1511"/>
            <ac:picMk id="4" creationId="{A858E140-9936-408B-BF4B-F888E2BEF2B8}"/>
          </ac:picMkLst>
        </pc:picChg>
      </pc:sldChg>
      <pc:sldChg chg="addSp delSp modSp add ord setBg modNotesTx">
        <pc:chgData name="Mark Grimes" userId="b58058b7-2ab8-4142-95e7-f7e306e81118" providerId="ADAL" clId="{7CE5461B-B108-456F-827A-374D3DF7E3CB}" dt="2017-12-18T19:06:25.347" v="8921" actId="20577"/>
        <pc:sldMkLst>
          <pc:docMk/>
          <pc:sldMk cId="2302735858" sldId="1512"/>
        </pc:sldMkLst>
        <pc:spChg chg="mod">
          <ac:chgData name="Mark Grimes" userId="b58058b7-2ab8-4142-95e7-f7e306e81118" providerId="ADAL" clId="{7CE5461B-B108-456F-827A-374D3DF7E3CB}" dt="2017-12-15T16:19:56.497" v="1514" actId="20577"/>
          <ac:spMkLst>
            <pc:docMk/>
            <pc:sldMk cId="2302735858" sldId="1512"/>
            <ac:spMk id="2" creationId="{00000000-0000-0000-0000-000000000000}"/>
          </ac:spMkLst>
        </pc:spChg>
        <pc:spChg chg="mod">
          <ac:chgData name="Mark Grimes" userId="b58058b7-2ab8-4142-95e7-f7e306e81118" providerId="ADAL" clId="{7CE5461B-B108-456F-827A-374D3DF7E3CB}" dt="2017-12-18T19:06:25.347" v="8921" actId="20577"/>
          <ac:spMkLst>
            <pc:docMk/>
            <pc:sldMk cId="2302735858" sldId="1512"/>
            <ac:spMk id="3" creationId="{00000000-0000-0000-0000-000000000000}"/>
          </ac:spMkLst>
        </pc:spChg>
        <pc:spChg chg="del">
          <ac:chgData name="Mark Grimes" userId="b58058b7-2ab8-4142-95e7-f7e306e81118" providerId="ADAL" clId="{7CE5461B-B108-456F-827A-374D3DF7E3CB}" dt="2017-12-15T16:11:05.689" v="388" actId="478"/>
          <ac:spMkLst>
            <pc:docMk/>
            <pc:sldMk cId="2302735858" sldId="1512"/>
            <ac:spMk id="5" creationId="{4EFD52F5-E0BB-4D34-A06D-8933F1AE0C0A}"/>
          </ac:spMkLst>
        </pc:spChg>
        <pc:spChg chg="add del mod">
          <ac:chgData name="Mark Grimes" userId="b58058b7-2ab8-4142-95e7-f7e306e81118" providerId="ADAL" clId="{7CE5461B-B108-456F-827A-374D3DF7E3CB}" dt="2017-12-15T16:13:03.449" v="392" actId="478"/>
          <ac:spMkLst>
            <pc:docMk/>
            <pc:sldMk cId="2302735858" sldId="1512"/>
            <ac:spMk id="8" creationId="{16AD98F5-6B6D-48AF-9CC7-49F3F993F27E}"/>
          </ac:spMkLst>
        </pc:spChg>
        <pc:picChg chg="del">
          <ac:chgData name="Mark Grimes" userId="b58058b7-2ab8-4142-95e7-f7e306e81118" providerId="ADAL" clId="{7CE5461B-B108-456F-827A-374D3DF7E3CB}" dt="2017-12-15T16:11:02.570" v="387" actId="478"/>
          <ac:picMkLst>
            <pc:docMk/>
            <pc:sldMk cId="2302735858" sldId="1512"/>
            <ac:picMk id="4" creationId="{016B63B4-B497-47A9-B76A-07D832AE5D37}"/>
          </ac:picMkLst>
        </pc:picChg>
        <pc:picChg chg="add del">
          <ac:chgData name="Mark Grimes" userId="b58058b7-2ab8-4142-95e7-f7e306e81118" providerId="ADAL" clId="{7CE5461B-B108-456F-827A-374D3DF7E3CB}" dt="2017-12-15T16:12:57.981" v="391" actId="478"/>
          <ac:picMkLst>
            <pc:docMk/>
            <pc:sldMk cId="2302735858" sldId="1512"/>
            <ac:picMk id="7" creationId="{4D65990D-28AE-41D6-B61D-8686F03730B6}"/>
          </ac:picMkLst>
        </pc:picChg>
        <pc:picChg chg="add mod">
          <ac:chgData name="Mark Grimes" userId="b58058b7-2ab8-4142-95e7-f7e306e81118" providerId="ADAL" clId="{7CE5461B-B108-456F-827A-374D3DF7E3CB}" dt="2017-12-15T16:19:30.954" v="1478" actId="14100"/>
          <ac:picMkLst>
            <pc:docMk/>
            <pc:sldMk cId="2302735858" sldId="1512"/>
            <ac:picMk id="10" creationId="{CCA8E2F7-3409-4039-A113-95EDF3507992}"/>
          </ac:picMkLst>
        </pc:picChg>
      </pc:sldChg>
      <pc:sldChg chg="addSp delSp modSp add modAnim modNotesTx">
        <pc:chgData name="Mark Grimes" userId="b58058b7-2ab8-4142-95e7-f7e306e81118" providerId="ADAL" clId="{7CE5461B-B108-456F-827A-374D3DF7E3CB}" dt="2017-12-19T13:55:10.741" v="9407" actId="20577"/>
        <pc:sldMkLst>
          <pc:docMk/>
          <pc:sldMk cId="695528043" sldId="1513"/>
        </pc:sldMkLst>
        <pc:spChg chg="del">
          <ac:chgData name="Mark Grimes" userId="b58058b7-2ab8-4142-95e7-f7e306e81118" providerId="ADAL" clId="{7CE5461B-B108-456F-827A-374D3DF7E3CB}" dt="2017-12-15T18:29:28.703" v="2383" actId="478"/>
          <ac:spMkLst>
            <pc:docMk/>
            <pc:sldMk cId="695528043" sldId="1513"/>
            <ac:spMk id="3" creationId="{00000000-0000-0000-0000-000000000000}"/>
          </ac:spMkLst>
        </pc:spChg>
        <pc:spChg chg="add del mod">
          <ac:chgData name="Mark Grimes" userId="b58058b7-2ab8-4142-95e7-f7e306e81118" providerId="ADAL" clId="{7CE5461B-B108-456F-827A-374D3DF7E3CB}" dt="2017-12-15T18:29:34.573" v="2384" actId="478"/>
          <ac:spMkLst>
            <pc:docMk/>
            <pc:sldMk cId="695528043" sldId="1513"/>
            <ac:spMk id="4" creationId="{AC62F1B0-EE64-4857-B392-139D2C911BFE}"/>
          </ac:spMkLst>
        </pc:spChg>
        <pc:spChg chg="del">
          <ac:chgData name="Mark Grimes" userId="b58058b7-2ab8-4142-95e7-f7e306e81118" providerId="ADAL" clId="{7CE5461B-B108-456F-827A-374D3DF7E3CB}" dt="2017-12-15T18:28:50.947" v="2382" actId="478"/>
          <ac:spMkLst>
            <pc:docMk/>
            <pc:sldMk cId="695528043" sldId="1513"/>
            <ac:spMk id="6" creationId="{00000000-0000-0000-0000-000000000000}"/>
          </ac:spMkLst>
        </pc:spChg>
        <pc:spChg chg="del">
          <ac:chgData name="Mark Grimes" userId="b58058b7-2ab8-4142-95e7-f7e306e81118" providerId="ADAL" clId="{7CE5461B-B108-456F-827A-374D3DF7E3CB}" dt="2017-12-15T18:28:50.947" v="2382" actId="478"/>
          <ac:spMkLst>
            <pc:docMk/>
            <pc:sldMk cId="695528043" sldId="1513"/>
            <ac:spMk id="7" creationId="{00000000-0000-0000-0000-000000000000}"/>
          </ac:spMkLst>
        </pc:spChg>
        <pc:spChg chg="del">
          <ac:chgData name="Mark Grimes" userId="b58058b7-2ab8-4142-95e7-f7e306e81118" providerId="ADAL" clId="{7CE5461B-B108-456F-827A-374D3DF7E3CB}" dt="2017-12-15T18:28:50.947" v="2382" actId="478"/>
          <ac:spMkLst>
            <pc:docMk/>
            <pc:sldMk cId="695528043" sldId="1513"/>
            <ac:spMk id="8" creationId="{00000000-0000-0000-0000-000000000000}"/>
          </ac:spMkLst>
        </pc:spChg>
        <pc:spChg chg="del">
          <ac:chgData name="Mark Grimes" userId="b58058b7-2ab8-4142-95e7-f7e306e81118" providerId="ADAL" clId="{7CE5461B-B108-456F-827A-374D3DF7E3CB}" dt="2017-12-15T18:28:50.947" v="2382" actId="478"/>
          <ac:spMkLst>
            <pc:docMk/>
            <pc:sldMk cId="695528043" sldId="1513"/>
            <ac:spMk id="9" creationId="{00000000-0000-0000-0000-000000000000}"/>
          </ac:spMkLst>
        </pc:spChg>
        <pc:spChg chg="del">
          <ac:chgData name="Mark Grimes" userId="b58058b7-2ab8-4142-95e7-f7e306e81118" providerId="ADAL" clId="{7CE5461B-B108-456F-827A-374D3DF7E3CB}" dt="2017-12-15T18:28:50.947" v="2382" actId="478"/>
          <ac:spMkLst>
            <pc:docMk/>
            <pc:sldMk cId="695528043" sldId="1513"/>
            <ac:spMk id="11" creationId="{00000000-0000-0000-0000-000000000000}"/>
          </ac:spMkLst>
        </pc:spChg>
        <pc:spChg chg="del">
          <ac:chgData name="Mark Grimes" userId="b58058b7-2ab8-4142-95e7-f7e306e81118" providerId="ADAL" clId="{7CE5461B-B108-456F-827A-374D3DF7E3CB}" dt="2017-12-15T18:28:50.947" v="2382" actId="478"/>
          <ac:spMkLst>
            <pc:docMk/>
            <pc:sldMk cId="695528043" sldId="1513"/>
            <ac:spMk id="12" creationId="{00000000-0000-0000-0000-000000000000}"/>
          </ac:spMkLst>
        </pc:spChg>
        <pc:spChg chg="del">
          <ac:chgData name="Mark Grimes" userId="b58058b7-2ab8-4142-95e7-f7e306e81118" providerId="ADAL" clId="{7CE5461B-B108-456F-827A-374D3DF7E3CB}" dt="2017-12-15T18:28:50.947" v="2382" actId="478"/>
          <ac:spMkLst>
            <pc:docMk/>
            <pc:sldMk cId="695528043" sldId="1513"/>
            <ac:spMk id="13" creationId="{00000000-0000-0000-0000-000000000000}"/>
          </ac:spMkLst>
        </pc:spChg>
        <pc:spChg chg="add del">
          <ac:chgData name="Mark Grimes" userId="b58058b7-2ab8-4142-95e7-f7e306e81118" providerId="ADAL" clId="{7CE5461B-B108-456F-827A-374D3DF7E3CB}" dt="2017-12-15T18:29:55.386" v="2387" actId="6549"/>
          <ac:spMkLst>
            <pc:docMk/>
            <pc:sldMk cId="695528043" sldId="1513"/>
            <ac:spMk id="14" creationId="{25FF741C-AED4-4EEC-8D92-DF30F73D0C8F}"/>
          </ac:spMkLst>
        </pc:spChg>
        <pc:spChg chg="add del">
          <ac:chgData name="Mark Grimes" userId="b58058b7-2ab8-4142-95e7-f7e306e81118" providerId="ADAL" clId="{7CE5461B-B108-456F-827A-374D3DF7E3CB}" dt="2017-12-15T18:29:55.386" v="2387" actId="6549"/>
          <ac:spMkLst>
            <pc:docMk/>
            <pc:sldMk cId="695528043" sldId="1513"/>
            <ac:spMk id="15" creationId="{228CB065-3EDC-4E79-80E5-0FCC660F08DA}"/>
          </ac:spMkLst>
        </pc:spChg>
        <pc:spChg chg="add del">
          <ac:chgData name="Mark Grimes" userId="b58058b7-2ab8-4142-95e7-f7e306e81118" providerId="ADAL" clId="{7CE5461B-B108-456F-827A-374D3DF7E3CB}" dt="2017-12-15T18:29:55.386" v="2387" actId="6549"/>
          <ac:spMkLst>
            <pc:docMk/>
            <pc:sldMk cId="695528043" sldId="1513"/>
            <ac:spMk id="16" creationId="{ADF72723-D3DC-457C-8CA3-24C0BD13CBB4}"/>
          </ac:spMkLst>
        </pc:spChg>
        <pc:spChg chg="add del">
          <ac:chgData name="Mark Grimes" userId="b58058b7-2ab8-4142-95e7-f7e306e81118" providerId="ADAL" clId="{7CE5461B-B108-456F-827A-374D3DF7E3CB}" dt="2017-12-15T18:29:55.386" v="2387" actId="6549"/>
          <ac:spMkLst>
            <pc:docMk/>
            <pc:sldMk cId="695528043" sldId="1513"/>
            <ac:spMk id="18" creationId="{36058654-430A-48F4-A3CE-EDA955486AA1}"/>
          </ac:spMkLst>
        </pc:spChg>
        <pc:spChg chg="add del mod">
          <ac:chgData name="Mark Grimes" userId="b58058b7-2ab8-4142-95e7-f7e306e81118" providerId="ADAL" clId="{7CE5461B-B108-456F-827A-374D3DF7E3CB}" dt="2017-12-19T13:53:12.578" v="9353" actId="115"/>
          <ac:spMkLst>
            <pc:docMk/>
            <pc:sldMk cId="695528043" sldId="1513"/>
            <ac:spMk id="19" creationId="{CAD060A4-3DFB-4F67-B7D2-C2AD128C0783}"/>
          </ac:spMkLst>
        </pc:spChg>
        <pc:spChg chg="add del">
          <ac:chgData name="Mark Grimes" userId="b58058b7-2ab8-4142-95e7-f7e306e81118" providerId="ADAL" clId="{7CE5461B-B108-456F-827A-374D3DF7E3CB}" dt="2017-12-15T18:29:55.386" v="2387" actId="6549"/>
          <ac:spMkLst>
            <pc:docMk/>
            <pc:sldMk cId="695528043" sldId="1513"/>
            <ac:spMk id="38" creationId="{529F6574-60BE-4972-A702-FFBF870C92DB}"/>
          </ac:spMkLst>
        </pc:spChg>
        <pc:spChg chg="add del">
          <ac:chgData name="Mark Grimes" userId="b58058b7-2ab8-4142-95e7-f7e306e81118" providerId="ADAL" clId="{7CE5461B-B108-456F-827A-374D3DF7E3CB}" dt="2017-12-15T18:29:55.386" v="2387" actId="6549"/>
          <ac:spMkLst>
            <pc:docMk/>
            <pc:sldMk cId="695528043" sldId="1513"/>
            <ac:spMk id="43" creationId="{054B11D4-8D79-435D-B537-F69E92D139BC}"/>
          </ac:spMkLst>
        </pc:spChg>
        <pc:spChg chg="add del">
          <ac:chgData name="Mark Grimes" userId="b58058b7-2ab8-4142-95e7-f7e306e81118" providerId="ADAL" clId="{7CE5461B-B108-456F-827A-374D3DF7E3CB}" dt="2017-12-15T18:29:55.386" v="2387" actId="6549"/>
          <ac:spMkLst>
            <pc:docMk/>
            <pc:sldMk cId="695528043" sldId="1513"/>
            <ac:spMk id="44" creationId="{69BC65D4-06C5-43FD-BD06-66C871160617}"/>
          </ac:spMkLst>
        </pc:spChg>
        <pc:spChg chg="add del mod">
          <ac:chgData name="Mark Grimes" userId="b58058b7-2ab8-4142-95e7-f7e306e81118" providerId="ADAL" clId="{7CE5461B-B108-456F-827A-374D3DF7E3CB}" dt="2017-12-15T18:30:10.035" v="2390" actId="1038"/>
          <ac:spMkLst>
            <pc:docMk/>
            <pc:sldMk cId="695528043" sldId="1513"/>
            <ac:spMk id="45" creationId="{7D432539-1886-43C4-909F-90F34852EAD4}"/>
          </ac:spMkLst>
        </pc:spChg>
        <pc:spChg chg="del">
          <ac:chgData name="Mark Grimes" userId="b58058b7-2ab8-4142-95e7-f7e306e81118" providerId="ADAL" clId="{7CE5461B-B108-456F-827A-374D3DF7E3CB}" dt="2017-12-15T18:29:28.703" v="2383" actId="478"/>
          <ac:spMkLst>
            <pc:docMk/>
            <pc:sldMk cId="695528043" sldId="1513"/>
            <ac:spMk id="46" creationId="{00000000-0000-0000-0000-000000000000}"/>
          </ac:spMkLst>
        </pc:spChg>
        <pc:spChg chg="del">
          <ac:chgData name="Mark Grimes" userId="b58058b7-2ab8-4142-95e7-f7e306e81118" providerId="ADAL" clId="{7CE5461B-B108-456F-827A-374D3DF7E3CB}" dt="2017-12-15T18:28:50.947" v="2382" actId="478"/>
          <ac:spMkLst>
            <pc:docMk/>
            <pc:sldMk cId="695528043" sldId="1513"/>
            <ac:spMk id="47" creationId="{00000000-0000-0000-0000-000000000000}"/>
          </ac:spMkLst>
        </pc:spChg>
        <pc:spChg chg="add del">
          <ac:chgData name="Mark Grimes" userId="b58058b7-2ab8-4142-95e7-f7e306e81118" providerId="ADAL" clId="{7CE5461B-B108-456F-827A-374D3DF7E3CB}" dt="2017-12-15T18:29:55.386" v="2387" actId="6549"/>
          <ac:spMkLst>
            <pc:docMk/>
            <pc:sldMk cId="695528043" sldId="1513"/>
            <ac:spMk id="48" creationId="{5F554F58-6F2A-4471-B5C0-51A27EF12E01}"/>
          </ac:spMkLst>
        </pc:spChg>
        <pc:spChg chg="add del">
          <ac:chgData name="Mark Grimes" userId="b58058b7-2ab8-4142-95e7-f7e306e81118" providerId="ADAL" clId="{7CE5461B-B108-456F-827A-374D3DF7E3CB}" dt="2017-12-15T18:29:55.386" v="2387" actId="6549"/>
          <ac:spMkLst>
            <pc:docMk/>
            <pc:sldMk cId="695528043" sldId="1513"/>
            <ac:spMk id="49" creationId="{2E4241CE-C6A3-4C7E-8BD4-60D0686D1D69}"/>
          </ac:spMkLst>
        </pc:spChg>
        <pc:spChg chg="add del">
          <ac:chgData name="Mark Grimes" userId="b58058b7-2ab8-4142-95e7-f7e306e81118" providerId="ADAL" clId="{7CE5461B-B108-456F-827A-374D3DF7E3CB}" dt="2017-12-15T18:29:55.386" v="2387" actId="6549"/>
          <ac:spMkLst>
            <pc:docMk/>
            <pc:sldMk cId="695528043" sldId="1513"/>
            <ac:spMk id="50" creationId="{35816F0E-791C-4787-9524-1ABFDC309ED1}"/>
          </ac:spMkLst>
        </pc:spChg>
        <pc:spChg chg="add del">
          <ac:chgData name="Mark Grimes" userId="b58058b7-2ab8-4142-95e7-f7e306e81118" providerId="ADAL" clId="{7CE5461B-B108-456F-827A-374D3DF7E3CB}" dt="2017-12-15T18:29:55.386" v="2387" actId="6549"/>
          <ac:spMkLst>
            <pc:docMk/>
            <pc:sldMk cId="695528043" sldId="1513"/>
            <ac:spMk id="112" creationId="{D2335B70-F499-43C9-92EF-03F5905582CE}"/>
          </ac:spMkLst>
        </pc:spChg>
        <pc:spChg chg="add mod">
          <ac:chgData name="Mark Grimes" userId="b58058b7-2ab8-4142-95e7-f7e306e81118" providerId="ADAL" clId="{7CE5461B-B108-456F-827A-374D3DF7E3CB}" dt="2017-12-19T13:53:51.666" v="9404" actId="20577"/>
          <ac:spMkLst>
            <pc:docMk/>
            <pc:sldMk cId="695528043" sldId="1513"/>
            <ac:spMk id="116" creationId="{F004CD18-05A9-4F0E-9AE6-DC33C23AC6BB}"/>
          </ac:spMkLst>
        </pc:spChg>
        <pc:grpChg chg="add del">
          <ac:chgData name="Mark Grimes" userId="b58058b7-2ab8-4142-95e7-f7e306e81118" providerId="ADAL" clId="{7CE5461B-B108-456F-827A-374D3DF7E3CB}" dt="2017-12-15T18:29:55.386" v="2387" actId="6549"/>
          <ac:grpSpMkLst>
            <pc:docMk/>
            <pc:sldMk cId="695528043" sldId="1513"/>
            <ac:grpSpMk id="23" creationId="{01B125F1-8D63-46CA-BE1B-058A6D188E5A}"/>
          </ac:grpSpMkLst>
        </pc:grpChg>
        <pc:grpChg chg="add del">
          <ac:chgData name="Mark Grimes" userId="b58058b7-2ab8-4142-95e7-f7e306e81118" providerId="ADAL" clId="{7CE5461B-B108-456F-827A-374D3DF7E3CB}" dt="2017-12-15T18:29:55.386" v="2387" actId="6549"/>
          <ac:grpSpMkLst>
            <pc:docMk/>
            <pc:sldMk cId="695528043" sldId="1513"/>
            <ac:grpSpMk id="39" creationId="{DB211D6F-5F69-402A-B3E5-B2BCC48156DD}"/>
          </ac:grpSpMkLst>
        </pc:grpChg>
        <pc:grpChg chg="add del">
          <ac:chgData name="Mark Grimes" userId="b58058b7-2ab8-4142-95e7-f7e306e81118" providerId="ADAL" clId="{7CE5461B-B108-456F-827A-374D3DF7E3CB}" dt="2017-12-15T18:29:55.386" v="2387" actId="6549"/>
          <ac:grpSpMkLst>
            <pc:docMk/>
            <pc:sldMk cId="695528043" sldId="1513"/>
            <ac:grpSpMk id="51" creationId="{07352820-ED06-4763-B890-A9173435F2F9}"/>
          </ac:grpSpMkLst>
        </pc:grpChg>
        <pc:grpChg chg="add del">
          <ac:chgData name="Mark Grimes" userId="b58058b7-2ab8-4142-95e7-f7e306e81118" providerId="ADAL" clId="{7CE5461B-B108-456F-827A-374D3DF7E3CB}" dt="2017-12-15T18:29:55.386" v="2387" actId="6549"/>
          <ac:grpSpMkLst>
            <pc:docMk/>
            <pc:sldMk cId="695528043" sldId="1513"/>
            <ac:grpSpMk id="54" creationId="{53AACD14-319E-40F9-A31F-AA250B15632A}"/>
          </ac:grpSpMkLst>
        </pc:grpChg>
        <pc:grpChg chg="add del">
          <ac:chgData name="Mark Grimes" userId="b58058b7-2ab8-4142-95e7-f7e306e81118" providerId="ADAL" clId="{7CE5461B-B108-456F-827A-374D3DF7E3CB}" dt="2017-12-15T18:29:55.386" v="2387" actId="6549"/>
          <ac:grpSpMkLst>
            <pc:docMk/>
            <pc:sldMk cId="695528043" sldId="1513"/>
            <ac:grpSpMk id="57" creationId="{0CE97B93-54B9-4DBD-BBFA-03C234BE189E}"/>
          </ac:grpSpMkLst>
        </pc:grpChg>
        <pc:grpChg chg="add del">
          <ac:chgData name="Mark Grimes" userId="b58058b7-2ab8-4142-95e7-f7e306e81118" providerId="ADAL" clId="{7CE5461B-B108-456F-827A-374D3DF7E3CB}" dt="2017-12-15T18:29:55.386" v="2387" actId="6549"/>
          <ac:grpSpMkLst>
            <pc:docMk/>
            <pc:sldMk cId="695528043" sldId="1513"/>
            <ac:grpSpMk id="60" creationId="{C17E6BD9-09E8-4BFC-B253-42D67B061BE5}"/>
          </ac:grpSpMkLst>
        </pc:grpChg>
        <pc:grpChg chg="add del">
          <ac:chgData name="Mark Grimes" userId="b58058b7-2ab8-4142-95e7-f7e306e81118" providerId="ADAL" clId="{7CE5461B-B108-456F-827A-374D3DF7E3CB}" dt="2017-12-15T18:29:55.386" v="2387" actId="6549"/>
          <ac:grpSpMkLst>
            <pc:docMk/>
            <pc:sldMk cId="695528043" sldId="1513"/>
            <ac:grpSpMk id="90" creationId="{81BE882E-19A1-4FB5-83E8-BA97B45D5DF1}"/>
          </ac:grpSpMkLst>
        </pc:grpChg>
        <pc:grpChg chg="add del">
          <ac:chgData name="Mark Grimes" userId="b58058b7-2ab8-4142-95e7-f7e306e81118" providerId="ADAL" clId="{7CE5461B-B108-456F-827A-374D3DF7E3CB}" dt="2017-12-15T18:29:55.386" v="2387" actId="6549"/>
          <ac:grpSpMkLst>
            <pc:docMk/>
            <pc:sldMk cId="695528043" sldId="1513"/>
            <ac:grpSpMk id="106" creationId="{8609679E-ECA5-440B-AC24-B0C4E8822414}"/>
          </ac:grpSpMkLst>
        </pc:grpChg>
        <pc:grpChg chg="add del">
          <ac:chgData name="Mark Grimes" userId="b58058b7-2ab8-4142-95e7-f7e306e81118" providerId="ADAL" clId="{7CE5461B-B108-456F-827A-374D3DF7E3CB}" dt="2017-12-15T18:29:55.386" v="2387" actId="6549"/>
          <ac:grpSpMkLst>
            <pc:docMk/>
            <pc:sldMk cId="695528043" sldId="1513"/>
            <ac:grpSpMk id="113" creationId="{3EFA7F21-E05F-4797-BC09-8DD08892DD8E}"/>
          </ac:grpSpMkLst>
        </pc:grpChg>
        <pc:picChg chg="add del">
          <ac:chgData name="Mark Grimes" userId="b58058b7-2ab8-4142-95e7-f7e306e81118" providerId="ADAL" clId="{7CE5461B-B108-456F-827A-374D3DF7E3CB}" dt="2017-12-15T18:29:55.386" v="2387" actId="6549"/>
          <ac:picMkLst>
            <pc:docMk/>
            <pc:sldMk cId="695528043" sldId="1513"/>
            <ac:picMk id="17" creationId="{D33E9B5A-4099-435A-8547-7D46114D1838}"/>
          </ac:picMkLst>
        </pc:picChg>
        <pc:cxnChg chg="add del">
          <ac:chgData name="Mark Grimes" userId="b58058b7-2ab8-4142-95e7-f7e306e81118" providerId="ADAL" clId="{7CE5461B-B108-456F-827A-374D3DF7E3CB}" dt="2017-12-15T18:29:55.386" v="2387" actId="6549"/>
          <ac:cxnSpMkLst>
            <pc:docMk/>
            <pc:sldMk cId="695528043" sldId="1513"/>
            <ac:cxnSpMk id="20" creationId="{7C0A8431-02D0-4518-B871-4F97D7D36905}"/>
          </ac:cxnSpMkLst>
        </pc:cxnChg>
        <pc:cxnChg chg="add del">
          <ac:chgData name="Mark Grimes" userId="b58058b7-2ab8-4142-95e7-f7e306e81118" providerId="ADAL" clId="{7CE5461B-B108-456F-827A-374D3DF7E3CB}" dt="2017-12-15T18:29:55.386" v="2387" actId="6549"/>
          <ac:cxnSpMkLst>
            <pc:docMk/>
            <pc:sldMk cId="695528043" sldId="1513"/>
            <ac:cxnSpMk id="21" creationId="{A16BE9C8-C8C3-42C2-B15D-CA46854587B0}"/>
          </ac:cxnSpMkLst>
        </pc:cxnChg>
        <pc:cxnChg chg="add del">
          <ac:chgData name="Mark Grimes" userId="b58058b7-2ab8-4142-95e7-f7e306e81118" providerId="ADAL" clId="{7CE5461B-B108-456F-827A-374D3DF7E3CB}" dt="2017-12-15T18:29:55.386" v="2387" actId="6549"/>
          <ac:cxnSpMkLst>
            <pc:docMk/>
            <pc:sldMk cId="695528043" sldId="1513"/>
            <ac:cxnSpMk id="22" creationId="{59C2895C-DA21-4460-81C3-07E047BE7788}"/>
          </ac:cxnSpMkLst>
        </pc:cxnChg>
        <pc:cxnChg chg="add del">
          <ac:chgData name="Mark Grimes" userId="b58058b7-2ab8-4142-95e7-f7e306e81118" providerId="ADAL" clId="{7CE5461B-B108-456F-827A-374D3DF7E3CB}" dt="2017-12-15T18:29:55.386" v="2387" actId="6549"/>
          <ac:cxnSpMkLst>
            <pc:docMk/>
            <pc:sldMk cId="695528043" sldId="1513"/>
            <ac:cxnSpMk id="35" creationId="{41A7CD78-4CD0-4AC9-BCE1-67392EF8D4BD}"/>
          </ac:cxnSpMkLst>
        </pc:cxnChg>
        <pc:cxnChg chg="add del mod">
          <ac:chgData name="Mark Grimes" userId="b58058b7-2ab8-4142-95e7-f7e306e81118" providerId="ADAL" clId="{7CE5461B-B108-456F-827A-374D3DF7E3CB}" dt="2017-12-15T18:30:10.035" v="2390" actId="1038"/>
          <ac:cxnSpMkLst>
            <pc:docMk/>
            <pc:sldMk cId="695528043" sldId="1513"/>
            <ac:cxnSpMk id="36" creationId="{1E392561-A1A4-4B22-A9BA-FC7595AF9CF5}"/>
          </ac:cxnSpMkLst>
        </pc:cxnChg>
        <pc:cxnChg chg="add del">
          <ac:chgData name="Mark Grimes" userId="b58058b7-2ab8-4142-95e7-f7e306e81118" providerId="ADAL" clId="{7CE5461B-B108-456F-827A-374D3DF7E3CB}" dt="2017-12-15T18:29:55.386" v="2387" actId="6549"/>
          <ac:cxnSpMkLst>
            <pc:docMk/>
            <pc:sldMk cId="695528043" sldId="1513"/>
            <ac:cxnSpMk id="37" creationId="{BF1D8435-4866-437C-B30B-785C88A12EB7}"/>
          </ac:cxnSpMkLst>
        </pc:cxnChg>
        <pc:cxnChg chg="add del">
          <ac:chgData name="Mark Grimes" userId="b58058b7-2ab8-4142-95e7-f7e306e81118" providerId="ADAL" clId="{7CE5461B-B108-456F-827A-374D3DF7E3CB}" dt="2017-12-15T18:29:55.386" v="2387" actId="6549"/>
          <ac:cxnSpMkLst>
            <pc:docMk/>
            <pc:sldMk cId="695528043" sldId="1513"/>
            <ac:cxnSpMk id="89" creationId="{240A4765-64E3-44D9-BDE0-C5514DEFD5CE}"/>
          </ac:cxnSpMkLst>
        </pc:cxnChg>
      </pc:sldChg>
      <pc:sldChg chg="addSp delSp modSp add delAnim modNotesTx">
        <pc:chgData name="Mark Grimes" userId="b58058b7-2ab8-4142-95e7-f7e306e81118" providerId="ADAL" clId="{7CE5461B-B108-456F-827A-374D3DF7E3CB}" dt="2017-12-15T18:34:33.753" v="2405" actId="6549"/>
        <pc:sldMkLst>
          <pc:docMk/>
          <pc:sldMk cId="3265831737" sldId="1514"/>
        </pc:sldMkLst>
        <pc:spChg chg="add del mod">
          <ac:chgData name="Mark Grimes" userId="b58058b7-2ab8-4142-95e7-f7e306e81118" providerId="ADAL" clId="{7CE5461B-B108-456F-827A-374D3DF7E3CB}" dt="2017-12-15T18:34:10.545" v="2403" actId="478"/>
          <ac:spMkLst>
            <pc:docMk/>
            <pc:sldMk cId="3265831737" sldId="1514"/>
            <ac:spMk id="3" creationId="{D52D2B58-CF50-40DD-8359-7A944D72D2FB}"/>
          </ac:spMkLst>
        </pc:spChg>
        <pc:spChg chg="del">
          <ac:chgData name="Mark Grimes" userId="b58058b7-2ab8-4142-95e7-f7e306e81118" providerId="ADAL" clId="{7CE5461B-B108-456F-827A-374D3DF7E3CB}" dt="2017-12-15T18:34:09.773" v="2402" actId="478"/>
          <ac:spMkLst>
            <pc:docMk/>
            <pc:sldMk cId="3265831737" sldId="1514"/>
            <ac:spMk id="14" creationId="{25FF741C-AED4-4EEC-8D92-DF30F73D0C8F}"/>
          </ac:spMkLst>
        </pc:spChg>
        <pc:spChg chg="del">
          <ac:chgData name="Mark Grimes" userId="b58058b7-2ab8-4142-95e7-f7e306e81118" providerId="ADAL" clId="{7CE5461B-B108-456F-827A-374D3DF7E3CB}" dt="2017-12-15T18:34:09.773" v="2402" actId="478"/>
          <ac:spMkLst>
            <pc:docMk/>
            <pc:sldMk cId="3265831737" sldId="1514"/>
            <ac:spMk id="15" creationId="{228CB065-3EDC-4E79-80E5-0FCC660F08DA}"/>
          </ac:spMkLst>
        </pc:spChg>
        <pc:spChg chg="del">
          <ac:chgData name="Mark Grimes" userId="b58058b7-2ab8-4142-95e7-f7e306e81118" providerId="ADAL" clId="{7CE5461B-B108-456F-827A-374D3DF7E3CB}" dt="2017-12-15T18:34:09.773" v="2402" actId="478"/>
          <ac:spMkLst>
            <pc:docMk/>
            <pc:sldMk cId="3265831737" sldId="1514"/>
            <ac:spMk id="16" creationId="{ADF72723-D3DC-457C-8CA3-24C0BD13CBB4}"/>
          </ac:spMkLst>
        </pc:spChg>
        <pc:spChg chg="del">
          <ac:chgData name="Mark Grimes" userId="b58058b7-2ab8-4142-95e7-f7e306e81118" providerId="ADAL" clId="{7CE5461B-B108-456F-827A-374D3DF7E3CB}" dt="2017-12-15T18:34:09.773" v="2402" actId="478"/>
          <ac:spMkLst>
            <pc:docMk/>
            <pc:sldMk cId="3265831737" sldId="1514"/>
            <ac:spMk id="18" creationId="{36058654-430A-48F4-A3CE-EDA955486AA1}"/>
          </ac:spMkLst>
        </pc:spChg>
        <pc:spChg chg="del">
          <ac:chgData name="Mark Grimes" userId="b58058b7-2ab8-4142-95e7-f7e306e81118" providerId="ADAL" clId="{7CE5461B-B108-456F-827A-374D3DF7E3CB}" dt="2017-12-15T18:34:09.773" v="2402" actId="478"/>
          <ac:spMkLst>
            <pc:docMk/>
            <pc:sldMk cId="3265831737" sldId="1514"/>
            <ac:spMk id="19" creationId="{CAD060A4-3DFB-4F67-B7D2-C2AD128C0783}"/>
          </ac:spMkLst>
        </pc:spChg>
        <pc:spChg chg="del">
          <ac:chgData name="Mark Grimes" userId="b58058b7-2ab8-4142-95e7-f7e306e81118" providerId="ADAL" clId="{7CE5461B-B108-456F-827A-374D3DF7E3CB}" dt="2017-12-15T18:34:09.773" v="2402" actId="478"/>
          <ac:spMkLst>
            <pc:docMk/>
            <pc:sldMk cId="3265831737" sldId="1514"/>
            <ac:spMk id="38" creationId="{529F6574-60BE-4972-A702-FFBF870C92DB}"/>
          </ac:spMkLst>
        </pc:spChg>
        <pc:spChg chg="del">
          <ac:chgData name="Mark Grimes" userId="b58058b7-2ab8-4142-95e7-f7e306e81118" providerId="ADAL" clId="{7CE5461B-B108-456F-827A-374D3DF7E3CB}" dt="2017-12-15T18:34:09.773" v="2402" actId="478"/>
          <ac:spMkLst>
            <pc:docMk/>
            <pc:sldMk cId="3265831737" sldId="1514"/>
            <ac:spMk id="43" creationId="{054B11D4-8D79-435D-B537-F69E92D139BC}"/>
          </ac:spMkLst>
        </pc:spChg>
        <pc:spChg chg="del">
          <ac:chgData name="Mark Grimes" userId="b58058b7-2ab8-4142-95e7-f7e306e81118" providerId="ADAL" clId="{7CE5461B-B108-456F-827A-374D3DF7E3CB}" dt="2017-12-15T18:34:09.773" v="2402" actId="478"/>
          <ac:spMkLst>
            <pc:docMk/>
            <pc:sldMk cId="3265831737" sldId="1514"/>
            <ac:spMk id="44" creationId="{69BC65D4-06C5-43FD-BD06-66C871160617}"/>
          </ac:spMkLst>
        </pc:spChg>
        <pc:spChg chg="del">
          <ac:chgData name="Mark Grimes" userId="b58058b7-2ab8-4142-95e7-f7e306e81118" providerId="ADAL" clId="{7CE5461B-B108-456F-827A-374D3DF7E3CB}" dt="2017-12-15T18:34:09.773" v="2402" actId="478"/>
          <ac:spMkLst>
            <pc:docMk/>
            <pc:sldMk cId="3265831737" sldId="1514"/>
            <ac:spMk id="45" creationId="{7D432539-1886-43C4-909F-90F34852EAD4}"/>
          </ac:spMkLst>
        </pc:spChg>
        <pc:spChg chg="del">
          <ac:chgData name="Mark Grimes" userId="b58058b7-2ab8-4142-95e7-f7e306e81118" providerId="ADAL" clId="{7CE5461B-B108-456F-827A-374D3DF7E3CB}" dt="2017-12-15T18:34:09.773" v="2402" actId="478"/>
          <ac:spMkLst>
            <pc:docMk/>
            <pc:sldMk cId="3265831737" sldId="1514"/>
            <ac:spMk id="48" creationId="{5F554F58-6F2A-4471-B5C0-51A27EF12E01}"/>
          </ac:spMkLst>
        </pc:spChg>
        <pc:spChg chg="del">
          <ac:chgData name="Mark Grimes" userId="b58058b7-2ab8-4142-95e7-f7e306e81118" providerId="ADAL" clId="{7CE5461B-B108-456F-827A-374D3DF7E3CB}" dt="2017-12-15T18:34:09.773" v="2402" actId="478"/>
          <ac:spMkLst>
            <pc:docMk/>
            <pc:sldMk cId="3265831737" sldId="1514"/>
            <ac:spMk id="49" creationId="{2E4241CE-C6A3-4C7E-8BD4-60D0686D1D69}"/>
          </ac:spMkLst>
        </pc:spChg>
        <pc:spChg chg="del">
          <ac:chgData name="Mark Grimes" userId="b58058b7-2ab8-4142-95e7-f7e306e81118" providerId="ADAL" clId="{7CE5461B-B108-456F-827A-374D3DF7E3CB}" dt="2017-12-15T18:34:09.773" v="2402" actId="478"/>
          <ac:spMkLst>
            <pc:docMk/>
            <pc:sldMk cId="3265831737" sldId="1514"/>
            <ac:spMk id="50" creationId="{35816F0E-791C-4787-9524-1ABFDC309ED1}"/>
          </ac:spMkLst>
        </pc:spChg>
        <pc:spChg chg="del">
          <ac:chgData name="Mark Grimes" userId="b58058b7-2ab8-4142-95e7-f7e306e81118" providerId="ADAL" clId="{7CE5461B-B108-456F-827A-374D3DF7E3CB}" dt="2017-12-15T18:34:09.773" v="2402" actId="478"/>
          <ac:spMkLst>
            <pc:docMk/>
            <pc:sldMk cId="3265831737" sldId="1514"/>
            <ac:spMk id="112" creationId="{D2335B70-F499-43C9-92EF-03F5905582CE}"/>
          </ac:spMkLst>
        </pc:spChg>
        <pc:spChg chg="add">
          <ac:chgData name="Mark Grimes" userId="b58058b7-2ab8-4142-95e7-f7e306e81118" providerId="ADAL" clId="{7CE5461B-B108-456F-827A-374D3DF7E3CB}" dt="2017-12-15T18:34:14.010" v="2404" actId="6549"/>
          <ac:spMkLst>
            <pc:docMk/>
            <pc:sldMk cId="3265831737" sldId="1514"/>
            <ac:spMk id="117" creationId="{7D36F1FC-08D6-4D8D-9515-BF96D327E9A4}"/>
          </ac:spMkLst>
        </pc:spChg>
        <pc:spChg chg="add">
          <ac:chgData name="Mark Grimes" userId="b58058b7-2ab8-4142-95e7-f7e306e81118" providerId="ADAL" clId="{7CE5461B-B108-456F-827A-374D3DF7E3CB}" dt="2017-12-15T18:34:14.010" v="2404" actId="6549"/>
          <ac:spMkLst>
            <pc:docMk/>
            <pc:sldMk cId="3265831737" sldId="1514"/>
            <ac:spMk id="118" creationId="{A0EDB180-DB36-4D57-BB27-19045DB11CE8}"/>
          </ac:spMkLst>
        </pc:spChg>
        <pc:spChg chg="add">
          <ac:chgData name="Mark Grimes" userId="b58058b7-2ab8-4142-95e7-f7e306e81118" providerId="ADAL" clId="{7CE5461B-B108-456F-827A-374D3DF7E3CB}" dt="2017-12-15T18:34:14.010" v="2404" actId="6549"/>
          <ac:spMkLst>
            <pc:docMk/>
            <pc:sldMk cId="3265831737" sldId="1514"/>
            <ac:spMk id="119" creationId="{08767C45-9FD3-4A1B-AE84-476F5CBFE495}"/>
          </ac:spMkLst>
        </pc:spChg>
        <pc:spChg chg="add">
          <ac:chgData name="Mark Grimes" userId="b58058b7-2ab8-4142-95e7-f7e306e81118" providerId="ADAL" clId="{7CE5461B-B108-456F-827A-374D3DF7E3CB}" dt="2017-12-15T18:34:14.010" v="2404" actId="6549"/>
          <ac:spMkLst>
            <pc:docMk/>
            <pc:sldMk cId="3265831737" sldId="1514"/>
            <ac:spMk id="121" creationId="{83ACC6DF-A1E9-4C14-85D8-D6F2FA4D8434}"/>
          </ac:spMkLst>
        </pc:spChg>
        <pc:spChg chg="add">
          <ac:chgData name="Mark Grimes" userId="b58058b7-2ab8-4142-95e7-f7e306e81118" providerId="ADAL" clId="{7CE5461B-B108-456F-827A-374D3DF7E3CB}" dt="2017-12-15T18:34:14.010" v="2404" actId="6549"/>
          <ac:spMkLst>
            <pc:docMk/>
            <pc:sldMk cId="3265831737" sldId="1514"/>
            <ac:spMk id="122" creationId="{5B523AF2-883B-420F-BAA2-96A969C4B28A}"/>
          </ac:spMkLst>
        </pc:spChg>
        <pc:spChg chg="add">
          <ac:chgData name="Mark Grimes" userId="b58058b7-2ab8-4142-95e7-f7e306e81118" providerId="ADAL" clId="{7CE5461B-B108-456F-827A-374D3DF7E3CB}" dt="2017-12-15T18:34:14.010" v="2404" actId="6549"/>
          <ac:spMkLst>
            <pc:docMk/>
            <pc:sldMk cId="3265831737" sldId="1514"/>
            <ac:spMk id="123" creationId="{4D6C095F-9963-4B61-9A3B-3920E308FCB7}"/>
          </ac:spMkLst>
        </pc:spChg>
        <pc:spChg chg="add">
          <ac:chgData name="Mark Grimes" userId="b58058b7-2ab8-4142-95e7-f7e306e81118" providerId="ADAL" clId="{7CE5461B-B108-456F-827A-374D3DF7E3CB}" dt="2017-12-15T18:34:14.010" v="2404" actId="6549"/>
          <ac:spMkLst>
            <pc:docMk/>
            <pc:sldMk cId="3265831737" sldId="1514"/>
            <ac:spMk id="125" creationId="{5B3E453F-53E6-41A6-9362-495745A5D21F}"/>
          </ac:spMkLst>
        </pc:spChg>
        <pc:spChg chg="add">
          <ac:chgData name="Mark Grimes" userId="b58058b7-2ab8-4142-95e7-f7e306e81118" providerId="ADAL" clId="{7CE5461B-B108-456F-827A-374D3DF7E3CB}" dt="2017-12-15T18:34:14.010" v="2404" actId="6549"/>
          <ac:spMkLst>
            <pc:docMk/>
            <pc:sldMk cId="3265831737" sldId="1514"/>
            <ac:spMk id="126" creationId="{F23B407F-2E83-4A80-83C6-0577E6839CA9}"/>
          </ac:spMkLst>
        </pc:spChg>
        <pc:spChg chg="add">
          <ac:chgData name="Mark Grimes" userId="b58058b7-2ab8-4142-95e7-f7e306e81118" providerId="ADAL" clId="{7CE5461B-B108-456F-827A-374D3DF7E3CB}" dt="2017-12-15T18:34:14.010" v="2404" actId="6549"/>
          <ac:spMkLst>
            <pc:docMk/>
            <pc:sldMk cId="3265831737" sldId="1514"/>
            <ac:spMk id="127" creationId="{1454AA45-2C2B-4C10-BC74-FA050B393ED7}"/>
          </ac:spMkLst>
        </pc:spChg>
        <pc:spChg chg="add">
          <ac:chgData name="Mark Grimes" userId="b58058b7-2ab8-4142-95e7-f7e306e81118" providerId="ADAL" clId="{7CE5461B-B108-456F-827A-374D3DF7E3CB}" dt="2017-12-15T18:34:14.010" v="2404" actId="6549"/>
          <ac:spMkLst>
            <pc:docMk/>
            <pc:sldMk cId="3265831737" sldId="1514"/>
            <ac:spMk id="134" creationId="{8E422642-D573-4F00-8025-91C2369A8F97}"/>
          </ac:spMkLst>
        </pc:spChg>
        <pc:grpChg chg="del">
          <ac:chgData name="Mark Grimes" userId="b58058b7-2ab8-4142-95e7-f7e306e81118" providerId="ADAL" clId="{7CE5461B-B108-456F-827A-374D3DF7E3CB}" dt="2017-12-15T18:34:09.773" v="2402" actId="478"/>
          <ac:grpSpMkLst>
            <pc:docMk/>
            <pc:sldMk cId="3265831737" sldId="1514"/>
            <ac:grpSpMk id="23" creationId="{01B125F1-8D63-46CA-BE1B-058A6D188E5A}"/>
          </ac:grpSpMkLst>
        </pc:grpChg>
        <pc:grpChg chg="del">
          <ac:chgData name="Mark Grimes" userId="b58058b7-2ab8-4142-95e7-f7e306e81118" providerId="ADAL" clId="{7CE5461B-B108-456F-827A-374D3DF7E3CB}" dt="2017-12-15T18:34:09.773" v="2402" actId="478"/>
          <ac:grpSpMkLst>
            <pc:docMk/>
            <pc:sldMk cId="3265831737" sldId="1514"/>
            <ac:grpSpMk id="39" creationId="{DB211D6F-5F69-402A-B3E5-B2BCC48156DD}"/>
          </ac:grpSpMkLst>
        </pc:grpChg>
        <pc:grpChg chg="del">
          <ac:chgData name="Mark Grimes" userId="b58058b7-2ab8-4142-95e7-f7e306e81118" providerId="ADAL" clId="{7CE5461B-B108-456F-827A-374D3DF7E3CB}" dt="2017-12-15T18:34:09.773" v="2402" actId="478"/>
          <ac:grpSpMkLst>
            <pc:docMk/>
            <pc:sldMk cId="3265831737" sldId="1514"/>
            <ac:grpSpMk id="51" creationId="{07352820-ED06-4763-B890-A9173435F2F9}"/>
          </ac:grpSpMkLst>
        </pc:grpChg>
        <pc:grpChg chg="del">
          <ac:chgData name="Mark Grimes" userId="b58058b7-2ab8-4142-95e7-f7e306e81118" providerId="ADAL" clId="{7CE5461B-B108-456F-827A-374D3DF7E3CB}" dt="2017-12-15T18:34:09.773" v="2402" actId="478"/>
          <ac:grpSpMkLst>
            <pc:docMk/>
            <pc:sldMk cId="3265831737" sldId="1514"/>
            <ac:grpSpMk id="54" creationId="{53AACD14-319E-40F9-A31F-AA250B15632A}"/>
          </ac:grpSpMkLst>
        </pc:grpChg>
        <pc:grpChg chg="del">
          <ac:chgData name="Mark Grimes" userId="b58058b7-2ab8-4142-95e7-f7e306e81118" providerId="ADAL" clId="{7CE5461B-B108-456F-827A-374D3DF7E3CB}" dt="2017-12-15T18:34:09.773" v="2402" actId="478"/>
          <ac:grpSpMkLst>
            <pc:docMk/>
            <pc:sldMk cId="3265831737" sldId="1514"/>
            <ac:grpSpMk id="57" creationId="{0CE97B93-54B9-4DBD-BBFA-03C234BE189E}"/>
          </ac:grpSpMkLst>
        </pc:grpChg>
        <pc:grpChg chg="del">
          <ac:chgData name="Mark Grimes" userId="b58058b7-2ab8-4142-95e7-f7e306e81118" providerId="ADAL" clId="{7CE5461B-B108-456F-827A-374D3DF7E3CB}" dt="2017-12-15T18:34:09.773" v="2402" actId="478"/>
          <ac:grpSpMkLst>
            <pc:docMk/>
            <pc:sldMk cId="3265831737" sldId="1514"/>
            <ac:grpSpMk id="60" creationId="{C17E6BD9-09E8-4BFC-B253-42D67B061BE5}"/>
          </ac:grpSpMkLst>
        </pc:grpChg>
        <pc:grpChg chg="del">
          <ac:chgData name="Mark Grimes" userId="b58058b7-2ab8-4142-95e7-f7e306e81118" providerId="ADAL" clId="{7CE5461B-B108-456F-827A-374D3DF7E3CB}" dt="2017-12-15T18:34:09.773" v="2402" actId="478"/>
          <ac:grpSpMkLst>
            <pc:docMk/>
            <pc:sldMk cId="3265831737" sldId="1514"/>
            <ac:grpSpMk id="90" creationId="{81BE882E-19A1-4FB5-83E8-BA97B45D5DF1}"/>
          </ac:grpSpMkLst>
        </pc:grpChg>
        <pc:grpChg chg="del">
          <ac:chgData name="Mark Grimes" userId="b58058b7-2ab8-4142-95e7-f7e306e81118" providerId="ADAL" clId="{7CE5461B-B108-456F-827A-374D3DF7E3CB}" dt="2017-12-15T18:34:09.773" v="2402" actId="478"/>
          <ac:grpSpMkLst>
            <pc:docMk/>
            <pc:sldMk cId="3265831737" sldId="1514"/>
            <ac:grpSpMk id="106" creationId="{8609679E-ECA5-440B-AC24-B0C4E8822414}"/>
          </ac:grpSpMkLst>
        </pc:grpChg>
        <pc:grpChg chg="del">
          <ac:chgData name="Mark Grimes" userId="b58058b7-2ab8-4142-95e7-f7e306e81118" providerId="ADAL" clId="{7CE5461B-B108-456F-827A-374D3DF7E3CB}" dt="2017-12-15T18:34:09.773" v="2402" actId="478"/>
          <ac:grpSpMkLst>
            <pc:docMk/>
            <pc:sldMk cId="3265831737" sldId="1514"/>
            <ac:grpSpMk id="113" creationId="{3EFA7F21-E05F-4797-BC09-8DD08892DD8E}"/>
          </ac:grpSpMkLst>
        </pc:grpChg>
        <pc:grpChg chg="add">
          <ac:chgData name="Mark Grimes" userId="b58058b7-2ab8-4142-95e7-f7e306e81118" providerId="ADAL" clId="{7CE5461B-B108-456F-827A-374D3DF7E3CB}" dt="2017-12-15T18:34:14.010" v="2404" actId="6549"/>
          <ac:grpSpMkLst>
            <pc:docMk/>
            <pc:sldMk cId="3265831737" sldId="1514"/>
            <ac:grpSpMk id="128" creationId="{F7152BA3-95FF-47EE-ADF7-28BED0E96114}"/>
          </ac:grpSpMkLst>
        </pc:grpChg>
        <pc:grpChg chg="add">
          <ac:chgData name="Mark Grimes" userId="b58058b7-2ab8-4142-95e7-f7e306e81118" providerId="ADAL" clId="{7CE5461B-B108-456F-827A-374D3DF7E3CB}" dt="2017-12-15T18:34:14.010" v="2404" actId="6549"/>
          <ac:grpSpMkLst>
            <pc:docMk/>
            <pc:sldMk cId="3265831737" sldId="1514"/>
            <ac:grpSpMk id="135" creationId="{75FA169D-34F2-4CAE-BEBF-0C85A010D876}"/>
          </ac:grpSpMkLst>
        </pc:grpChg>
        <pc:grpChg chg="add">
          <ac:chgData name="Mark Grimes" userId="b58058b7-2ab8-4142-95e7-f7e306e81118" providerId="ADAL" clId="{7CE5461B-B108-456F-827A-374D3DF7E3CB}" dt="2017-12-15T18:34:14.010" v="2404" actId="6549"/>
          <ac:grpSpMkLst>
            <pc:docMk/>
            <pc:sldMk cId="3265831737" sldId="1514"/>
            <ac:grpSpMk id="140" creationId="{F3960CF5-603E-40A1-B416-4F0531E6F23F}"/>
          </ac:grpSpMkLst>
        </pc:grpChg>
        <pc:graphicFrameChg chg="add">
          <ac:chgData name="Mark Grimes" userId="b58058b7-2ab8-4142-95e7-f7e306e81118" providerId="ADAL" clId="{7CE5461B-B108-456F-827A-374D3DF7E3CB}" dt="2017-12-15T18:34:14.010" v="2404" actId="6549"/>
          <ac:graphicFrameMkLst>
            <pc:docMk/>
            <pc:sldMk cId="3265831737" sldId="1514"/>
            <ac:graphicFrameMk id="116" creationId="{FB702BA7-344C-4B53-9067-01C6F5CA9314}"/>
          </ac:graphicFrameMkLst>
        </pc:graphicFrameChg>
        <pc:graphicFrameChg chg="add">
          <ac:chgData name="Mark Grimes" userId="b58058b7-2ab8-4142-95e7-f7e306e81118" providerId="ADAL" clId="{7CE5461B-B108-456F-827A-374D3DF7E3CB}" dt="2017-12-15T18:34:14.010" v="2404" actId="6549"/>
          <ac:graphicFrameMkLst>
            <pc:docMk/>
            <pc:sldMk cId="3265831737" sldId="1514"/>
            <ac:graphicFrameMk id="120" creationId="{F1B551B1-1A08-4C80-819E-AE5E3AD44B86}"/>
          </ac:graphicFrameMkLst>
        </pc:graphicFrameChg>
        <pc:graphicFrameChg chg="add">
          <ac:chgData name="Mark Grimes" userId="b58058b7-2ab8-4142-95e7-f7e306e81118" providerId="ADAL" clId="{7CE5461B-B108-456F-827A-374D3DF7E3CB}" dt="2017-12-15T18:34:14.010" v="2404" actId="6549"/>
          <ac:graphicFrameMkLst>
            <pc:docMk/>
            <pc:sldMk cId="3265831737" sldId="1514"/>
            <ac:graphicFrameMk id="124" creationId="{D86B2161-8B6D-420A-815B-109C6BAD8705}"/>
          </ac:graphicFrameMkLst>
        </pc:graphicFrameChg>
        <pc:picChg chg="del">
          <ac:chgData name="Mark Grimes" userId="b58058b7-2ab8-4142-95e7-f7e306e81118" providerId="ADAL" clId="{7CE5461B-B108-456F-827A-374D3DF7E3CB}" dt="2017-12-15T18:34:09.773" v="2402" actId="478"/>
          <ac:picMkLst>
            <pc:docMk/>
            <pc:sldMk cId="3265831737" sldId="1514"/>
            <ac:picMk id="17" creationId="{D33E9B5A-4099-435A-8547-7D46114D1838}"/>
          </ac:picMkLst>
        </pc:picChg>
        <pc:cxnChg chg="del">
          <ac:chgData name="Mark Grimes" userId="b58058b7-2ab8-4142-95e7-f7e306e81118" providerId="ADAL" clId="{7CE5461B-B108-456F-827A-374D3DF7E3CB}" dt="2017-12-15T18:34:09.773" v="2402" actId="478"/>
          <ac:cxnSpMkLst>
            <pc:docMk/>
            <pc:sldMk cId="3265831737" sldId="1514"/>
            <ac:cxnSpMk id="20" creationId="{7C0A8431-02D0-4518-B871-4F97D7D36905}"/>
          </ac:cxnSpMkLst>
        </pc:cxnChg>
        <pc:cxnChg chg="del">
          <ac:chgData name="Mark Grimes" userId="b58058b7-2ab8-4142-95e7-f7e306e81118" providerId="ADAL" clId="{7CE5461B-B108-456F-827A-374D3DF7E3CB}" dt="2017-12-15T18:34:09.773" v="2402" actId="478"/>
          <ac:cxnSpMkLst>
            <pc:docMk/>
            <pc:sldMk cId="3265831737" sldId="1514"/>
            <ac:cxnSpMk id="21" creationId="{A16BE9C8-C8C3-42C2-B15D-CA46854587B0}"/>
          </ac:cxnSpMkLst>
        </pc:cxnChg>
        <pc:cxnChg chg="del mod">
          <ac:chgData name="Mark Grimes" userId="b58058b7-2ab8-4142-95e7-f7e306e81118" providerId="ADAL" clId="{7CE5461B-B108-456F-827A-374D3DF7E3CB}" dt="2017-12-15T18:34:09.773" v="2402" actId="478"/>
          <ac:cxnSpMkLst>
            <pc:docMk/>
            <pc:sldMk cId="3265831737" sldId="1514"/>
            <ac:cxnSpMk id="22" creationId="{59C2895C-DA21-4460-81C3-07E047BE7788}"/>
          </ac:cxnSpMkLst>
        </pc:cxnChg>
        <pc:cxnChg chg="del">
          <ac:chgData name="Mark Grimes" userId="b58058b7-2ab8-4142-95e7-f7e306e81118" providerId="ADAL" clId="{7CE5461B-B108-456F-827A-374D3DF7E3CB}" dt="2017-12-15T18:34:09.773" v="2402" actId="478"/>
          <ac:cxnSpMkLst>
            <pc:docMk/>
            <pc:sldMk cId="3265831737" sldId="1514"/>
            <ac:cxnSpMk id="35" creationId="{41A7CD78-4CD0-4AC9-BCE1-67392EF8D4BD}"/>
          </ac:cxnSpMkLst>
        </pc:cxnChg>
        <pc:cxnChg chg="del">
          <ac:chgData name="Mark Grimes" userId="b58058b7-2ab8-4142-95e7-f7e306e81118" providerId="ADAL" clId="{7CE5461B-B108-456F-827A-374D3DF7E3CB}" dt="2017-12-15T18:34:09.773" v="2402" actId="478"/>
          <ac:cxnSpMkLst>
            <pc:docMk/>
            <pc:sldMk cId="3265831737" sldId="1514"/>
            <ac:cxnSpMk id="36" creationId="{1E392561-A1A4-4B22-A9BA-FC7595AF9CF5}"/>
          </ac:cxnSpMkLst>
        </pc:cxnChg>
        <pc:cxnChg chg="del">
          <ac:chgData name="Mark Grimes" userId="b58058b7-2ab8-4142-95e7-f7e306e81118" providerId="ADAL" clId="{7CE5461B-B108-456F-827A-374D3DF7E3CB}" dt="2017-12-15T18:34:09.773" v="2402" actId="478"/>
          <ac:cxnSpMkLst>
            <pc:docMk/>
            <pc:sldMk cId="3265831737" sldId="1514"/>
            <ac:cxnSpMk id="37" creationId="{BF1D8435-4866-437C-B30B-785C88A12EB7}"/>
          </ac:cxnSpMkLst>
        </pc:cxnChg>
        <pc:cxnChg chg="del">
          <ac:chgData name="Mark Grimes" userId="b58058b7-2ab8-4142-95e7-f7e306e81118" providerId="ADAL" clId="{7CE5461B-B108-456F-827A-374D3DF7E3CB}" dt="2017-12-15T18:34:09.773" v="2402" actId="478"/>
          <ac:cxnSpMkLst>
            <pc:docMk/>
            <pc:sldMk cId="3265831737" sldId="1514"/>
            <ac:cxnSpMk id="89" creationId="{240A4765-64E3-44D9-BDE0-C5514DEFD5CE}"/>
          </ac:cxnSpMkLst>
        </pc:cxnChg>
      </pc:sldChg>
      <pc:sldChg chg="addSp delSp modSp add ord modAnim modNotesTx">
        <pc:chgData name="Mark Grimes" userId="b58058b7-2ab8-4142-95e7-f7e306e81118" providerId="ADAL" clId="{7CE5461B-B108-456F-827A-374D3DF7E3CB}" dt="2017-12-15T23:51:31.289" v="3280" actId="20577"/>
        <pc:sldMkLst>
          <pc:docMk/>
          <pc:sldMk cId="3110561435" sldId="1515"/>
        </pc:sldMkLst>
        <pc:spChg chg="add mod">
          <ac:chgData name="Mark Grimes" userId="b58058b7-2ab8-4142-95e7-f7e306e81118" providerId="ADAL" clId="{7CE5461B-B108-456F-827A-374D3DF7E3CB}" dt="2017-12-15T23:51:31.289" v="3280" actId="20577"/>
          <ac:spMkLst>
            <pc:docMk/>
            <pc:sldMk cId="3110561435" sldId="1515"/>
            <ac:spMk id="2" creationId="{57813370-DB8D-4647-AD62-D967FBB39A38}"/>
          </ac:spMkLst>
        </pc:spChg>
        <pc:spChg chg="del">
          <ac:chgData name="Mark Grimes" userId="b58058b7-2ab8-4142-95e7-f7e306e81118" providerId="ADAL" clId="{7CE5461B-B108-456F-827A-374D3DF7E3CB}" dt="2017-12-15T18:43:42.246" v="2422" actId="478"/>
          <ac:spMkLst>
            <pc:docMk/>
            <pc:sldMk cId="3110561435" sldId="1515"/>
            <ac:spMk id="2" creationId="{00000000-0000-0000-0000-000000000000}"/>
          </ac:spMkLst>
        </pc:spChg>
        <pc:spChg chg="add del mod">
          <ac:chgData name="Mark Grimes" userId="b58058b7-2ab8-4142-95e7-f7e306e81118" providerId="ADAL" clId="{7CE5461B-B108-456F-827A-374D3DF7E3CB}" dt="2017-12-15T18:43:42.935" v="2423" actId="478"/>
          <ac:spMkLst>
            <pc:docMk/>
            <pc:sldMk cId="3110561435" sldId="1515"/>
            <ac:spMk id="4" creationId="{2EEDE6F5-C4D6-4B76-905E-D53BCFEE5CE9}"/>
          </ac:spMkLst>
        </pc:spChg>
        <pc:spChg chg="del">
          <ac:chgData name="Mark Grimes" userId="b58058b7-2ab8-4142-95e7-f7e306e81118" providerId="ADAL" clId="{7CE5461B-B108-456F-827A-374D3DF7E3CB}" dt="2017-12-15T18:43:42.246" v="2422" actId="478"/>
          <ac:spMkLst>
            <pc:docMk/>
            <pc:sldMk cId="3110561435" sldId="1515"/>
            <ac:spMk id="7" creationId="{00000000-0000-0000-0000-000000000000}"/>
          </ac:spMkLst>
        </pc:spChg>
        <pc:spChg chg="del">
          <ac:chgData name="Mark Grimes" userId="b58058b7-2ab8-4142-95e7-f7e306e81118" providerId="ADAL" clId="{7CE5461B-B108-456F-827A-374D3DF7E3CB}" dt="2017-12-15T18:43:42.246" v="2422" actId="478"/>
          <ac:spMkLst>
            <pc:docMk/>
            <pc:sldMk cId="3110561435" sldId="1515"/>
            <ac:spMk id="8" creationId="{00000000-0000-0000-0000-000000000000}"/>
          </ac:spMkLst>
        </pc:spChg>
        <pc:spChg chg="add">
          <ac:chgData name="Mark Grimes" userId="b58058b7-2ab8-4142-95e7-f7e306e81118" providerId="ADAL" clId="{7CE5461B-B108-456F-827A-374D3DF7E3CB}" dt="2017-12-15T18:43:45.998" v="2424" actId="20577"/>
          <ac:spMkLst>
            <pc:docMk/>
            <pc:sldMk cId="3110561435" sldId="1515"/>
            <ac:spMk id="9" creationId="{44AD4C8E-5CF2-4E70-BEDF-56E0B712E16A}"/>
          </ac:spMkLst>
        </pc:spChg>
        <pc:spChg chg="add">
          <ac:chgData name="Mark Grimes" userId="b58058b7-2ab8-4142-95e7-f7e306e81118" providerId="ADAL" clId="{7CE5461B-B108-456F-827A-374D3DF7E3CB}" dt="2017-12-15T18:43:45.998" v="2424" actId="20577"/>
          <ac:spMkLst>
            <pc:docMk/>
            <pc:sldMk cId="3110561435" sldId="1515"/>
            <ac:spMk id="10" creationId="{C0CD5C56-FDB3-46A7-9D5F-D1E971044225}"/>
          </ac:spMkLst>
        </pc:spChg>
        <pc:spChg chg="add mod">
          <ac:chgData name="Mark Grimes" userId="b58058b7-2ab8-4142-95e7-f7e306e81118" providerId="ADAL" clId="{7CE5461B-B108-456F-827A-374D3DF7E3CB}" dt="2017-12-15T23:50:12.931" v="3244" actId="20577"/>
          <ac:spMkLst>
            <pc:docMk/>
            <pc:sldMk cId="3110561435" sldId="1515"/>
            <ac:spMk id="11" creationId="{027C0B65-FE7F-4EDB-9112-848C2B3E5986}"/>
          </ac:spMkLst>
        </pc:spChg>
        <pc:spChg chg="add">
          <ac:chgData name="Mark Grimes" userId="b58058b7-2ab8-4142-95e7-f7e306e81118" providerId="ADAL" clId="{7CE5461B-B108-456F-827A-374D3DF7E3CB}" dt="2017-12-15T18:43:45.998" v="2424" actId="20577"/>
          <ac:spMkLst>
            <pc:docMk/>
            <pc:sldMk cId="3110561435" sldId="1515"/>
            <ac:spMk id="14" creationId="{FB208961-0E87-42A2-92B2-EF93B1129358}"/>
          </ac:spMkLst>
        </pc:spChg>
        <pc:spChg chg="add">
          <ac:chgData name="Mark Grimes" userId="b58058b7-2ab8-4142-95e7-f7e306e81118" providerId="ADAL" clId="{7CE5461B-B108-456F-827A-374D3DF7E3CB}" dt="2017-12-15T18:43:45.998" v="2424" actId="20577"/>
          <ac:spMkLst>
            <pc:docMk/>
            <pc:sldMk cId="3110561435" sldId="1515"/>
            <ac:spMk id="61" creationId="{1B00D486-3BCF-47D9-891E-02A4F5646697}"/>
          </ac:spMkLst>
        </pc:spChg>
        <pc:spChg chg="add">
          <ac:chgData name="Mark Grimes" userId="b58058b7-2ab8-4142-95e7-f7e306e81118" providerId="ADAL" clId="{7CE5461B-B108-456F-827A-374D3DF7E3CB}" dt="2017-12-15T18:43:45.998" v="2424" actId="20577"/>
          <ac:spMkLst>
            <pc:docMk/>
            <pc:sldMk cId="3110561435" sldId="1515"/>
            <ac:spMk id="63" creationId="{D2328FC9-2513-40AE-8D02-5390D13332CE}"/>
          </ac:spMkLst>
        </pc:spChg>
        <pc:spChg chg="add">
          <ac:chgData name="Mark Grimes" userId="b58058b7-2ab8-4142-95e7-f7e306e81118" providerId="ADAL" clId="{7CE5461B-B108-456F-827A-374D3DF7E3CB}" dt="2017-12-15T18:43:45.998" v="2424" actId="20577"/>
          <ac:spMkLst>
            <pc:docMk/>
            <pc:sldMk cId="3110561435" sldId="1515"/>
            <ac:spMk id="71" creationId="{87F8F429-8E20-4412-A510-E1D9D32E49C0}"/>
          </ac:spMkLst>
        </pc:spChg>
        <pc:spChg chg="add">
          <ac:chgData name="Mark Grimes" userId="b58058b7-2ab8-4142-95e7-f7e306e81118" providerId="ADAL" clId="{7CE5461B-B108-456F-827A-374D3DF7E3CB}" dt="2017-12-15T18:43:45.998" v="2424" actId="20577"/>
          <ac:spMkLst>
            <pc:docMk/>
            <pc:sldMk cId="3110561435" sldId="1515"/>
            <ac:spMk id="72" creationId="{DFB74E0A-18CA-4AEF-B1D3-A219F957FDAB}"/>
          </ac:spMkLst>
        </pc:spChg>
        <pc:spChg chg="add">
          <ac:chgData name="Mark Grimes" userId="b58058b7-2ab8-4142-95e7-f7e306e81118" providerId="ADAL" clId="{7CE5461B-B108-456F-827A-374D3DF7E3CB}" dt="2017-12-15T18:43:45.998" v="2424" actId="20577"/>
          <ac:spMkLst>
            <pc:docMk/>
            <pc:sldMk cId="3110561435" sldId="1515"/>
            <ac:spMk id="76" creationId="{F823F2BF-A6DC-4D82-B27E-2580F4761B70}"/>
          </ac:spMkLst>
        </pc:spChg>
        <pc:grpChg chg="add">
          <ac:chgData name="Mark Grimes" userId="b58058b7-2ab8-4142-95e7-f7e306e81118" providerId="ADAL" clId="{7CE5461B-B108-456F-827A-374D3DF7E3CB}" dt="2017-12-15T18:43:45.998" v="2424" actId="20577"/>
          <ac:grpSpMkLst>
            <pc:docMk/>
            <pc:sldMk cId="3110561435" sldId="1515"/>
            <ac:grpSpMk id="15" creationId="{4177994F-3823-4BB3-82AF-D2B13335EC8A}"/>
          </ac:grpSpMkLst>
        </pc:grpChg>
        <pc:grpChg chg="add">
          <ac:chgData name="Mark Grimes" userId="b58058b7-2ab8-4142-95e7-f7e306e81118" providerId="ADAL" clId="{7CE5461B-B108-456F-827A-374D3DF7E3CB}" dt="2017-12-15T18:43:45.998" v="2424" actId="20577"/>
          <ac:grpSpMkLst>
            <pc:docMk/>
            <pc:sldMk cId="3110561435" sldId="1515"/>
            <ac:grpSpMk id="20" creationId="{5263F623-A800-4F71-8C5B-782E7F828E3A}"/>
          </ac:grpSpMkLst>
        </pc:grpChg>
        <pc:grpChg chg="add">
          <ac:chgData name="Mark Grimes" userId="b58058b7-2ab8-4142-95e7-f7e306e81118" providerId="ADAL" clId="{7CE5461B-B108-456F-827A-374D3DF7E3CB}" dt="2017-12-15T18:43:45.998" v="2424" actId="20577"/>
          <ac:grpSpMkLst>
            <pc:docMk/>
            <pc:sldMk cId="3110561435" sldId="1515"/>
            <ac:grpSpMk id="53" creationId="{8E9699DC-8644-4124-A326-CBF79A49A77F}"/>
          </ac:grpSpMkLst>
        </pc:grpChg>
        <pc:grpChg chg="add">
          <ac:chgData name="Mark Grimes" userId="b58058b7-2ab8-4142-95e7-f7e306e81118" providerId="ADAL" clId="{7CE5461B-B108-456F-827A-374D3DF7E3CB}" dt="2017-12-15T18:43:45.998" v="2424" actId="20577"/>
          <ac:grpSpMkLst>
            <pc:docMk/>
            <pc:sldMk cId="3110561435" sldId="1515"/>
            <ac:grpSpMk id="58" creationId="{232B4F6F-6907-4013-BF36-0AAA8805D839}"/>
          </ac:grpSpMkLst>
        </pc:grpChg>
        <pc:grpChg chg="add">
          <ac:chgData name="Mark Grimes" userId="b58058b7-2ab8-4142-95e7-f7e306e81118" providerId="ADAL" clId="{7CE5461B-B108-456F-827A-374D3DF7E3CB}" dt="2017-12-15T18:43:45.998" v="2424" actId="20577"/>
          <ac:grpSpMkLst>
            <pc:docMk/>
            <pc:sldMk cId="3110561435" sldId="1515"/>
            <ac:grpSpMk id="64" creationId="{78C049C2-8154-455C-8DCC-127F4D305AEF}"/>
          </ac:grpSpMkLst>
        </pc:grpChg>
        <pc:grpChg chg="add">
          <ac:chgData name="Mark Grimes" userId="b58058b7-2ab8-4142-95e7-f7e306e81118" providerId="ADAL" clId="{7CE5461B-B108-456F-827A-374D3DF7E3CB}" dt="2017-12-15T18:43:45.998" v="2424" actId="20577"/>
          <ac:grpSpMkLst>
            <pc:docMk/>
            <pc:sldMk cId="3110561435" sldId="1515"/>
            <ac:grpSpMk id="67" creationId="{1449E7D3-402F-404C-8617-77C87B1F308B}"/>
          </ac:grpSpMkLst>
        </pc:grpChg>
        <pc:grpChg chg="add">
          <ac:chgData name="Mark Grimes" userId="b58058b7-2ab8-4142-95e7-f7e306e81118" providerId="ADAL" clId="{7CE5461B-B108-456F-827A-374D3DF7E3CB}" dt="2017-12-15T18:43:45.998" v="2424" actId="20577"/>
          <ac:grpSpMkLst>
            <pc:docMk/>
            <pc:sldMk cId="3110561435" sldId="1515"/>
            <ac:grpSpMk id="73" creationId="{9BFA23DC-3A33-4DD7-B9BA-DEC0A1D2E2EA}"/>
          </ac:grpSpMkLst>
        </pc:grpChg>
        <pc:cxnChg chg="add">
          <ac:chgData name="Mark Grimes" userId="b58058b7-2ab8-4142-95e7-f7e306e81118" providerId="ADAL" clId="{7CE5461B-B108-456F-827A-374D3DF7E3CB}" dt="2017-12-15T18:43:45.998" v="2424" actId="20577"/>
          <ac:cxnSpMkLst>
            <pc:docMk/>
            <pc:sldMk cId="3110561435" sldId="1515"/>
            <ac:cxnSpMk id="12" creationId="{AF412932-67CE-4FDE-9758-0CC61C8B53F4}"/>
          </ac:cxnSpMkLst>
        </pc:cxnChg>
        <pc:cxnChg chg="add">
          <ac:chgData name="Mark Grimes" userId="b58058b7-2ab8-4142-95e7-f7e306e81118" providerId="ADAL" clId="{7CE5461B-B108-456F-827A-374D3DF7E3CB}" dt="2017-12-15T18:43:45.998" v="2424" actId="20577"/>
          <ac:cxnSpMkLst>
            <pc:docMk/>
            <pc:sldMk cId="3110561435" sldId="1515"/>
            <ac:cxnSpMk id="13" creationId="{9A0FC66C-6739-4806-BF9D-2103B31E3168}"/>
          </ac:cxnSpMkLst>
        </pc:cxnChg>
        <pc:cxnChg chg="add">
          <ac:chgData name="Mark Grimes" userId="b58058b7-2ab8-4142-95e7-f7e306e81118" providerId="ADAL" clId="{7CE5461B-B108-456F-827A-374D3DF7E3CB}" dt="2017-12-15T18:43:45.998" v="2424" actId="20577"/>
          <ac:cxnSpMkLst>
            <pc:docMk/>
            <pc:sldMk cId="3110561435" sldId="1515"/>
            <ac:cxnSpMk id="62" creationId="{48AE73B2-10FA-4E96-855D-E9DBE323EB4A}"/>
          </ac:cxnSpMkLst>
        </pc:cxnChg>
        <pc:cxnChg chg="add">
          <ac:chgData name="Mark Grimes" userId="b58058b7-2ab8-4142-95e7-f7e306e81118" providerId="ADAL" clId="{7CE5461B-B108-456F-827A-374D3DF7E3CB}" dt="2017-12-15T18:43:45.998" v="2424" actId="20577"/>
          <ac:cxnSpMkLst>
            <pc:docMk/>
            <pc:sldMk cId="3110561435" sldId="1515"/>
            <ac:cxnSpMk id="70" creationId="{F4AE5D65-692C-4070-BF86-D2EB0404B4AA}"/>
          </ac:cxnSpMkLst>
        </pc:cxnChg>
      </pc:sldChg>
      <pc:sldChg chg="addSp delSp modSp add setBg">
        <pc:chgData name="Mark Grimes" userId="b58058b7-2ab8-4142-95e7-f7e306e81118" providerId="ADAL" clId="{7CE5461B-B108-456F-827A-374D3DF7E3CB}" dt="2017-12-18T19:38:18.509" v="9246" actId="1076"/>
        <pc:sldMkLst>
          <pc:docMk/>
          <pc:sldMk cId="3068871388" sldId="1516"/>
        </pc:sldMkLst>
        <pc:spChg chg="mod">
          <ac:chgData name="Mark Grimes" userId="b58058b7-2ab8-4142-95e7-f7e306e81118" providerId="ADAL" clId="{7CE5461B-B108-456F-827A-374D3DF7E3CB}" dt="2017-12-15T19:16:08.257" v="2792" actId="20577"/>
          <ac:spMkLst>
            <pc:docMk/>
            <pc:sldMk cId="3068871388" sldId="1516"/>
            <ac:spMk id="2" creationId="{00000000-0000-0000-0000-000000000000}"/>
          </ac:spMkLst>
        </pc:spChg>
        <pc:picChg chg="add del">
          <ac:chgData name="Mark Grimes" userId="b58058b7-2ab8-4142-95e7-f7e306e81118" providerId="ADAL" clId="{7CE5461B-B108-456F-827A-374D3DF7E3CB}" dt="2017-12-18T19:37:43.514" v="9243" actId="478"/>
          <ac:picMkLst>
            <pc:docMk/>
            <pc:sldMk cId="3068871388" sldId="1516"/>
            <ac:picMk id="3" creationId="{600653AE-8A91-447A-A5CC-D91C046B5D59}"/>
          </ac:picMkLst>
        </pc:picChg>
        <pc:picChg chg="add mod">
          <ac:chgData name="Mark Grimes" userId="b58058b7-2ab8-4142-95e7-f7e306e81118" providerId="ADAL" clId="{7CE5461B-B108-456F-827A-374D3DF7E3CB}" dt="2017-12-18T19:38:18.509" v="9246" actId="1076"/>
          <ac:picMkLst>
            <pc:docMk/>
            <pc:sldMk cId="3068871388" sldId="1516"/>
            <ac:picMk id="4" creationId="{BA807C3C-B1F9-42E0-A46A-2E538F274899}"/>
          </ac:picMkLst>
        </pc:picChg>
      </pc:sldChg>
      <pc:sldChg chg="addSp modSp add ord setBg">
        <pc:chgData name="Mark Grimes" userId="b58058b7-2ab8-4142-95e7-f7e306e81118" providerId="ADAL" clId="{7CE5461B-B108-456F-827A-374D3DF7E3CB}" dt="2017-12-18T19:35:54.891" v="9231" actId="14100"/>
        <pc:sldMkLst>
          <pc:docMk/>
          <pc:sldMk cId="4218627462" sldId="1517"/>
        </pc:sldMkLst>
        <pc:spChg chg="mod">
          <ac:chgData name="Mark Grimes" userId="b58058b7-2ab8-4142-95e7-f7e306e81118" providerId="ADAL" clId="{7CE5461B-B108-456F-827A-374D3DF7E3CB}" dt="2017-12-15T19:17:44.117" v="2820" actId="20577"/>
          <ac:spMkLst>
            <pc:docMk/>
            <pc:sldMk cId="4218627462" sldId="1517"/>
            <ac:spMk id="2" creationId="{00000000-0000-0000-0000-000000000000}"/>
          </ac:spMkLst>
        </pc:spChg>
        <pc:picChg chg="add mod">
          <ac:chgData name="Mark Grimes" userId="b58058b7-2ab8-4142-95e7-f7e306e81118" providerId="ADAL" clId="{7CE5461B-B108-456F-827A-374D3DF7E3CB}" dt="2017-12-18T19:35:54.891" v="9231" actId="14100"/>
          <ac:picMkLst>
            <pc:docMk/>
            <pc:sldMk cId="4218627462" sldId="1517"/>
            <ac:picMk id="3" creationId="{FB38D023-D6E7-46D2-AB29-A59882CFBBE6}"/>
          </ac:picMkLst>
        </pc:picChg>
      </pc:sldChg>
      <pc:sldChg chg="addSp modSp add ord setBg">
        <pc:chgData name="Mark Grimes" userId="b58058b7-2ab8-4142-95e7-f7e306e81118" providerId="ADAL" clId="{7CE5461B-B108-456F-827A-374D3DF7E3CB}" dt="2017-12-18T19:35:19.004" v="9228" actId="1076"/>
        <pc:sldMkLst>
          <pc:docMk/>
          <pc:sldMk cId="476340935" sldId="1518"/>
        </pc:sldMkLst>
        <pc:spChg chg="mod">
          <ac:chgData name="Mark Grimes" userId="b58058b7-2ab8-4142-95e7-f7e306e81118" providerId="ADAL" clId="{7CE5461B-B108-456F-827A-374D3DF7E3CB}" dt="2017-12-15T19:19:37.439" v="2837" actId="20577"/>
          <ac:spMkLst>
            <pc:docMk/>
            <pc:sldMk cId="476340935" sldId="1518"/>
            <ac:spMk id="2" creationId="{00000000-0000-0000-0000-000000000000}"/>
          </ac:spMkLst>
        </pc:spChg>
        <pc:spChg chg="mod">
          <ac:chgData name="Mark Grimes" userId="b58058b7-2ab8-4142-95e7-f7e306e81118" providerId="ADAL" clId="{7CE5461B-B108-456F-827A-374D3DF7E3CB}" dt="2017-12-18T19:35:06.758" v="9225" actId="6549"/>
          <ac:spMkLst>
            <pc:docMk/>
            <pc:sldMk cId="476340935" sldId="1518"/>
            <ac:spMk id="6" creationId="{1241C22B-4CCF-4E4C-8E3B-3E72665BF77E}"/>
          </ac:spMkLst>
        </pc:spChg>
        <pc:grpChg chg="add mod">
          <ac:chgData name="Mark Grimes" userId="b58058b7-2ab8-4142-95e7-f7e306e81118" providerId="ADAL" clId="{7CE5461B-B108-456F-827A-374D3DF7E3CB}" dt="2017-12-18T19:35:19.004" v="9228" actId="1076"/>
          <ac:grpSpMkLst>
            <pc:docMk/>
            <pc:sldMk cId="476340935" sldId="1518"/>
            <ac:grpSpMk id="3" creationId="{93FFF79E-10C5-4D58-9438-BDA3AA17FF55}"/>
          </ac:grpSpMkLst>
        </pc:grpChg>
      </pc:sldChg>
      <pc:sldChg chg="addSp modSp ord">
        <pc:chgData name="Mark Grimes" userId="b58058b7-2ab8-4142-95e7-f7e306e81118" providerId="ADAL" clId="{7CE5461B-B108-456F-827A-374D3DF7E3CB}" dt="2017-12-18T19:33:42.598" v="9223" actId="1076"/>
        <pc:sldMkLst>
          <pc:docMk/>
          <pc:sldMk cId="2410567355" sldId="1519"/>
        </pc:sldMkLst>
        <pc:spChg chg="mod">
          <ac:chgData name="Mark Grimes" userId="b58058b7-2ab8-4142-95e7-f7e306e81118" providerId="ADAL" clId="{7CE5461B-B108-456F-827A-374D3DF7E3CB}" dt="2017-12-15T19:20:53.053" v="2865" actId="20577"/>
          <ac:spMkLst>
            <pc:docMk/>
            <pc:sldMk cId="2410567355" sldId="1519"/>
            <ac:spMk id="2" creationId="{00000000-0000-0000-0000-000000000000}"/>
          </ac:spMkLst>
        </pc:spChg>
        <pc:spChg chg="add mod">
          <ac:chgData name="Mark Grimes" userId="b58058b7-2ab8-4142-95e7-f7e306e81118" providerId="ADAL" clId="{7CE5461B-B108-456F-827A-374D3DF7E3CB}" dt="2017-12-18T19:33:42.598" v="9223" actId="1076"/>
          <ac:spMkLst>
            <pc:docMk/>
            <pc:sldMk cId="2410567355" sldId="1519"/>
            <ac:spMk id="3" creationId="{A4F4C185-65A2-4D04-8D40-1ACCDF7B659F}"/>
          </ac:spMkLst>
        </pc:spChg>
        <pc:grpChg chg="add mod">
          <ac:chgData name="Mark Grimes" userId="b58058b7-2ab8-4142-95e7-f7e306e81118" providerId="ADAL" clId="{7CE5461B-B108-456F-827A-374D3DF7E3CB}" dt="2017-12-18T19:33:42.598" v="9223" actId="1076"/>
          <ac:grpSpMkLst>
            <pc:docMk/>
            <pc:sldMk cId="2410567355" sldId="1519"/>
            <ac:grpSpMk id="4" creationId="{40B15433-94FB-430C-A58C-00B6D5A1896C}"/>
          </ac:grpSpMkLst>
        </pc:grpChg>
        <pc:grpChg chg="add mod">
          <ac:chgData name="Mark Grimes" userId="b58058b7-2ab8-4142-95e7-f7e306e81118" providerId="ADAL" clId="{7CE5461B-B108-456F-827A-374D3DF7E3CB}" dt="2017-12-18T19:33:42.598" v="9223" actId="1076"/>
          <ac:grpSpMkLst>
            <pc:docMk/>
            <pc:sldMk cId="2410567355" sldId="1519"/>
            <ac:grpSpMk id="11" creationId="{5DC87D6E-9B9C-4CED-9659-F859B14A20BB}"/>
          </ac:grpSpMkLst>
        </pc:grpChg>
      </pc:sldChg>
      <pc:sldChg chg="addSp delSp modSp add ord setBg modNotesTx">
        <pc:chgData name="Mark Grimes" userId="b58058b7-2ab8-4142-95e7-f7e306e81118" providerId="ADAL" clId="{7CE5461B-B108-456F-827A-374D3DF7E3CB}" dt="2017-12-18T19:31:27.244" v="9212" actId="14100"/>
        <pc:sldMkLst>
          <pc:docMk/>
          <pc:sldMk cId="994166288" sldId="1520"/>
        </pc:sldMkLst>
        <pc:spChg chg="mod">
          <ac:chgData name="Mark Grimes" userId="b58058b7-2ab8-4142-95e7-f7e306e81118" providerId="ADAL" clId="{7CE5461B-B108-456F-827A-374D3DF7E3CB}" dt="2017-12-18T19:31:18.263" v="9209" actId="1076"/>
          <ac:spMkLst>
            <pc:docMk/>
            <pc:sldMk cId="994166288" sldId="1520"/>
            <ac:spMk id="2" creationId="{00000000-0000-0000-0000-000000000000}"/>
          </ac:spMkLst>
        </pc:spChg>
        <pc:spChg chg="add del">
          <ac:chgData name="Mark Grimes" userId="b58058b7-2ab8-4142-95e7-f7e306e81118" providerId="ADAL" clId="{7CE5461B-B108-456F-827A-374D3DF7E3CB}" dt="2017-12-15T23:53:50.328" v="3345" actId="5793"/>
          <ac:spMkLst>
            <pc:docMk/>
            <pc:sldMk cId="994166288" sldId="1520"/>
            <ac:spMk id="3" creationId="{D80D77F1-CD50-478A-80A6-5620E3DC1A22}"/>
          </ac:spMkLst>
        </pc:spChg>
        <pc:picChg chg="add mod">
          <ac:chgData name="Mark Grimes" userId="b58058b7-2ab8-4142-95e7-f7e306e81118" providerId="ADAL" clId="{7CE5461B-B108-456F-827A-374D3DF7E3CB}" dt="2017-12-18T19:31:27.244" v="9212" actId="14100"/>
          <ac:picMkLst>
            <pc:docMk/>
            <pc:sldMk cId="994166288" sldId="1520"/>
            <ac:picMk id="3" creationId="{F40233B8-4BB5-4212-B7AD-D9BDC9559F70}"/>
          </ac:picMkLst>
        </pc:picChg>
      </pc:sldChg>
      <pc:sldChg chg="addSp modSp setBg">
        <pc:chgData name="Mark Grimes" userId="b58058b7-2ab8-4142-95e7-f7e306e81118" providerId="ADAL" clId="{7CE5461B-B108-456F-827A-374D3DF7E3CB}" dt="2017-12-18T19:30:08.089" v="9206" actId="1036"/>
        <pc:sldMkLst>
          <pc:docMk/>
          <pc:sldMk cId="3421486501" sldId="1521"/>
        </pc:sldMkLst>
        <pc:spChg chg="mod">
          <ac:chgData name="Mark Grimes" userId="b58058b7-2ab8-4142-95e7-f7e306e81118" providerId="ADAL" clId="{7CE5461B-B108-456F-827A-374D3DF7E3CB}" dt="2017-12-15T23:58:38.855" v="3438" actId="20577"/>
          <ac:spMkLst>
            <pc:docMk/>
            <pc:sldMk cId="3421486501" sldId="1521"/>
            <ac:spMk id="2" creationId="{00000000-0000-0000-0000-000000000000}"/>
          </ac:spMkLst>
        </pc:spChg>
        <pc:picChg chg="add mod">
          <ac:chgData name="Mark Grimes" userId="b58058b7-2ab8-4142-95e7-f7e306e81118" providerId="ADAL" clId="{7CE5461B-B108-456F-827A-374D3DF7E3CB}" dt="2017-12-18T19:29:58.561" v="9202" actId="1076"/>
          <ac:picMkLst>
            <pc:docMk/>
            <pc:sldMk cId="3421486501" sldId="1521"/>
            <ac:picMk id="3" creationId="{0643BB34-837C-4D30-A184-ED7617C6A144}"/>
          </ac:picMkLst>
        </pc:picChg>
        <pc:picChg chg="add mod">
          <ac:chgData name="Mark Grimes" userId="b58058b7-2ab8-4142-95e7-f7e306e81118" providerId="ADAL" clId="{7CE5461B-B108-456F-827A-374D3DF7E3CB}" dt="2017-12-18T19:29:51.015" v="9200" actId="1076"/>
          <ac:picMkLst>
            <pc:docMk/>
            <pc:sldMk cId="3421486501" sldId="1521"/>
            <ac:picMk id="4" creationId="{3B8AF6C0-0BFE-4190-9C29-A8E9F41F7B4D}"/>
          </ac:picMkLst>
        </pc:picChg>
        <pc:picChg chg="add mod">
          <ac:chgData name="Mark Grimes" userId="b58058b7-2ab8-4142-95e7-f7e306e81118" providerId="ADAL" clId="{7CE5461B-B108-456F-827A-374D3DF7E3CB}" dt="2017-12-18T19:29:56.062" v="9201" actId="1076"/>
          <ac:picMkLst>
            <pc:docMk/>
            <pc:sldMk cId="3421486501" sldId="1521"/>
            <ac:picMk id="5" creationId="{A7E91C23-351C-4125-8309-65F0129A2EE6}"/>
          </ac:picMkLst>
        </pc:picChg>
        <pc:picChg chg="add mod">
          <ac:chgData name="Mark Grimes" userId="b58058b7-2ab8-4142-95e7-f7e306e81118" providerId="ADAL" clId="{7CE5461B-B108-456F-827A-374D3DF7E3CB}" dt="2017-12-18T19:30:08.089" v="9206" actId="1036"/>
          <ac:picMkLst>
            <pc:docMk/>
            <pc:sldMk cId="3421486501" sldId="1521"/>
            <ac:picMk id="6" creationId="{6C9F30E4-C990-466D-BF44-E886CB73BC86}"/>
          </ac:picMkLst>
        </pc:picChg>
      </pc:sldChg>
      <pc:sldChg chg="addSp delSp modSp add setBg modAnim">
        <pc:chgData name="Mark Grimes" userId="b58058b7-2ab8-4142-95e7-f7e306e81118" providerId="ADAL" clId="{7CE5461B-B108-456F-827A-374D3DF7E3CB}" dt="2017-12-18T19:29:22.150" v="9198" actId="1076"/>
        <pc:sldMkLst>
          <pc:docMk/>
          <pc:sldMk cId="2141091710" sldId="1522"/>
        </pc:sldMkLst>
        <pc:spChg chg="mod">
          <ac:chgData name="Mark Grimes" userId="b58058b7-2ab8-4142-95e7-f7e306e81118" providerId="ADAL" clId="{7CE5461B-B108-456F-827A-374D3DF7E3CB}" dt="2017-12-15T19:22:12.434" v="2941" actId="20577"/>
          <ac:spMkLst>
            <pc:docMk/>
            <pc:sldMk cId="2141091710" sldId="1522"/>
            <ac:spMk id="2" creationId="{00000000-0000-0000-0000-000000000000}"/>
          </ac:spMkLst>
        </pc:spChg>
        <pc:grpChg chg="add del ord">
          <ac:chgData name="Mark Grimes" userId="b58058b7-2ab8-4142-95e7-f7e306e81118" providerId="ADAL" clId="{7CE5461B-B108-456F-827A-374D3DF7E3CB}" dt="2017-12-18T19:28:02.888" v="9192" actId="1076"/>
          <ac:grpSpMkLst>
            <pc:docMk/>
            <pc:sldMk cId="2141091710" sldId="1522"/>
            <ac:grpSpMk id="3" creationId="{5C5FB55F-A29A-4F6C-8403-FE4529C3E346}"/>
          </ac:grpSpMkLst>
        </pc:grpChg>
        <pc:grpChg chg="add del ord">
          <ac:chgData name="Mark Grimes" userId="b58058b7-2ab8-4142-95e7-f7e306e81118" providerId="ADAL" clId="{7CE5461B-B108-456F-827A-374D3DF7E3CB}" dt="2017-12-18T19:28:02.888" v="9192" actId="1076"/>
          <ac:grpSpMkLst>
            <pc:docMk/>
            <pc:sldMk cId="2141091710" sldId="1522"/>
            <ac:grpSpMk id="10" creationId="{A64C16D2-C70B-44EF-AD0B-D1A5FCA90267}"/>
          </ac:grpSpMkLst>
        </pc:grpChg>
        <pc:grpChg chg="add del">
          <ac:chgData name="Mark Grimes" userId="b58058b7-2ab8-4142-95e7-f7e306e81118" providerId="ADAL" clId="{7CE5461B-B108-456F-827A-374D3DF7E3CB}" dt="2017-12-18T19:28:36.693" v="9194" actId="1076"/>
          <ac:grpSpMkLst>
            <pc:docMk/>
            <pc:sldMk cId="2141091710" sldId="1522"/>
            <ac:grpSpMk id="16" creationId="{96ABF0C6-F7A9-4DE0-B764-3D69B0E340E0}"/>
          </ac:grpSpMkLst>
        </pc:grpChg>
        <pc:grpChg chg="add del">
          <ac:chgData name="Mark Grimes" userId="b58058b7-2ab8-4142-95e7-f7e306e81118" providerId="ADAL" clId="{7CE5461B-B108-456F-827A-374D3DF7E3CB}" dt="2017-12-18T19:28:36.693" v="9194" actId="1076"/>
          <ac:grpSpMkLst>
            <pc:docMk/>
            <pc:sldMk cId="2141091710" sldId="1522"/>
            <ac:grpSpMk id="23" creationId="{A3665BCE-B306-4E03-8554-DFC76EC02F86}"/>
          </ac:grpSpMkLst>
        </pc:grpChg>
        <pc:grpChg chg="add mod">
          <ac:chgData name="Mark Grimes" userId="b58058b7-2ab8-4142-95e7-f7e306e81118" providerId="ADAL" clId="{7CE5461B-B108-456F-827A-374D3DF7E3CB}" dt="2017-12-18T19:29:22.150" v="9198" actId="1076"/>
          <ac:grpSpMkLst>
            <pc:docMk/>
            <pc:sldMk cId="2141091710" sldId="1522"/>
            <ac:grpSpMk id="29" creationId="{D265F59B-226D-414F-B55D-0F7F1D5754AC}"/>
          </ac:grpSpMkLst>
        </pc:grpChg>
      </pc:sldChg>
      <pc:sldChg chg="addSp modSp setBg">
        <pc:chgData name="Mark Grimes" userId="b58058b7-2ab8-4142-95e7-f7e306e81118" providerId="ADAL" clId="{7CE5461B-B108-456F-827A-374D3DF7E3CB}" dt="2017-12-18T19:27:20.642" v="9186" actId="1076"/>
        <pc:sldMkLst>
          <pc:docMk/>
          <pc:sldMk cId="1502130015" sldId="1523"/>
        </pc:sldMkLst>
        <pc:spChg chg="mod">
          <ac:chgData name="Mark Grimes" userId="b58058b7-2ab8-4142-95e7-f7e306e81118" providerId="ADAL" clId="{7CE5461B-B108-456F-827A-374D3DF7E3CB}" dt="2017-12-15T19:22:39.616" v="2964" actId="20577"/>
          <ac:spMkLst>
            <pc:docMk/>
            <pc:sldMk cId="1502130015" sldId="1523"/>
            <ac:spMk id="2" creationId="{00000000-0000-0000-0000-000000000000}"/>
          </ac:spMkLst>
        </pc:spChg>
        <pc:grpChg chg="add mod">
          <ac:chgData name="Mark Grimes" userId="b58058b7-2ab8-4142-95e7-f7e306e81118" providerId="ADAL" clId="{7CE5461B-B108-456F-827A-374D3DF7E3CB}" dt="2017-12-18T19:27:20.642" v="9186" actId="1076"/>
          <ac:grpSpMkLst>
            <pc:docMk/>
            <pc:sldMk cId="1502130015" sldId="1523"/>
            <ac:grpSpMk id="3" creationId="{D1070031-83F1-41A1-9C71-7A4D7C5B0FEA}"/>
          </ac:grpSpMkLst>
        </pc:grpChg>
      </pc:sldChg>
      <pc:sldChg chg="modSp add del setBg">
        <pc:chgData name="Mark Grimes" userId="b58058b7-2ab8-4142-95e7-f7e306e81118" providerId="ADAL" clId="{7CE5461B-B108-456F-827A-374D3DF7E3CB}" dt="2017-12-18T19:04:01.791" v="8915" actId="2696"/>
        <pc:sldMkLst>
          <pc:docMk/>
          <pc:sldMk cId="4124156501" sldId="1524"/>
        </pc:sldMkLst>
        <pc:spChg chg="mod">
          <ac:chgData name="Mark Grimes" userId="b58058b7-2ab8-4142-95e7-f7e306e81118" providerId="ADAL" clId="{7CE5461B-B108-456F-827A-374D3DF7E3CB}" dt="2017-12-15T19:23:02.853" v="2985" actId="20577"/>
          <ac:spMkLst>
            <pc:docMk/>
            <pc:sldMk cId="4124156501" sldId="1524"/>
            <ac:spMk id="2" creationId="{00000000-0000-0000-0000-000000000000}"/>
          </ac:spMkLst>
        </pc:spChg>
      </pc:sldChg>
      <pc:sldChg chg="addSp modSp setBg">
        <pc:chgData name="Mark Grimes" userId="b58058b7-2ab8-4142-95e7-f7e306e81118" providerId="ADAL" clId="{7CE5461B-B108-456F-827A-374D3DF7E3CB}" dt="2017-12-18T19:22:42.505" v="9179" actId="1076"/>
        <pc:sldMkLst>
          <pc:docMk/>
          <pc:sldMk cId="3567179061" sldId="1525"/>
        </pc:sldMkLst>
        <pc:spChg chg="mod">
          <ac:chgData name="Mark Grimes" userId="b58058b7-2ab8-4142-95e7-f7e306e81118" providerId="ADAL" clId="{7CE5461B-B108-456F-827A-374D3DF7E3CB}" dt="2017-12-15T19:23:59.405" v="3007" actId="20577"/>
          <ac:spMkLst>
            <pc:docMk/>
            <pc:sldMk cId="3567179061" sldId="1525"/>
            <ac:spMk id="2" creationId="{00000000-0000-0000-0000-000000000000}"/>
          </ac:spMkLst>
        </pc:spChg>
        <pc:picChg chg="add mod">
          <ac:chgData name="Mark Grimes" userId="b58058b7-2ab8-4142-95e7-f7e306e81118" providerId="ADAL" clId="{7CE5461B-B108-456F-827A-374D3DF7E3CB}" dt="2017-12-18T19:22:42.505" v="9179" actId="1076"/>
          <ac:picMkLst>
            <pc:docMk/>
            <pc:sldMk cId="3567179061" sldId="1525"/>
            <ac:picMk id="3" creationId="{B2A7C202-7359-4F7F-8717-EFD510061744}"/>
          </ac:picMkLst>
        </pc:picChg>
      </pc:sldChg>
      <pc:sldChg chg="addSp modSp add setBg">
        <pc:chgData name="Mark Grimes" userId="b58058b7-2ab8-4142-95e7-f7e306e81118" providerId="ADAL" clId="{7CE5461B-B108-456F-827A-374D3DF7E3CB}" dt="2017-12-18T19:25:52.280" v="9182" actId="1076"/>
        <pc:sldMkLst>
          <pc:docMk/>
          <pc:sldMk cId="1194946845" sldId="1526"/>
        </pc:sldMkLst>
        <pc:spChg chg="mod">
          <ac:chgData name="Mark Grimes" userId="b58058b7-2ab8-4142-95e7-f7e306e81118" providerId="ADAL" clId="{7CE5461B-B108-456F-827A-374D3DF7E3CB}" dt="2017-12-15T19:24:17.225" v="3035" actId="20577"/>
          <ac:spMkLst>
            <pc:docMk/>
            <pc:sldMk cId="1194946845" sldId="1526"/>
            <ac:spMk id="2" creationId="{00000000-0000-0000-0000-000000000000}"/>
          </ac:spMkLst>
        </pc:spChg>
        <pc:picChg chg="add mod">
          <ac:chgData name="Mark Grimes" userId="b58058b7-2ab8-4142-95e7-f7e306e81118" providerId="ADAL" clId="{7CE5461B-B108-456F-827A-374D3DF7E3CB}" dt="2017-12-18T19:25:52.280" v="9182" actId="1076"/>
          <ac:picMkLst>
            <pc:docMk/>
            <pc:sldMk cId="1194946845" sldId="1526"/>
            <ac:picMk id="3" creationId="{DC1A39CC-1A10-4BF4-8F59-9E6AEF8BF95A}"/>
          </ac:picMkLst>
        </pc:picChg>
      </pc:sldChg>
      <pc:sldChg chg="addSp modSp setBg modAnim">
        <pc:chgData name="Mark Grimes" userId="b58058b7-2ab8-4142-95e7-f7e306e81118" providerId="ADAL" clId="{7CE5461B-B108-456F-827A-374D3DF7E3CB}" dt="2017-12-18T19:39:53.124" v="9254" actId="20577"/>
        <pc:sldMkLst>
          <pc:docMk/>
          <pc:sldMk cId="2143961141" sldId="1527"/>
        </pc:sldMkLst>
        <pc:spChg chg="mod">
          <ac:chgData name="Mark Grimes" userId="b58058b7-2ab8-4142-95e7-f7e306e81118" providerId="ADAL" clId="{7CE5461B-B108-456F-827A-374D3DF7E3CB}" dt="2017-12-15T19:24:36.273" v="3054" actId="20577"/>
          <ac:spMkLst>
            <pc:docMk/>
            <pc:sldMk cId="2143961141" sldId="1527"/>
            <ac:spMk id="2" creationId="{00000000-0000-0000-0000-000000000000}"/>
          </ac:spMkLst>
        </pc:spChg>
        <pc:spChg chg="mod">
          <ac:chgData name="Mark Grimes" userId="b58058b7-2ab8-4142-95e7-f7e306e81118" providerId="ADAL" clId="{7CE5461B-B108-456F-827A-374D3DF7E3CB}" dt="2017-12-18T19:39:53.124" v="9254" actId="20577"/>
          <ac:spMkLst>
            <pc:docMk/>
            <pc:sldMk cId="2143961141" sldId="1527"/>
            <ac:spMk id="5" creationId="{961A73DA-B77E-4FA4-84B4-431B388FC8A1}"/>
          </ac:spMkLst>
        </pc:spChg>
        <pc:grpChg chg="add mod">
          <ac:chgData name="Mark Grimes" userId="b58058b7-2ab8-4142-95e7-f7e306e81118" providerId="ADAL" clId="{7CE5461B-B108-456F-827A-374D3DF7E3CB}" dt="2017-12-18T19:39:44.736" v="9250" actId="1076"/>
          <ac:grpSpMkLst>
            <pc:docMk/>
            <pc:sldMk cId="2143961141" sldId="1527"/>
            <ac:grpSpMk id="3" creationId="{F9970E5D-0B9E-43BE-BDBB-CDE94D390812}"/>
          </ac:grpSpMkLst>
        </pc:grpChg>
      </pc:sldChg>
      <pc:sldChg chg="addSp delSp modSp add setBg delAnim modAnim">
        <pc:chgData name="Mark Grimes" userId="b58058b7-2ab8-4142-95e7-f7e306e81118" providerId="ADAL" clId="{7CE5461B-B108-456F-827A-374D3DF7E3CB}" dt="2017-12-18T19:33:05.088" v="9221" actId="1076"/>
        <pc:sldMkLst>
          <pc:docMk/>
          <pc:sldMk cId="3647496623" sldId="1528"/>
        </pc:sldMkLst>
        <pc:spChg chg="mod">
          <ac:chgData name="Mark Grimes" userId="b58058b7-2ab8-4142-95e7-f7e306e81118" providerId="ADAL" clId="{7CE5461B-B108-456F-827A-374D3DF7E3CB}" dt="2017-12-18T19:32:37.688" v="9215" actId="1076"/>
          <ac:spMkLst>
            <pc:docMk/>
            <pc:sldMk cId="3647496623" sldId="1528"/>
            <ac:spMk id="2" creationId="{00000000-0000-0000-0000-000000000000}"/>
          </ac:spMkLst>
        </pc:spChg>
        <pc:spChg chg="add del">
          <ac:chgData name="Mark Grimes" userId="b58058b7-2ab8-4142-95e7-f7e306e81118" providerId="ADAL" clId="{7CE5461B-B108-456F-827A-374D3DF7E3CB}" dt="2017-12-18T19:32:56.623" v="9220" actId="478"/>
          <ac:spMkLst>
            <pc:docMk/>
            <pc:sldMk cId="3647496623" sldId="1528"/>
            <ac:spMk id="3" creationId="{EB4D13D0-ED0A-4707-8B53-59D4BF44ACC8}"/>
          </ac:spMkLst>
        </pc:spChg>
        <pc:grpChg chg="add del">
          <ac:chgData name="Mark Grimes" userId="b58058b7-2ab8-4142-95e7-f7e306e81118" providerId="ADAL" clId="{7CE5461B-B108-456F-827A-374D3DF7E3CB}" dt="2017-12-18T19:32:47.112" v="9217" actId="478"/>
          <ac:grpSpMkLst>
            <pc:docMk/>
            <pc:sldMk cId="3647496623" sldId="1528"/>
            <ac:grpSpMk id="4" creationId="{592E66F3-DABE-4407-9875-9C34B487E033}"/>
          </ac:grpSpMkLst>
        </pc:grpChg>
        <pc:grpChg chg="add del">
          <ac:chgData name="Mark Grimes" userId="b58058b7-2ab8-4142-95e7-f7e306e81118" providerId="ADAL" clId="{7CE5461B-B108-456F-827A-374D3DF7E3CB}" dt="2017-12-18T19:32:50.391" v="9218" actId="478"/>
          <ac:grpSpMkLst>
            <pc:docMk/>
            <pc:sldMk cId="3647496623" sldId="1528"/>
            <ac:grpSpMk id="9" creationId="{F5CCD3E9-9D65-49FA-9CD0-1F2CE58BF399}"/>
          </ac:grpSpMkLst>
        </pc:grpChg>
        <pc:grpChg chg="add del">
          <ac:chgData name="Mark Grimes" userId="b58058b7-2ab8-4142-95e7-f7e306e81118" providerId="ADAL" clId="{7CE5461B-B108-456F-827A-374D3DF7E3CB}" dt="2017-12-18T19:32:53.001" v="9219" actId="478"/>
          <ac:grpSpMkLst>
            <pc:docMk/>
            <pc:sldMk cId="3647496623" sldId="1528"/>
            <ac:grpSpMk id="22" creationId="{0B06E934-934E-4F6B-A02B-71D72B808581}"/>
          </ac:grpSpMkLst>
        </pc:grpChg>
        <pc:picChg chg="add mod">
          <ac:chgData name="Mark Grimes" userId="b58058b7-2ab8-4142-95e7-f7e306e81118" providerId="ADAL" clId="{7CE5461B-B108-456F-827A-374D3DF7E3CB}" dt="2017-12-18T19:33:05.088" v="9221" actId="1076"/>
          <ac:picMkLst>
            <pc:docMk/>
            <pc:sldMk cId="3647496623" sldId="1528"/>
            <ac:picMk id="8" creationId="{EC54933D-087F-4458-905F-47D6C8BE3B5A}"/>
          </ac:picMkLst>
        </pc:picChg>
      </pc:sldChg>
      <pc:sldChg chg="addSp delSp modSp new add modTransition modNotesTx">
        <pc:chgData name="Mark Grimes" userId="b58058b7-2ab8-4142-95e7-f7e306e81118" providerId="ADAL" clId="{7CE5461B-B108-456F-827A-374D3DF7E3CB}" dt="2017-12-19T14:05:17.480" v="10538" actId="20577"/>
        <pc:sldMkLst>
          <pc:docMk/>
          <pc:sldMk cId="1989550788" sldId="1529"/>
        </pc:sldMkLst>
        <pc:spChg chg="del">
          <ac:chgData name="Mark Grimes" userId="b58058b7-2ab8-4142-95e7-f7e306e81118" providerId="ADAL" clId="{7CE5461B-B108-456F-827A-374D3DF7E3CB}" dt="2017-12-15T19:31:15.085" v="3111" actId="1076"/>
          <ac:spMkLst>
            <pc:docMk/>
            <pc:sldMk cId="1989550788" sldId="1529"/>
            <ac:spMk id="2" creationId="{5584CA87-EB5C-478C-9E3F-E92B007AF8A1}"/>
          </ac:spMkLst>
        </pc:spChg>
        <pc:spChg chg="del">
          <ac:chgData name="Mark Grimes" userId="b58058b7-2ab8-4142-95e7-f7e306e81118" providerId="ADAL" clId="{7CE5461B-B108-456F-827A-374D3DF7E3CB}" dt="2017-12-15T19:31:15.085" v="3111" actId="1076"/>
          <ac:spMkLst>
            <pc:docMk/>
            <pc:sldMk cId="1989550788" sldId="1529"/>
            <ac:spMk id="3" creationId="{BFA4200A-4AE1-4119-AEFE-BB7A7643A285}"/>
          </ac:spMkLst>
        </pc:spChg>
        <pc:spChg chg="add mod">
          <ac:chgData name="Mark Grimes" userId="b58058b7-2ab8-4142-95e7-f7e306e81118" providerId="ADAL" clId="{7CE5461B-B108-456F-827A-374D3DF7E3CB}" dt="2017-12-18T13:23:47.475" v="3999" actId="20577"/>
          <ac:spMkLst>
            <pc:docMk/>
            <pc:sldMk cId="1989550788" sldId="1529"/>
            <ac:spMk id="6" creationId="{11E6B4B8-75E1-4313-88D6-8BE172B0B6E0}"/>
          </ac:spMkLst>
        </pc:spChg>
        <pc:spChg chg="add del mod">
          <ac:chgData name="Mark Grimes" userId="b58058b7-2ab8-4142-95e7-f7e306e81118" providerId="ADAL" clId="{7CE5461B-B108-456F-827A-374D3DF7E3CB}" dt="2017-12-15T19:32:17.880" v="3126" actId="478"/>
          <ac:spMkLst>
            <pc:docMk/>
            <pc:sldMk cId="1989550788" sldId="1529"/>
            <ac:spMk id="7" creationId="{5D944921-3434-48FE-A186-D0660A550741}"/>
          </ac:spMkLst>
        </pc:spChg>
        <pc:graphicFrameChg chg="add mod modGraphic">
          <ac:chgData name="Mark Grimes" userId="b58058b7-2ab8-4142-95e7-f7e306e81118" providerId="ADAL" clId="{7CE5461B-B108-456F-827A-374D3DF7E3CB}" dt="2017-12-18T19:05:06.881" v="8918" actId="27124"/>
          <ac:graphicFrameMkLst>
            <pc:docMk/>
            <pc:sldMk cId="1989550788" sldId="1529"/>
            <ac:graphicFrameMk id="5" creationId="{B5DFE973-F499-4301-AAF7-4D0B1435D1A7}"/>
          </ac:graphicFrameMkLst>
        </pc:graphicFrameChg>
      </pc:sldChg>
      <pc:sldChg chg="addSp delSp modSp add delAnim">
        <pc:chgData name="Mark Grimes" userId="b58058b7-2ab8-4142-95e7-f7e306e81118" providerId="ADAL" clId="{7CE5461B-B108-456F-827A-374D3DF7E3CB}" dt="2017-12-15T23:25:28.636" v="3180" actId="5793"/>
        <pc:sldMkLst>
          <pc:docMk/>
          <pc:sldMk cId="2483273745" sldId="1530"/>
        </pc:sldMkLst>
        <pc:spChg chg="add del mod">
          <ac:chgData name="Mark Grimes" userId="b58058b7-2ab8-4142-95e7-f7e306e81118" providerId="ADAL" clId="{7CE5461B-B108-456F-827A-374D3DF7E3CB}" dt="2017-12-15T23:25:24.522" v="3179" actId="478"/>
          <ac:spMkLst>
            <pc:docMk/>
            <pc:sldMk cId="2483273745" sldId="1530"/>
            <ac:spMk id="3" creationId="{8822502B-975B-48F4-BE1A-690BCFD8BB54}"/>
          </ac:spMkLst>
        </pc:spChg>
        <pc:spChg chg="del">
          <ac:chgData name="Mark Grimes" userId="b58058b7-2ab8-4142-95e7-f7e306e81118" providerId="ADAL" clId="{7CE5461B-B108-456F-827A-374D3DF7E3CB}" dt="2017-12-15T23:25:23.229" v="3178" actId="478"/>
          <ac:spMkLst>
            <pc:docMk/>
            <pc:sldMk cId="2483273745" sldId="1530"/>
            <ac:spMk id="9" creationId="{44AD4C8E-5CF2-4E70-BEDF-56E0B712E16A}"/>
          </ac:spMkLst>
        </pc:spChg>
        <pc:spChg chg="del">
          <ac:chgData name="Mark Grimes" userId="b58058b7-2ab8-4142-95e7-f7e306e81118" providerId="ADAL" clId="{7CE5461B-B108-456F-827A-374D3DF7E3CB}" dt="2017-12-15T23:25:23.229" v="3178" actId="478"/>
          <ac:spMkLst>
            <pc:docMk/>
            <pc:sldMk cId="2483273745" sldId="1530"/>
            <ac:spMk id="10" creationId="{C0CD5C56-FDB3-46A7-9D5F-D1E971044225}"/>
          </ac:spMkLst>
        </pc:spChg>
        <pc:spChg chg="del">
          <ac:chgData name="Mark Grimes" userId="b58058b7-2ab8-4142-95e7-f7e306e81118" providerId="ADAL" clId="{7CE5461B-B108-456F-827A-374D3DF7E3CB}" dt="2017-12-15T23:25:23.229" v="3178" actId="478"/>
          <ac:spMkLst>
            <pc:docMk/>
            <pc:sldMk cId="2483273745" sldId="1530"/>
            <ac:spMk id="11" creationId="{027C0B65-FE7F-4EDB-9112-848C2B3E5986}"/>
          </ac:spMkLst>
        </pc:spChg>
        <pc:spChg chg="del">
          <ac:chgData name="Mark Grimes" userId="b58058b7-2ab8-4142-95e7-f7e306e81118" providerId="ADAL" clId="{7CE5461B-B108-456F-827A-374D3DF7E3CB}" dt="2017-12-15T23:25:23.229" v="3178" actId="478"/>
          <ac:spMkLst>
            <pc:docMk/>
            <pc:sldMk cId="2483273745" sldId="1530"/>
            <ac:spMk id="14" creationId="{FB208961-0E87-42A2-92B2-EF93B1129358}"/>
          </ac:spMkLst>
        </pc:spChg>
        <pc:spChg chg="del">
          <ac:chgData name="Mark Grimes" userId="b58058b7-2ab8-4142-95e7-f7e306e81118" providerId="ADAL" clId="{7CE5461B-B108-456F-827A-374D3DF7E3CB}" dt="2017-12-15T23:25:23.229" v="3178" actId="478"/>
          <ac:spMkLst>
            <pc:docMk/>
            <pc:sldMk cId="2483273745" sldId="1530"/>
            <ac:spMk id="61" creationId="{1B00D486-3BCF-47D9-891E-02A4F5646697}"/>
          </ac:spMkLst>
        </pc:spChg>
        <pc:spChg chg="del">
          <ac:chgData name="Mark Grimes" userId="b58058b7-2ab8-4142-95e7-f7e306e81118" providerId="ADAL" clId="{7CE5461B-B108-456F-827A-374D3DF7E3CB}" dt="2017-12-15T23:25:23.229" v="3178" actId="478"/>
          <ac:spMkLst>
            <pc:docMk/>
            <pc:sldMk cId="2483273745" sldId="1530"/>
            <ac:spMk id="63" creationId="{D2328FC9-2513-40AE-8D02-5390D13332CE}"/>
          </ac:spMkLst>
        </pc:spChg>
        <pc:spChg chg="del">
          <ac:chgData name="Mark Grimes" userId="b58058b7-2ab8-4142-95e7-f7e306e81118" providerId="ADAL" clId="{7CE5461B-B108-456F-827A-374D3DF7E3CB}" dt="2017-12-15T23:25:23.229" v="3178" actId="478"/>
          <ac:spMkLst>
            <pc:docMk/>
            <pc:sldMk cId="2483273745" sldId="1530"/>
            <ac:spMk id="71" creationId="{87F8F429-8E20-4412-A510-E1D9D32E49C0}"/>
          </ac:spMkLst>
        </pc:spChg>
        <pc:spChg chg="del">
          <ac:chgData name="Mark Grimes" userId="b58058b7-2ab8-4142-95e7-f7e306e81118" providerId="ADAL" clId="{7CE5461B-B108-456F-827A-374D3DF7E3CB}" dt="2017-12-15T23:25:23.229" v="3178" actId="478"/>
          <ac:spMkLst>
            <pc:docMk/>
            <pc:sldMk cId="2483273745" sldId="1530"/>
            <ac:spMk id="72" creationId="{DFB74E0A-18CA-4AEF-B1D3-A219F957FDAB}"/>
          </ac:spMkLst>
        </pc:spChg>
        <pc:spChg chg="del">
          <ac:chgData name="Mark Grimes" userId="b58058b7-2ab8-4142-95e7-f7e306e81118" providerId="ADAL" clId="{7CE5461B-B108-456F-827A-374D3DF7E3CB}" dt="2017-12-15T23:25:23.229" v="3178" actId="478"/>
          <ac:spMkLst>
            <pc:docMk/>
            <pc:sldMk cId="2483273745" sldId="1530"/>
            <ac:spMk id="76" creationId="{F823F2BF-A6DC-4D82-B27E-2580F4761B70}"/>
          </ac:spMkLst>
        </pc:spChg>
        <pc:spChg chg="add">
          <ac:chgData name="Mark Grimes" userId="b58058b7-2ab8-4142-95e7-f7e306e81118" providerId="ADAL" clId="{7CE5461B-B108-456F-827A-374D3DF7E3CB}" dt="2017-12-15T23:25:28.636" v="3180" actId="5793"/>
          <ac:spMkLst>
            <pc:docMk/>
            <pc:sldMk cId="2483273745" sldId="1530"/>
            <ac:spMk id="78" creationId="{BCD8DCB1-9455-485B-990E-56A9202614E5}"/>
          </ac:spMkLst>
        </pc:spChg>
        <pc:spChg chg="add">
          <ac:chgData name="Mark Grimes" userId="b58058b7-2ab8-4142-95e7-f7e306e81118" providerId="ADAL" clId="{7CE5461B-B108-456F-827A-374D3DF7E3CB}" dt="2017-12-15T23:25:28.636" v="3180" actId="5793"/>
          <ac:spMkLst>
            <pc:docMk/>
            <pc:sldMk cId="2483273745" sldId="1530"/>
            <ac:spMk id="80" creationId="{1B1A1EB6-6FFC-48BC-B8A7-E5FC390CB03D}"/>
          </ac:spMkLst>
        </pc:spChg>
        <pc:grpChg chg="del">
          <ac:chgData name="Mark Grimes" userId="b58058b7-2ab8-4142-95e7-f7e306e81118" providerId="ADAL" clId="{7CE5461B-B108-456F-827A-374D3DF7E3CB}" dt="2017-12-15T23:25:23.229" v="3178" actId="478"/>
          <ac:grpSpMkLst>
            <pc:docMk/>
            <pc:sldMk cId="2483273745" sldId="1530"/>
            <ac:grpSpMk id="15" creationId="{4177994F-3823-4BB3-82AF-D2B13335EC8A}"/>
          </ac:grpSpMkLst>
        </pc:grpChg>
        <pc:grpChg chg="del">
          <ac:chgData name="Mark Grimes" userId="b58058b7-2ab8-4142-95e7-f7e306e81118" providerId="ADAL" clId="{7CE5461B-B108-456F-827A-374D3DF7E3CB}" dt="2017-12-15T23:25:23.229" v="3178" actId="478"/>
          <ac:grpSpMkLst>
            <pc:docMk/>
            <pc:sldMk cId="2483273745" sldId="1530"/>
            <ac:grpSpMk id="20" creationId="{5263F623-A800-4F71-8C5B-782E7F828E3A}"/>
          </ac:grpSpMkLst>
        </pc:grpChg>
        <pc:grpChg chg="del">
          <ac:chgData name="Mark Grimes" userId="b58058b7-2ab8-4142-95e7-f7e306e81118" providerId="ADAL" clId="{7CE5461B-B108-456F-827A-374D3DF7E3CB}" dt="2017-12-15T23:25:23.229" v="3178" actId="478"/>
          <ac:grpSpMkLst>
            <pc:docMk/>
            <pc:sldMk cId="2483273745" sldId="1530"/>
            <ac:grpSpMk id="53" creationId="{8E9699DC-8644-4124-A326-CBF79A49A77F}"/>
          </ac:grpSpMkLst>
        </pc:grpChg>
        <pc:grpChg chg="del">
          <ac:chgData name="Mark Grimes" userId="b58058b7-2ab8-4142-95e7-f7e306e81118" providerId="ADAL" clId="{7CE5461B-B108-456F-827A-374D3DF7E3CB}" dt="2017-12-15T23:25:23.229" v="3178" actId="478"/>
          <ac:grpSpMkLst>
            <pc:docMk/>
            <pc:sldMk cId="2483273745" sldId="1530"/>
            <ac:grpSpMk id="58" creationId="{232B4F6F-6907-4013-BF36-0AAA8805D839}"/>
          </ac:grpSpMkLst>
        </pc:grpChg>
        <pc:grpChg chg="del">
          <ac:chgData name="Mark Grimes" userId="b58058b7-2ab8-4142-95e7-f7e306e81118" providerId="ADAL" clId="{7CE5461B-B108-456F-827A-374D3DF7E3CB}" dt="2017-12-15T23:25:23.229" v="3178" actId="478"/>
          <ac:grpSpMkLst>
            <pc:docMk/>
            <pc:sldMk cId="2483273745" sldId="1530"/>
            <ac:grpSpMk id="64" creationId="{78C049C2-8154-455C-8DCC-127F4D305AEF}"/>
          </ac:grpSpMkLst>
        </pc:grpChg>
        <pc:grpChg chg="del">
          <ac:chgData name="Mark Grimes" userId="b58058b7-2ab8-4142-95e7-f7e306e81118" providerId="ADAL" clId="{7CE5461B-B108-456F-827A-374D3DF7E3CB}" dt="2017-12-15T23:25:23.229" v="3178" actId="478"/>
          <ac:grpSpMkLst>
            <pc:docMk/>
            <pc:sldMk cId="2483273745" sldId="1530"/>
            <ac:grpSpMk id="67" creationId="{1449E7D3-402F-404C-8617-77C87B1F308B}"/>
          </ac:grpSpMkLst>
        </pc:grpChg>
        <pc:grpChg chg="del">
          <ac:chgData name="Mark Grimes" userId="b58058b7-2ab8-4142-95e7-f7e306e81118" providerId="ADAL" clId="{7CE5461B-B108-456F-827A-374D3DF7E3CB}" dt="2017-12-15T23:25:23.229" v="3178" actId="478"/>
          <ac:grpSpMkLst>
            <pc:docMk/>
            <pc:sldMk cId="2483273745" sldId="1530"/>
            <ac:grpSpMk id="73" creationId="{9BFA23DC-3A33-4DD7-B9BA-DEC0A1D2E2EA}"/>
          </ac:grpSpMkLst>
        </pc:grpChg>
        <pc:picChg chg="add">
          <ac:chgData name="Mark Grimes" userId="b58058b7-2ab8-4142-95e7-f7e306e81118" providerId="ADAL" clId="{7CE5461B-B108-456F-827A-374D3DF7E3CB}" dt="2017-12-15T23:25:28.636" v="3180" actId="5793"/>
          <ac:picMkLst>
            <pc:docMk/>
            <pc:sldMk cId="2483273745" sldId="1530"/>
            <ac:picMk id="77" creationId="{4E0F32DB-9129-4464-ABF7-1CA8902BD364}"/>
          </ac:picMkLst>
        </pc:picChg>
        <pc:picChg chg="add">
          <ac:chgData name="Mark Grimes" userId="b58058b7-2ab8-4142-95e7-f7e306e81118" providerId="ADAL" clId="{7CE5461B-B108-456F-827A-374D3DF7E3CB}" dt="2017-12-15T23:25:28.636" v="3180" actId="5793"/>
          <ac:picMkLst>
            <pc:docMk/>
            <pc:sldMk cId="2483273745" sldId="1530"/>
            <ac:picMk id="79" creationId="{661092B6-6EC3-499C-9BF0-647F0219EBEE}"/>
          </ac:picMkLst>
        </pc:picChg>
        <pc:cxnChg chg="del">
          <ac:chgData name="Mark Grimes" userId="b58058b7-2ab8-4142-95e7-f7e306e81118" providerId="ADAL" clId="{7CE5461B-B108-456F-827A-374D3DF7E3CB}" dt="2017-12-15T23:25:23.229" v="3178" actId="478"/>
          <ac:cxnSpMkLst>
            <pc:docMk/>
            <pc:sldMk cId="2483273745" sldId="1530"/>
            <ac:cxnSpMk id="12" creationId="{AF412932-67CE-4FDE-9758-0CC61C8B53F4}"/>
          </ac:cxnSpMkLst>
        </pc:cxnChg>
        <pc:cxnChg chg="del">
          <ac:chgData name="Mark Grimes" userId="b58058b7-2ab8-4142-95e7-f7e306e81118" providerId="ADAL" clId="{7CE5461B-B108-456F-827A-374D3DF7E3CB}" dt="2017-12-15T23:25:23.229" v="3178" actId="478"/>
          <ac:cxnSpMkLst>
            <pc:docMk/>
            <pc:sldMk cId="2483273745" sldId="1530"/>
            <ac:cxnSpMk id="13" creationId="{9A0FC66C-6739-4806-BF9D-2103B31E3168}"/>
          </ac:cxnSpMkLst>
        </pc:cxnChg>
        <pc:cxnChg chg="del">
          <ac:chgData name="Mark Grimes" userId="b58058b7-2ab8-4142-95e7-f7e306e81118" providerId="ADAL" clId="{7CE5461B-B108-456F-827A-374D3DF7E3CB}" dt="2017-12-15T23:25:23.229" v="3178" actId="478"/>
          <ac:cxnSpMkLst>
            <pc:docMk/>
            <pc:sldMk cId="2483273745" sldId="1530"/>
            <ac:cxnSpMk id="62" creationId="{48AE73B2-10FA-4E96-855D-E9DBE323EB4A}"/>
          </ac:cxnSpMkLst>
        </pc:cxnChg>
        <pc:cxnChg chg="del">
          <ac:chgData name="Mark Grimes" userId="b58058b7-2ab8-4142-95e7-f7e306e81118" providerId="ADAL" clId="{7CE5461B-B108-456F-827A-374D3DF7E3CB}" dt="2017-12-15T23:25:23.229" v="3178" actId="478"/>
          <ac:cxnSpMkLst>
            <pc:docMk/>
            <pc:sldMk cId="2483273745" sldId="1530"/>
            <ac:cxnSpMk id="70" creationId="{F4AE5D65-692C-4070-BF86-D2EB0404B4AA}"/>
          </ac:cxnSpMkLst>
        </pc:cxnChg>
      </pc:sldChg>
      <pc:sldChg chg="addSp delSp modSp add modAnim">
        <pc:chgData name="Mark Grimes" userId="b58058b7-2ab8-4142-95e7-f7e306e81118" providerId="ADAL" clId="{7CE5461B-B108-456F-827A-374D3DF7E3CB}" dt="2017-12-15T23:38:40.006" v="3206" actId="1076"/>
        <pc:sldMkLst>
          <pc:docMk/>
          <pc:sldMk cId="195867771" sldId="1531"/>
        </pc:sldMkLst>
        <pc:spChg chg="add del mod">
          <ac:chgData name="Mark Grimes" userId="b58058b7-2ab8-4142-95e7-f7e306e81118" providerId="ADAL" clId="{7CE5461B-B108-456F-827A-374D3DF7E3CB}" dt="2017-12-15T23:37:27.645" v="3197" actId="478"/>
          <ac:spMkLst>
            <pc:docMk/>
            <pc:sldMk cId="195867771" sldId="1531"/>
            <ac:spMk id="4" creationId="{FA76838A-10A8-491B-99C4-636C00909B17}"/>
          </ac:spMkLst>
        </pc:spChg>
        <pc:spChg chg="del">
          <ac:chgData name="Mark Grimes" userId="b58058b7-2ab8-4142-95e7-f7e306e81118" providerId="ADAL" clId="{7CE5461B-B108-456F-827A-374D3DF7E3CB}" dt="2017-12-15T23:37:26.795" v="3196" actId="478"/>
          <ac:spMkLst>
            <pc:docMk/>
            <pc:sldMk cId="195867771" sldId="1531"/>
            <ac:spMk id="6" creationId="{00000000-0000-0000-0000-000000000000}"/>
          </ac:spMkLst>
        </pc:spChg>
        <pc:spChg chg="add del mod">
          <ac:chgData name="Mark Grimes" userId="b58058b7-2ab8-4142-95e7-f7e306e81118" providerId="ADAL" clId="{7CE5461B-B108-456F-827A-374D3DF7E3CB}" dt="2017-12-15T23:37:27.645" v="3197" actId="478"/>
          <ac:spMkLst>
            <pc:docMk/>
            <pc:sldMk cId="195867771" sldId="1531"/>
            <ac:spMk id="7" creationId="{4A5EFF7B-ED5F-494E-9488-8276D8B43A6E}"/>
          </ac:spMkLst>
        </pc:spChg>
        <pc:spChg chg="add del">
          <ac:chgData name="Mark Grimes" userId="b58058b7-2ab8-4142-95e7-f7e306e81118" providerId="ADAL" clId="{7CE5461B-B108-456F-827A-374D3DF7E3CB}" dt="2017-12-15T23:37:37.917" v="3199" actId="1076"/>
          <ac:spMkLst>
            <pc:docMk/>
            <pc:sldMk cId="195867771" sldId="1531"/>
            <ac:spMk id="10" creationId="{83178C05-F09E-4FAF-83AF-13308DFA62A8}"/>
          </ac:spMkLst>
        </pc:spChg>
        <pc:spChg chg="add del">
          <ac:chgData name="Mark Grimes" userId="b58058b7-2ab8-4142-95e7-f7e306e81118" providerId="ADAL" clId="{7CE5461B-B108-456F-827A-374D3DF7E3CB}" dt="2017-12-15T23:37:37.917" v="3199" actId="1076"/>
          <ac:spMkLst>
            <pc:docMk/>
            <pc:sldMk cId="195867771" sldId="1531"/>
            <ac:spMk id="11" creationId="{F16B67E0-EAA3-4872-90C6-E6B779EEEE1D}"/>
          </ac:spMkLst>
        </pc:spChg>
        <pc:spChg chg="del">
          <ac:chgData name="Mark Grimes" userId="b58058b7-2ab8-4142-95e7-f7e306e81118" providerId="ADAL" clId="{7CE5461B-B108-456F-827A-374D3DF7E3CB}" dt="2017-12-15T23:37:26.795" v="3196" actId="478"/>
          <ac:spMkLst>
            <pc:docMk/>
            <pc:sldMk cId="195867771" sldId="1531"/>
            <ac:spMk id="17" creationId="{00000000-0000-0000-0000-000000000000}"/>
          </ac:spMkLst>
        </pc:spChg>
        <pc:spChg chg="del">
          <ac:chgData name="Mark Grimes" userId="b58058b7-2ab8-4142-95e7-f7e306e81118" providerId="ADAL" clId="{7CE5461B-B108-456F-827A-374D3DF7E3CB}" dt="2017-12-15T23:37:26.795" v="3196" actId="478"/>
          <ac:spMkLst>
            <pc:docMk/>
            <pc:sldMk cId="195867771" sldId="1531"/>
            <ac:spMk id="26" creationId="{00000000-0000-0000-0000-000000000000}"/>
          </ac:spMkLst>
        </pc:spChg>
        <pc:spChg chg="add del">
          <ac:chgData name="Mark Grimes" userId="b58058b7-2ab8-4142-95e7-f7e306e81118" providerId="ADAL" clId="{7CE5461B-B108-456F-827A-374D3DF7E3CB}" dt="2017-12-15T23:37:37.917" v="3199" actId="1076"/>
          <ac:spMkLst>
            <pc:docMk/>
            <pc:sldMk cId="195867771" sldId="1531"/>
            <ac:spMk id="35" creationId="{190C48B4-59F8-44B9-9DC6-BC76E9A647C1}"/>
          </ac:spMkLst>
        </pc:spChg>
        <pc:spChg chg="add del">
          <ac:chgData name="Mark Grimes" userId="b58058b7-2ab8-4142-95e7-f7e306e81118" providerId="ADAL" clId="{7CE5461B-B108-456F-827A-374D3DF7E3CB}" dt="2017-12-15T23:37:37.917" v="3199" actId="1076"/>
          <ac:spMkLst>
            <pc:docMk/>
            <pc:sldMk cId="195867771" sldId="1531"/>
            <ac:spMk id="36" creationId="{6DDB99A1-ED60-493A-854C-0F0B303C54AE}"/>
          </ac:spMkLst>
        </pc:spChg>
        <pc:spChg chg="add del">
          <ac:chgData name="Mark Grimes" userId="b58058b7-2ab8-4142-95e7-f7e306e81118" providerId="ADAL" clId="{7CE5461B-B108-456F-827A-374D3DF7E3CB}" dt="2017-12-15T23:37:37.917" v="3199" actId="1076"/>
          <ac:spMkLst>
            <pc:docMk/>
            <pc:sldMk cId="195867771" sldId="1531"/>
            <ac:spMk id="37" creationId="{6C7B2F23-A6BF-4216-95D8-276AE680A752}"/>
          </ac:spMkLst>
        </pc:spChg>
        <pc:spChg chg="add del">
          <ac:chgData name="Mark Grimes" userId="b58058b7-2ab8-4142-95e7-f7e306e81118" providerId="ADAL" clId="{7CE5461B-B108-456F-827A-374D3DF7E3CB}" dt="2017-12-15T23:37:37.917" v="3199" actId="1076"/>
          <ac:spMkLst>
            <pc:docMk/>
            <pc:sldMk cId="195867771" sldId="1531"/>
            <ac:spMk id="42" creationId="{D01070F6-619F-4562-AC7D-D8013BE67966}"/>
          </ac:spMkLst>
        </pc:spChg>
        <pc:spChg chg="add">
          <ac:chgData name="Mark Grimes" userId="b58058b7-2ab8-4142-95e7-f7e306e81118" providerId="ADAL" clId="{7CE5461B-B108-456F-827A-374D3DF7E3CB}" dt="2017-12-15T23:37:40.216" v="3200" actId="1076"/>
          <ac:spMkLst>
            <pc:docMk/>
            <pc:sldMk cId="195867771" sldId="1531"/>
            <ac:spMk id="155" creationId="{702BA932-1B86-44A5-9191-B07D67588684}"/>
          </ac:spMkLst>
        </pc:spChg>
        <pc:spChg chg="add">
          <ac:chgData name="Mark Grimes" userId="b58058b7-2ab8-4142-95e7-f7e306e81118" providerId="ADAL" clId="{7CE5461B-B108-456F-827A-374D3DF7E3CB}" dt="2017-12-15T23:37:40.216" v="3200" actId="1076"/>
          <ac:spMkLst>
            <pc:docMk/>
            <pc:sldMk cId="195867771" sldId="1531"/>
            <ac:spMk id="156" creationId="{D2B0C3AB-0B37-4F68-89A3-F9D2676632EE}"/>
          </ac:spMkLst>
        </pc:spChg>
        <pc:spChg chg="add">
          <ac:chgData name="Mark Grimes" userId="b58058b7-2ab8-4142-95e7-f7e306e81118" providerId="ADAL" clId="{7CE5461B-B108-456F-827A-374D3DF7E3CB}" dt="2017-12-15T23:37:40.216" v="3200" actId="1076"/>
          <ac:spMkLst>
            <pc:docMk/>
            <pc:sldMk cId="195867771" sldId="1531"/>
            <ac:spMk id="178" creationId="{F1283295-ECA0-4ED2-961F-0ECD01BEABEA}"/>
          </ac:spMkLst>
        </pc:spChg>
        <pc:spChg chg="add">
          <ac:chgData name="Mark Grimes" userId="b58058b7-2ab8-4142-95e7-f7e306e81118" providerId="ADAL" clId="{7CE5461B-B108-456F-827A-374D3DF7E3CB}" dt="2017-12-15T23:37:40.216" v="3200" actId="1076"/>
          <ac:spMkLst>
            <pc:docMk/>
            <pc:sldMk cId="195867771" sldId="1531"/>
            <ac:spMk id="179" creationId="{717B4B20-A0BD-485E-B927-4DFF1FE5F506}"/>
          </ac:spMkLst>
        </pc:spChg>
        <pc:spChg chg="add">
          <ac:chgData name="Mark Grimes" userId="b58058b7-2ab8-4142-95e7-f7e306e81118" providerId="ADAL" clId="{7CE5461B-B108-456F-827A-374D3DF7E3CB}" dt="2017-12-15T23:37:40.216" v="3200" actId="1076"/>
          <ac:spMkLst>
            <pc:docMk/>
            <pc:sldMk cId="195867771" sldId="1531"/>
            <ac:spMk id="180" creationId="{356779B3-A9B8-4672-8F66-B388490D9191}"/>
          </ac:spMkLst>
        </pc:spChg>
        <pc:spChg chg="add">
          <ac:chgData name="Mark Grimes" userId="b58058b7-2ab8-4142-95e7-f7e306e81118" providerId="ADAL" clId="{7CE5461B-B108-456F-827A-374D3DF7E3CB}" dt="2017-12-15T23:37:40.216" v="3200" actId="1076"/>
          <ac:spMkLst>
            <pc:docMk/>
            <pc:sldMk cId="195867771" sldId="1531"/>
            <ac:spMk id="185" creationId="{760BAFD1-7FC6-4696-8089-B255734C52CC}"/>
          </ac:spMkLst>
        </pc:spChg>
        <pc:spChg chg="add mod ord">
          <ac:chgData name="Mark Grimes" userId="b58058b7-2ab8-4142-95e7-f7e306e81118" providerId="ADAL" clId="{7CE5461B-B108-456F-827A-374D3DF7E3CB}" dt="2017-12-15T23:38:11.603" v="3203" actId="167"/>
          <ac:spMkLst>
            <pc:docMk/>
            <pc:sldMk cId="195867771" sldId="1531"/>
            <ac:spMk id="298" creationId="{028763B8-5A4F-4C05-AA49-C84D509AD830}"/>
          </ac:spMkLst>
        </pc:spChg>
        <pc:spChg chg="add mod">
          <ac:chgData name="Mark Grimes" userId="b58058b7-2ab8-4142-95e7-f7e306e81118" providerId="ADAL" clId="{7CE5461B-B108-456F-827A-374D3DF7E3CB}" dt="2017-12-15T23:38:40.006" v="3206" actId="1076"/>
          <ac:spMkLst>
            <pc:docMk/>
            <pc:sldMk cId="195867771" sldId="1531"/>
            <ac:spMk id="299" creationId="{24448F0F-18CA-42CB-8EBC-058CEF972D79}"/>
          </ac:spMkLst>
        </pc:spChg>
        <pc:grpChg chg="add del">
          <ac:chgData name="Mark Grimes" userId="b58058b7-2ab8-4142-95e7-f7e306e81118" providerId="ADAL" clId="{7CE5461B-B108-456F-827A-374D3DF7E3CB}" dt="2017-12-15T23:37:37.917" v="3199" actId="1076"/>
          <ac:grpSpMkLst>
            <pc:docMk/>
            <pc:sldMk cId="195867771" sldId="1531"/>
            <ac:grpSpMk id="12" creationId="{4CCC36CC-C8D5-4B33-B3A7-9619CA3200CC}"/>
          </ac:grpSpMkLst>
        </pc:grpChg>
        <pc:grpChg chg="add del">
          <ac:chgData name="Mark Grimes" userId="b58058b7-2ab8-4142-95e7-f7e306e81118" providerId="ADAL" clId="{7CE5461B-B108-456F-827A-374D3DF7E3CB}" dt="2017-12-15T23:37:37.917" v="3199" actId="1076"/>
          <ac:grpSpMkLst>
            <pc:docMk/>
            <pc:sldMk cId="195867771" sldId="1531"/>
            <ac:grpSpMk id="38" creationId="{2069ACE4-1E10-490C-BC56-139C8D497DBA}"/>
          </ac:grpSpMkLst>
        </pc:grpChg>
        <pc:grpChg chg="add del">
          <ac:chgData name="Mark Grimes" userId="b58058b7-2ab8-4142-95e7-f7e306e81118" providerId="ADAL" clId="{7CE5461B-B108-456F-827A-374D3DF7E3CB}" dt="2017-12-15T23:37:37.917" v="3199" actId="1076"/>
          <ac:grpSpMkLst>
            <pc:docMk/>
            <pc:sldMk cId="195867771" sldId="1531"/>
            <ac:grpSpMk id="43" creationId="{22CDD9B2-EC06-481C-AD8B-4C6CA5847F25}"/>
          </ac:grpSpMkLst>
        </pc:grpChg>
        <pc:grpChg chg="add del">
          <ac:chgData name="Mark Grimes" userId="b58058b7-2ab8-4142-95e7-f7e306e81118" providerId="ADAL" clId="{7CE5461B-B108-456F-827A-374D3DF7E3CB}" dt="2017-12-15T23:37:37.917" v="3199" actId="1076"/>
          <ac:grpSpMkLst>
            <pc:docMk/>
            <pc:sldMk cId="195867771" sldId="1531"/>
            <ac:grpSpMk id="97" creationId="{A12E419A-E915-40AF-9FAB-AF4BB1E4914F}"/>
          </ac:grpSpMkLst>
        </pc:grpChg>
        <pc:grpChg chg="add del">
          <ac:chgData name="Mark Grimes" userId="b58058b7-2ab8-4142-95e7-f7e306e81118" providerId="ADAL" clId="{7CE5461B-B108-456F-827A-374D3DF7E3CB}" dt="2017-12-15T23:37:37.917" v="3199" actId="1076"/>
          <ac:grpSpMkLst>
            <pc:docMk/>
            <pc:sldMk cId="195867771" sldId="1531"/>
            <ac:grpSpMk id="139" creationId="{EF761FF4-B2E7-4AD6-A544-E6B74B7A721B}"/>
          </ac:grpSpMkLst>
        </pc:grpChg>
        <pc:grpChg chg="add del">
          <ac:chgData name="Mark Grimes" userId="b58058b7-2ab8-4142-95e7-f7e306e81118" providerId="ADAL" clId="{7CE5461B-B108-456F-827A-374D3DF7E3CB}" dt="2017-12-15T23:37:37.917" v="3199" actId="1076"/>
          <ac:grpSpMkLst>
            <pc:docMk/>
            <pc:sldMk cId="195867771" sldId="1531"/>
            <ac:grpSpMk id="142" creationId="{26C41B3B-E531-49F2-8293-0CD778BAF558}"/>
          </ac:grpSpMkLst>
        </pc:grpChg>
        <pc:grpChg chg="add del">
          <ac:chgData name="Mark Grimes" userId="b58058b7-2ab8-4142-95e7-f7e306e81118" providerId="ADAL" clId="{7CE5461B-B108-456F-827A-374D3DF7E3CB}" dt="2017-12-15T23:37:37.917" v="3199" actId="1076"/>
          <ac:grpSpMkLst>
            <pc:docMk/>
            <pc:sldMk cId="195867771" sldId="1531"/>
            <ac:grpSpMk id="145" creationId="{7FA0C923-8D4F-4665-92AF-E31237233516}"/>
          </ac:grpSpMkLst>
        </pc:grpChg>
        <pc:grpChg chg="add del">
          <ac:chgData name="Mark Grimes" userId="b58058b7-2ab8-4142-95e7-f7e306e81118" providerId="ADAL" clId="{7CE5461B-B108-456F-827A-374D3DF7E3CB}" dt="2017-12-15T23:37:37.917" v="3199" actId="1076"/>
          <ac:grpSpMkLst>
            <pc:docMk/>
            <pc:sldMk cId="195867771" sldId="1531"/>
            <ac:grpSpMk id="148" creationId="{77421FED-02C5-4928-A3A3-137D472C69D3}"/>
          </ac:grpSpMkLst>
        </pc:grpChg>
        <pc:grpChg chg="add del">
          <ac:chgData name="Mark Grimes" userId="b58058b7-2ab8-4142-95e7-f7e306e81118" providerId="ADAL" clId="{7CE5461B-B108-456F-827A-374D3DF7E3CB}" dt="2017-12-15T23:37:37.917" v="3199" actId="1076"/>
          <ac:grpSpMkLst>
            <pc:docMk/>
            <pc:sldMk cId="195867771" sldId="1531"/>
            <ac:grpSpMk id="151" creationId="{3F8803F2-298C-4A07-A412-44036FBABE58}"/>
          </ac:grpSpMkLst>
        </pc:grpChg>
        <pc:grpChg chg="add">
          <ac:chgData name="Mark Grimes" userId="b58058b7-2ab8-4142-95e7-f7e306e81118" providerId="ADAL" clId="{7CE5461B-B108-456F-827A-374D3DF7E3CB}" dt="2017-12-15T23:37:40.216" v="3200" actId="1076"/>
          <ac:grpSpMkLst>
            <pc:docMk/>
            <pc:sldMk cId="195867771" sldId="1531"/>
            <ac:grpSpMk id="157" creationId="{3B70079B-43E4-46F1-A351-6D5FFC5AA415}"/>
          </ac:grpSpMkLst>
        </pc:grpChg>
        <pc:grpChg chg="add">
          <ac:chgData name="Mark Grimes" userId="b58058b7-2ab8-4142-95e7-f7e306e81118" providerId="ADAL" clId="{7CE5461B-B108-456F-827A-374D3DF7E3CB}" dt="2017-12-15T23:37:40.216" v="3200" actId="1076"/>
          <ac:grpSpMkLst>
            <pc:docMk/>
            <pc:sldMk cId="195867771" sldId="1531"/>
            <ac:grpSpMk id="181" creationId="{A4D2BC8A-652F-47BB-B281-B3EFD17729B0}"/>
          </ac:grpSpMkLst>
        </pc:grpChg>
        <pc:grpChg chg="add">
          <ac:chgData name="Mark Grimes" userId="b58058b7-2ab8-4142-95e7-f7e306e81118" providerId="ADAL" clId="{7CE5461B-B108-456F-827A-374D3DF7E3CB}" dt="2017-12-15T23:37:40.216" v="3200" actId="1076"/>
          <ac:grpSpMkLst>
            <pc:docMk/>
            <pc:sldMk cId="195867771" sldId="1531"/>
            <ac:grpSpMk id="186" creationId="{EFE50D8A-CB93-47EA-8664-5E47BB67143C}"/>
          </ac:grpSpMkLst>
        </pc:grpChg>
        <pc:grpChg chg="add">
          <ac:chgData name="Mark Grimes" userId="b58058b7-2ab8-4142-95e7-f7e306e81118" providerId="ADAL" clId="{7CE5461B-B108-456F-827A-374D3DF7E3CB}" dt="2017-12-15T23:37:40.216" v="3200" actId="1076"/>
          <ac:grpSpMkLst>
            <pc:docMk/>
            <pc:sldMk cId="195867771" sldId="1531"/>
            <ac:grpSpMk id="240" creationId="{83EC481A-9CEC-4171-8DC7-D35A5F134F75}"/>
          </ac:grpSpMkLst>
        </pc:grpChg>
        <pc:grpChg chg="add">
          <ac:chgData name="Mark Grimes" userId="b58058b7-2ab8-4142-95e7-f7e306e81118" providerId="ADAL" clId="{7CE5461B-B108-456F-827A-374D3DF7E3CB}" dt="2017-12-15T23:37:40.216" v="3200" actId="1076"/>
          <ac:grpSpMkLst>
            <pc:docMk/>
            <pc:sldMk cId="195867771" sldId="1531"/>
            <ac:grpSpMk id="282" creationId="{CE211E54-7D64-4EA6-8DBD-DFB101F801AF}"/>
          </ac:grpSpMkLst>
        </pc:grpChg>
        <pc:grpChg chg="add">
          <ac:chgData name="Mark Grimes" userId="b58058b7-2ab8-4142-95e7-f7e306e81118" providerId="ADAL" clId="{7CE5461B-B108-456F-827A-374D3DF7E3CB}" dt="2017-12-15T23:37:40.216" v="3200" actId="1076"/>
          <ac:grpSpMkLst>
            <pc:docMk/>
            <pc:sldMk cId="195867771" sldId="1531"/>
            <ac:grpSpMk id="285" creationId="{23DA9877-4DC8-4533-BF70-2DE46F364AB0}"/>
          </ac:grpSpMkLst>
        </pc:grpChg>
        <pc:grpChg chg="add">
          <ac:chgData name="Mark Grimes" userId="b58058b7-2ab8-4142-95e7-f7e306e81118" providerId="ADAL" clId="{7CE5461B-B108-456F-827A-374D3DF7E3CB}" dt="2017-12-15T23:37:40.216" v="3200" actId="1076"/>
          <ac:grpSpMkLst>
            <pc:docMk/>
            <pc:sldMk cId="195867771" sldId="1531"/>
            <ac:grpSpMk id="288" creationId="{E48C09B6-4ACA-4385-99C0-B42B2801948A}"/>
          </ac:grpSpMkLst>
        </pc:grpChg>
        <pc:grpChg chg="add">
          <ac:chgData name="Mark Grimes" userId="b58058b7-2ab8-4142-95e7-f7e306e81118" providerId="ADAL" clId="{7CE5461B-B108-456F-827A-374D3DF7E3CB}" dt="2017-12-15T23:37:40.216" v="3200" actId="1076"/>
          <ac:grpSpMkLst>
            <pc:docMk/>
            <pc:sldMk cId="195867771" sldId="1531"/>
            <ac:grpSpMk id="291" creationId="{955648AD-2C99-4C07-A92B-4166D44EAD5B}"/>
          </ac:grpSpMkLst>
        </pc:grpChg>
        <pc:grpChg chg="add">
          <ac:chgData name="Mark Grimes" userId="b58058b7-2ab8-4142-95e7-f7e306e81118" providerId="ADAL" clId="{7CE5461B-B108-456F-827A-374D3DF7E3CB}" dt="2017-12-15T23:37:40.216" v="3200" actId="1076"/>
          <ac:grpSpMkLst>
            <pc:docMk/>
            <pc:sldMk cId="195867771" sldId="1531"/>
            <ac:grpSpMk id="294" creationId="{EDC2E1BE-5092-4533-BE3E-B3F3DAA53887}"/>
          </ac:grpSpMkLst>
        </pc:grpChg>
        <pc:graphicFrameChg chg="add del">
          <ac:chgData name="Mark Grimes" userId="b58058b7-2ab8-4142-95e7-f7e306e81118" providerId="ADAL" clId="{7CE5461B-B108-456F-827A-374D3DF7E3CB}" dt="2017-12-15T23:37:37.917" v="3199" actId="1076"/>
          <ac:graphicFrameMkLst>
            <pc:docMk/>
            <pc:sldMk cId="195867771" sldId="1531"/>
            <ac:graphicFrameMk id="41" creationId="{DF7FEBED-7A68-44E4-B21A-4129A7D52B4E}"/>
          </ac:graphicFrameMkLst>
        </pc:graphicFrameChg>
        <pc:graphicFrameChg chg="add">
          <ac:chgData name="Mark Grimes" userId="b58058b7-2ab8-4142-95e7-f7e306e81118" providerId="ADAL" clId="{7CE5461B-B108-456F-827A-374D3DF7E3CB}" dt="2017-12-15T23:37:40.216" v="3200" actId="1076"/>
          <ac:graphicFrameMkLst>
            <pc:docMk/>
            <pc:sldMk cId="195867771" sldId="1531"/>
            <ac:graphicFrameMk id="184" creationId="{5CF1092D-4781-4254-8103-017051ACC7F8}"/>
          </ac:graphicFrameMkLst>
        </pc:graphicFrameChg>
        <pc:picChg chg="del">
          <ac:chgData name="Mark Grimes" userId="b58058b7-2ab8-4142-95e7-f7e306e81118" providerId="ADAL" clId="{7CE5461B-B108-456F-827A-374D3DF7E3CB}" dt="2017-12-15T23:37:26.795" v="3196" actId="478"/>
          <ac:picMkLst>
            <pc:docMk/>
            <pc:sldMk cId="195867771" sldId="1531"/>
            <ac:picMk id="2" creationId="{6864B575-645D-44F7-A07C-6C57AC8E814B}"/>
          </ac:picMkLst>
        </pc:picChg>
        <pc:picChg chg="add del">
          <ac:chgData name="Mark Grimes" userId="b58058b7-2ab8-4142-95e7-f7e306e81118" providerId="ADAL" clId="{7CE5461B-B108-456F-827A-374D3DF7E3CB}" dt="2017-12-15T23:37:37.917" v="3199" actId="1076"/>
          <ac:picMkLst>
            <pc:docMk/>
            <pc:sldMk cId="195867771" sldId="1531"/>
            <ac:picMk id="154" creationId="{FD4F256A-D558-4439-A357-8DB2723E8986}"/>
          </ac:picMkLst>
        </pc:picChg>
        <pc:picChg chg="add">
          <ac:chgData name="Mark Grimes" userId="b58058b7-2ab8-4142-95e7-f7e306e81118" providerId="ADAL" clId="{7CE5461B-B108-456F-827A-374D3DF7E3CB}" dt="2017-12-15T23:37:40.216" v="3200" actId="1076"/>
          <ac:picMkLst>
            <pc:docMk/>
            <pc:sldMk cId="195867771" sldId="1531"/>
            <ac:picMk id="297" creationId="{90C4BF66-43C7-475C-9164-94CE65AE8700}"/>
          </ac:picMkLst>
        </pc:picChg>
      </pc:sldChg>
      <pc:sldChg chg="addSp delSp modSp add delAnim modNotesTx">
        <pc:chgData name="Mark Grimes" userId="b58058b7-2ab8-4142-95e7-f7e306e81118" providerId="ADAL" clId="{7CE5461B-B108-456F-827A-374D3DF7E3CB}" dt="2017-12-18T17:34:01.809" v="8510" actId="403"/>
        <pc:sldMkLst>
          <pc:docMk/>
          <pc:sldMk cId="1436511325" sldId="1532"/>
        </pc:sldMkLst>
        <pc:spChg chg="add del mod">
          <ac:chgData name="Mark Grimes" userId="b58058b7-2ab8-4142-95e7-f7e306e81118" providerId="ADAL" clId="{7CE5461B-B108-456F-827A-374D3DF7E3CB}" dt="2017-12-15T23:49:33.551" v="3211" actId="478"/>
          <ac:spMkLst>
            <pc:docMk/>
            <pc:sldMk cId="1436511325" sldId="1532"/>
            <ac:spMk id="3" creationId="{A59FBD48-F154-41F0-8AFF-7C8F432EB3D4}"/>
          </ac:spMkLst>
        </pc:spChg>
        <pc:spChg chg="del">
          <ac:chgData name="Mark Grimes" userId="b58058b7-2ab8-4142-95e7-f7e306e81118" providerId="ADAL" clId="{7CE5461B-B108-456F-827A-374D3DF7E3CB}" dt="2017-12-15T23:49:32.158" v="3210" actId="478"/>
          <ac:spMkLst>
            <pc:docMk/>
            <pc:sldMk cId="1436511325" sldId="1532"/>
            <ac:spMk id="9" creationId="{44AD4C8E-5CF2-4E70-BEDF-56E0B712E16A}"/>
          </ac:spMkLst>
        </pc:spChg>
        <pc:spChg chg="del">
          <ac:chgData name="Mark Grimes" userId="b58058b7-2ab8-4142-95e7-f7e306e81118" providerId="ADAL" clId="{7CE5461B-B108-456F-827A-374D3DF7E3CB}" dt="2017-12-15T23:49:32.158" v="3210" actId="478"/>
          <ac:spMkLst>
            <pc:docMk/>
            <pc:sldMk cId="1436511325" sldId="1532"/>
            <ac:spMk id="10" creationId="{C0CD5C56-FDB3-46A7-9D5F-D1E971044225}"/>
          </ac:spMkLst>
        </pc:spChg>
        <pc:spChg chg="del">
          <ac:chgData name="Mark Grimes" userId="b58058b7-2ab8-4142-95e7-f7e306e81118" providerId="ADAL" clId="{7CE5461B-B108-456F-827A-374D3DF7E3CB}" dt="2017-12-15T23:49:32.158" v="3210" actId="478"/>
          <ac:spMkLst>
            <pc:docMk/>
            <pc:sldMk cId="1436511325" sldId="1532"/>
            <ac:spMk id="11" creationId="{027C0B65-FE7F-4EDB-9112-848C2B3E5986}"/>
          </ac:spMkLst>
        </pc:spChg>
        <pc:spChg chg="del">
          <ac:chgData name="Mark Grimes" userId="b58058b7-2ab8-4142-95e7-f7e306e81118" providerId="ADAL" clId="{7CE5461B-B108-456F-827A-374D3DF7E3CB}" dt="2017-12-15T23:49:32.158" v="3210" actId="478"/>
          <ac:spMkLst>
            <pc:docMk/>
            <pc:sldMk cId="1436511325" sldId="1532"/>
            <ac:spMk id="14" creationId="{FB208961-0E87-42A2-92B2-EF93B1129358}"/>
          </ac:spMkLst>
        </pc:spChg>
        <pc:spChg chg="del">
          <ac:chgData name="Mark Grimes" userId="b58058b7-2ab8-4142-95e7-f7e306e81118" providerId="ADAL" clId="{7CE5461B-B108-456F-827A-374D3DF7E3CB}" dt="2017-12-15T23:49:32.158" v="3210" actId="478"/>
          <ac:spMkLst>
            <pc:docMk/>
            <pc:sldMk cId="1436511325" sldId="1532"/>
            <ac:spMk id="61" creationId="{1B00D486-3BCF-47D9-891E-02A4F5646697}"/>
          </ac:spMkLst>
        </pc:spChg>
        <pc:spChg chg="del">
          <ac:chgData name="Mark Grimes" userId="b58058b7-2ab8-4142-95e7-f7e306e81118" providerId="ADAL" clId="{7CE5461B-B108-456F-827A-374D3DF7E3CB}" dt="2017-12-15T23:49:32.158" v="3210" actId="478"/>
          <ac:spMkLst>
            <pc:docMk/>
            <pc:sldMk cId="1436511325" sldId="1532"/>
            <ac:spMk id="63" creationId="{D2328FC9-2513-40AE-8D02-5390D13332CE}"/>
          </ac:spMkLst>
        </pc:spChg>
        <pc:spChg chg="del">
          <ac:chgData name="Mark Grimes" userId="b58058b7-2ab8-4142-95e7-f7e306e81118" providerId="ADAL" clId="{7CE5461B-B108-456F-827A-374D3DF7E3CB}" dt="2017-12-15T23:49:32.158" v="3210" actId="478"/>
          <ac:spMkLst>
            <pc:docMk/>
            <pc:sldMk cId="1436511325" sldId="1532"/>
            <ac:spMk id="71" creationId="{87F8F429-8E20-4412-A510-E1D9D32E49C0}"/>
          </ac:spMkLst>
        </pc:spChg>
        <pc:spChg chg="del">
          <ac:chgData name="Mark Grimes" userId="b58058b7-2ab8-4142-95e7-f7e306e81118" providerId="ADAL" clId="{7CE5461B-B108-456F-827A-374D3DF7E3CB}" dt="2017-12-15T23:49:32.158" v="3210" actId="478"/>
          <ac:spMkLst>
            <pc:docMk/>
            <pc:sldMk cId="1436511325" sldId="1532"/>
            <ac:spMk id="72" creationId="{DFB74E0A-18CA-4AEF-B1D3-A219F957FDAB}"/>
          </ac:spMkLst>
        </pc:spChg>
        <pc:spChg chg="del">
          <ac:chgData name="Mark Grimes" userId="b58058b7-2ab8-4142-95e7-f7e306e81118" providerId="ADAL" clId="{7CE5461B-B108-456F-827A-374D3DF7E3CB}" dt="2017-12-15T23:49:32.158" v="3210" actId="478"/>
          <ac:spMkLst>
            <pc:docMk/>
            <pc:sldMk cId="1436511325" sldId="1532"/>
            <ac:spMk id="76" creationId="{F823F2BF-A6DC-4D82-B27E-2580F4761B70}"/>
          </ac:spMkLst>
        </pc:spChg>
        <pc:spChg chg="add">
          <ac:chgData name="Mark Grimes" userId="b58058b7-2ab8-4142-95e7-f7e306e81118" providerId="ADAL" clId="{7CE5461B-B108-456F-827A-374D3DF7E3CB}" dt="2017-12-15T23:49:51.238" v="3213" actId="5793"/>
          <ac:spMkLst>
            <pc:docMk/>
            <pc:sldMk cId="1436511325" sldId="1532"/>
            <ac:spMk id="77" creationId="{E1E75101-5119-40CC-8FA7-179A89C7E4EB}"/>
          </ac:spMkLst>
        </pc:spChg>
        <pc:spChg chg="add mod">
          <ac:chgData name="Mark Grimes" userId="b58058b7-2ab8-4142-95e7-f7e306e81118" providerId="ADAL" clId="{7CE5461B-B108-456F-827A-374D3DF7E3CB}" dt="2017-12-18T17:34:01.809" v="8510" actId="403"/>
          <ac:spMkLst>
            <pc:docMk/>
            <pc:sldMk cId="1436511325" sldId="1532"/>
            <ac:spMk id="78" creationId="{43276C70-5849-40CC-8AAC-5570BF4AA896}"/>
          </ac:spMkLst>
        </pc:spChg>
        <pc:grpChg chg="del">
          <ac:chgData name="Mark Grimes" userId="b58058b7-2ab8-4142-95e7-f7e306e81118" providerId="ADAL" clId="{7CE5461B-B108-456F-827A-374D3DF7E3CB}" dt="2017-12-15T23:49:32.158" v="3210" actId="478"/>
          <ac:grpSpMkLst>
            <pc:docMk/>
            <pc:sldMk cId="1436511325" sldId="1532"/>
            <ac:grpSpMk id="15" creationId="{4177994F-3823-4BB3-82AF-D2B13335EC8A}"/>
          </ac:grpSpMkLst>
        </pc:grpChg>
        <pc:grpChg chg="del">
          <ac:chgData name="Mark Grimes" userId="b58058b7-2ab8-4142-95e7-f7e306e81118" providerId="ADAL" clId="{7CE5461B-B108-456F-827A-374D3DF7E3CB}" dt="2017-12-15T23:49:32.158" v="3210" actId="478"/>
          <ac:grpSpMkLst>
            <pc:docMk/>
            <pc:sldMk cId="1436511325" sldId="1532"/>
            <ac:grpSpMk id="20" creationId="{5263F623-A800-4F71-8C5B-782E7F828E3A}"/>
          </ac:grpSpMkLst>
        </pc:grpChg>
        <pc:grpChg chg="del">
          <ac:chgData name="Mark Grimes" userId="b58058b7-2ab8-4142-95e7-f7e306e81118" providerId="ADAL" clId="{7CE5461B-B108-456F-827A-374D3DF7E3CB}" dt="2017-12-15T23:49:32.158" v="3210" actId="478"/>
          <ac:grpSpMkLst>
            <pc:docMk/>
            <pc:sldMk cId="1436511325" sldId="1532"/>
            <ac:grpSpMk id="53" creationId="{8E9699DC-8644-4124-A326-CBF79A49A77F}"/>
          </ac:grpSpMkLst>
        </pc:grpChg>
        <pc:grpChg chg="del">
          <ac:chgData name="Mark Grimes" userId="b58058b7-2ab8-4142-95e7-f7e306e81118" providerId="ADAL" clId="{7CE5461B-B108-456F-827A-374D3DF7E3CB}" dt="2017-12-15T23:49:32.158" v="3210" actId="478"/>
          <ac:grpSpMkLst>
            <pc:docMk/>
            <pc:sldMk cId="1436511325" sldId="1532"/>
            <ac:grpSpMk id="58" creationId="{232B4F6F-6907-4013-BF36-0AAA8805D839}"/>
          </ac:grpSpMkLst>
        </pc:grpChg>
        <pc:grpChg chg="del">
          <ac:chgData name="Mark Grimes" userId="b58058b7-2ab8-4142-95e7-f7e306e81118" providerId="ADAL" clId="{7CE5461B-B108-456F-827A-374D3DF7E3CB}" dt="2017-12-15T23:49:32.158" v="3210" actId="478"/>
          <ac:grpSpMkLst>
            <pc:docMk/>
            <pc:sldMk cId="1436511325" sldId="1532"/>
            <ac:grpSpMk id="64" creationId="{78C049C2-8154-455C-8DCC-127F4D305AEF}"/>
          </ac:grpSpMkLst>
        </pc:grpChg>
        <pc:grpChg chg="del">
          <ac:chgData name="Mark Grimes" userId="b58058b7-2ab8-4142-95e7-f7e306e81118" providerId="ADAL" clId="{7CE5461B-B108-456F-827A-374D3DF7E3CB}" dt="2017-12-15T23:49:32.158" v="3210" actId="478"/>
          <ac:grpSpMkLst>
            <pc:docMk/>
            <pc:sldMk cId="1436511325" sldId="1532"/>
            <ac:grpSpMk id="67" creationId="{1449E7D3-402F-404C-8617-77C87B1F308B}"/>
          </ac:grpSpMkLst>
        </pc:grpChg>
        <pc:grpChg chg="del">
          <ac:chgData name="Mark Grimes" userId="b58058b7-2ab8-4142-95e7-f7e306e81118" providerId="ADAL" clId="{7CE5461B-B108-456F-827A-374D3DF7E3CB}" dt="2017-12-15T23:49:32.158" v="3210" actId="478"/>
          <ac:grpSpMkLst>
            <pc:docMk/>
            <pc:sldMk cId="1436511325" sldId="1532"/>
            <ac:grpSpMk id="73" creationId="{9BFA23DC-3A33-4DD7-B9BA-DEC0A1D2E2EA}"/>
          </ac:grpSpMkLst>
        </pc:grpChg>
        <pc:cxnChg chg="del">
          <ac:chgData name="Mark Grimes" userId="b58058b7-2ab8-4142-95e7-f7e306e81118" providerId="ADAL" clId="{7CE5461B-B108-456F-827A-374D3DF7E3CB}" dt="2017-12-15T23:49:32.158" v="3210" actId="478"/>
          <ac:cxnSpMkLst>
            <pc:docMk/>
            <pc:sldMk cId="1436511325" sldId="1532"/>
            <ac:cxnSpMk id="12" creationId="{AF412932-67CE-4FDE-9758-0CC61C8B53F4}"/>
          </ac:cxnSpMkLst>
        </pc:cxnChg>
        <pc:cxnChg chg="del">
          <ac:chgData name="Mark Grimes" userId="b58058b7-2ab8-4142-95e7-f7e306e81118" providerId="ADAL" clId="{7CE5461B-B108-456F-827A-374D3DF7E3CB}" dt="2017-12-15T23:49:32.158" v="3210" actId="478"/>
          <ac:cxnSpMkLst>
            <pc:docMk/>
            <pc:sldMk cId="1436511325" sldId="1532"/>
            <ac:cxnSpMk id="13" creationId="{9A0FC66C-6739-4806-BF9D-2103B31E3168}"/>
          </ac:cxnSpMkLst>
        </pc:cxnChg>
        <pc:cxnChg chg="del">
          <ac:chgData name="Mark Grimes" userId="b58058b7-2ab8-4142-95e7-f7e306e81118" providerId="ADAL" clId="{7CE5461B-B108-456F-827A-374D3DF7E3CB}" dt="2017-12-15T23:49:32.158" v="3210" actId="478"/>
          <ac:cxnSpMkLst>
            <pc:docMk/>
            <pc:sldMk cId="1436511325" sldId="1532"/>
            <ac:cxnSpMk id="62" creationId="{48AE73B2-10FA-4E96-855D-E9DBE323EB4A}"/>
          </ac:cxnSpMkLst>
        </pc:cxnChg>
        <pc:cxnChg chg="del">
          <ac:chgData name="Mark Grimes" userId="b58058b7-2ab8-4142-95e7-f7e306e81118" providerId="ADAL" clId="{7CE5461B-B108-456F-827A-374D3DF7E3CB}" dt="2017-12-15T23:49:32.158" v="3210" actId="478"/>
          <ac:cxnSpMkLst>
            <pc:docMk/>
            <pc:sldMk cId="1436511325" sldId="1532"/>
            <ac:cxnSpMk id="70" creationId="{F4AE5D65-692C-4070-BF86-D2EB0404B4AA}"/>
          </ac:cxnSpMkLst>
        </pc:cxnChg>
      </pc:sldChg>
      <pc:sldChg chg="addSp delSp modSp add addAnim delAnim modNotesTx">
        <pc:chgData name="Mark Grimes" userId="b58058b7-2ab8-4142-95e7-f7e306e81118" providerId="ADAL" clId="{7CE5461B-B108-456F-827A-374D3DF7E3CB}" dt="2017-12-15T23:57:58.714" v="3437" actId="20577"/>
        <pc:sldMkLst>
          <pc:docMk/>
          <pc:sldMk cId="2500614700" sldId="1533"/>
        </pc:sldMkLst>
        <pc:spChg chg="mod">
          <ac:chgData name="Mark Grimes" userId="b58058b7-2ab8-4142-95e7-f7e306e81118" providerId="ADAL" clId="{7CE5461B-B108-456F-827A-374D3DF7E3CB}" dt="2017-12-15T23:54:03.593" v="3356" actId="20577"/>
          <ac:spMkLst>
            <pc:docMk/>
            <pc:sldMk cId="2500614700" sldId="1533"/>
            <ac:spMk id="7" creationId="{2D3B8383-726A-42A3-A84B-5EF20664CCB8}"/>
          </ac:spMkLst>
        </pc:spChg>
        <pc:spChg chg="mod">
          <ac:chgData name="Mark Grimes" userId="b58058b7-2ab8-4142-95e7-f7e306e81118" providerId="ADAL" clId="{7CE5461B-B108-456F-827A-374D3DF7E3CB}" dt="2017-12-15T23:57:16.823" v="3414" actId="1076"/>
          <ac:spMkLst>
            <pc:docMk/>
            <pc:sldMk cId="2500614700" sldId="1533"/>
            <ac:spMk id="8" creationId="{8705311F-AF95-4C61-AE3F-82EF41E597D4}"/>
          </ac:spMkLst>
        </pc:spChg>
        <pc:spChg chg="del">
          <ac:chgData name="Mark Grimes" userId="b58058b7-2ab8-4142-95e7-f7e306e81118" providerId="ADAL" clId="{7CE5461B-B108-456F-827A-374D3DF7E3CB}" dt="2017-12-15T23:57:10.987" v="3413" actId="478"/>
          <ac:spMkLst>
            <pc:docMk/>
            <pc:sldMk cId="2500614700" sldId="1533"/>
            <ac:spMk id="9" creationId="{0C1901BC-B442-475F-A3CB-4A99D3E3E212}"/>
          </ac:spMkLst>
        </pc:spChg>
        <pc:spChg chg="del">
          <ac:chgData name="Mark Grimes" userId="b58058b7-2ab8-4142-95e7-f7e306e81118" providerId="ADAL" clId="{7CE5461B-B108-456F-827A-374D3DF7E3CB}" dt="2017-12-15T23:57:10.987" v="3413" actId="478"/>
          <ac:spMkLst>
            <pc:docMk/>
            <pc:sldMk cId="2500614700" sldId="1533"/>
            <ac:spMk id="10" creationId="{43297747-6C9C-4C35-AAAC-B495924A8D26}"/>
          </ac:spMkLst>
        </pc:spChg>
        <pc:spChg chg="del">
          <ac:chgData name="Mark Grimes" userId="b58058b7-2ab8-4142-95e7-f7e306e81118" providerId="ADAL" clId="{7CE5461B-B108-456F-827A-374D3DF7E3CB}" dt="2017-12-15T23:57:10.987" v="3413" actId="478"/>
          <ac:spMkLst>
            <pc:docMk/>
            <pc:sldMk cId="2500614700" sldId="1533"/>
            <ac:spMk id="11" creationId="{CBCD887A-1755-47C5-8B42-BAC4954204DD}"/>
          </ac:spMkLst>
        </pc:spChg>
        <pc:spChg chg="del">
          <ac:chgData name="Mark Grimes" userId="b58058b7-2ab8-4142-95e7-f7e306e81118" providerId="ADAL" clId="{7CE5461B-B108-456F-827A-374D3DF7E3CB}" dt="2017-12-15T23:56:39.999" v="3406" actId="478"/>
          <ac:spMkLst>
            <pc:docMk/>
            <pc:sldMk cId="2500614700" sldId="1533"/>
            <ac:spMk id="12" creationId="{B9089BB5-A928-4F3A-8273-B360A69833AC}"/>
          </ac:spMkLst>
        </pc:spChg>
        <pc:spChg chg="del">
          <ac:chgData name="Mark Grimes" userId="b58058b7-2ab8-4142-95e7-f7e306e81118" providerId="ADAL" clId="{7CE5461B-B108-456F-827A-374D3DF7E3CB}" dt="2017-12-15T23:56:33.544" v="3405" actId="478"/>
          <ac:spMkLst>
            <pc:docMk/>
            <pc:sldMk cId="2500614700" sldId="1533"/>
            <ac:spMk id="20" creationId="{F33B42EC-66AB-45D2-B515-9CEDF2B9BF63}"/>
          </ac:spMkLst>
        </pc:spChg>
        <pc:spChg chg="mod">
          <ac:chgData name="Mark Grimes" userId="b58058b7-2ab8-4142-95e7-f7e306e81118" providerId="ADAL" clId="{7CE5461B-B108-456F-827A-374D3DF7E3CB}" dt="2017-12-15T23:57:58.714" v="3437" actId="20577"/>
          <ac:spMkLst>
            <pc:docMk/>
            <pc:sldMk cId="2500614700" sldId="1533"/>
            <ac:spMk id="38" creationId="{24660A59-2E08-4E44-A27B-803DEF6AD262}"/>
          </ac:spMkLst>
        </pc:spChg>
        <pc:spChg chg="del">
          <ac:chgData name="Mark Grimes" userId="b58058b7-2ab8-4142-95e7-f7e306e81118" providerId="ADAL" clId="{7CE5461B-B108-456F-827A-374D3DF7E3CB}" dt="2017-12-15T23:57:10.987" v="3413" actId="478"/>
          <ac:spMkLst>
            <pc:docMk/>
            <pc:sldMk cId="2500614700" sldId="1533"/>
            <ac:spMk id="46" creationId="{BA97C2C2-AA32-4C34-B251-912213437CAD}"/>
          </ac:spMkLst>
        </pc:spChg>
        <pc:spChg chg="del">
          <ac:chgData name="Mark Grimes" userId="b58058b7-2ab8-4142-95e7-f7e306e81118" providerId="ADAL" clId="{7CE5461B-B108-456F-827A-374D3DF7E3CB}" dt="2017-12-15T23:57:10.987" v="3413" actId="478"/>
          <ac:spMkLst>
            <pc:docMk/>
            <pc:sldMk cId="2500614700" sldId="1533"/>
            <ac:spMk id="55" creationId="{854565F5-56CA-49DB-9C2E-A168C2E9C85E}"/>
          </ac:spMkLst>
        </pc:spChg>
        <pc:grpChg chg="del">
          <ac:chgData name="Mark Grimes" userId="b58058b7-2ab8-4142-95e7-f7e306e81118" providerId="ADAL" clId="{7CE5461B-B108-456F-827A-374D3DF7E3CB}" dt="2017-12-15T23:56:42.571" v="3407" actId="478"/>
          <ac:grpSpMkLst>
            <pc:docMk/>
            <pc:sldMk cId="2500614700" sldId="1533"/>
            <ac:grpSpMk id="13" creationId="{118E3EA5-BA8F-436E-A11B-39B681BCBC25}"/>
          </ac:grpSpMkLst>
        </pc:grpChg>
        <pc:grpChg chg="del">
          <ac:chgData name="Mark Grimes" userId="b58058b7-2ab8-4142-95e7-f7e306e81118" providerId="ADAL" clId="{7CE5461B-B108-456F-827A-374D3DF7E3CB}" dt="2017-12-15T23:54:27.671" v="3357" actId="478"/>
          <ac:grpSpMkLst>
            <pc:docMk/>
            <pc:sldMk cId="2500614700" sldId="1533"/>
            <ac:grpSpMk id="22" creationId="{AB9253C3-AC2D-4900-B93D-CDE079C5F46F}"/>
          </ac:grpSpMkLst>
        </pc:grpChg>
        <pc:grpChg chg="del">
          <ac:chgData name="Mark Grimes" userId="b58058b7-2ab8-4142-95e7-f7e306e81118" providerId="ADAL" clId="{7CE5461B-B108-456F-827A-374D3DF7E3CB}" dt="2017-12-15T23:56:44.575" v="3408" actId="478"/>
          <ac:grpSpMkLst>
            <pc:docMk/>
            <pc:sldMk cId="2500614700" sldId="1533"/>
            <ac:grpSpMk id="25" creationId="{6EB9B7D9-B7EE-4BA8-9A12-E5643667773C}"/>
          </ac:grpSpMkLst>
        </pc:grpChg>
        <pc:grpChg chg="del">
          <ac:chgData name="Mark Grimes" userId="b58058b7-2ab8-4142-95e7-f7e306e81118" providerId="ADAL" clId="{7CE5461B-B108-456F-827A-374D3DF7E3CB}" dt="2017-12-15T23:57:10.987" v="3413" actId="478"/>
          <ac:grpSpMkLst>
            <pc:docMk/>
            <pc:sldMk cId="2500614700" sldId="1533"/>
            <ac:grpSpMk id="40" creationId="{9EFABA01-526F-442B-ABC1-4A2A05C62137}"/>
          </ac:grpSpMkLst>
        </pc:grpChg>
        <pc:grpChg chg="del">
          <ac:chgData name="Mark Grimes" userId="b58058b7-2ab8-4142-95e7-f7e306e81118" providerId="ADAL" clId="{7CE5461B-B108-456F-827A-374D3DF7E3CB}" dt="2017-12-15T23:57:10.987" v="3413" actId="478"/>
          <ac:grpSpMkLst>
            <pc:docMk/>
            <pc:sldMk cId="2500614700" sldId="1533"/>
            <ac:grpSpMk id="43" creationId="{D0C4C6EF-DA4B-4B77-BA84-C0847F162E2F}"/>
          </ac:grpSpMkLst>
        </pc:grpChg>
        <pc:grpChg chg="del">
          <ac:chgData name="Mark Grimes" userId="b58058b7-2ab8-4142-95e7-f7e306e81118" providerId="ADAL" clId="{7CE5461B-B108-456F-827A-374D3DF7E3CB}" dt="2017-12-15T23:57:10.987" v="3413" actId="478"/>
          <ac:grpSpMkLst>
            <pc:docMk/>
            <pc:sldMk cId="2500614700" sldId="1533"/>
            <ac:grpSpMk id="47" creationId="{3642B810-96CE-4446-8FFF-2907EE3C938E}"/>
          </ac:grpSpMkLst>
        </pc:grpChg>
        <pc:grpChg chg="del">
          <ac:chgData name="Mark Grimes" userId="b58058b7-2ab8-4142-95e7-f7e306e81118" providerId="ADAL" clId="{7CE5461B-B108-456F-827A-374D3DF7E3CB}" dt="2017-12-15T23:57:10.987" v="3413" actId="478"/>
          <ac:grpSpMkLst>
            <pc:docMk/>
            <pc:sldMk cId="2500614700" sldId="1533"/>
            <ac:grpSpMk id="52" creationId="{2039B2DA-975C-4574-9B4B-739FC70A8E3E}"/>
          </ac:grpSpMkLst>
        </pc:grpChg>
        <pc:grpChg chg="del">
          <ac:chgData name="Mark Grimes" userId="b58058b7-2ab8-4142-95e7-f7e306e81118" providerId="ADAL" clId="{7CE5461B-B108-456F-827A-374D3DF7E3CB}" dt="2017-12-15T23:56:47.679" v="3409" actId="478"/>
          <ac:grpSpMkLst>
            <pc:docMk/>
            <pc:sldMk cId="2500614700" sldId="1533"/>
            <ac:grpSpMk id="56" creationId="{3B75F394-121F-4ACB-A124-E126B6714457}"/>
          </ac:grpSpMkLst>
        </pc:grpChg>
        <pc:picChg chg="add mod">
          <ac:chgData name="Mark Grimes" userId="b58058b7-2ab8-4142-95e7-f7e306e81118" providerId="ADAL" clId="{7CE5461B-B108-456F-827A-374D3DF7E3CB}" dt="2017-12-15T23:57:31.842" v="3416" actId="14861"/>
          <ac:picMkLst>
            <pc:docMk/>
            <pc:sldMk cId="2500614700" sldId="1533"/>
            <ac:picMk id="2" creationId="{E5780344-3495-4AAA-98DF-25628762ED26}"/>
          </ac:picMkLst>
        </pc:picChg>
        <pc:picChg chg="add del">
          <ac:chgData name="Mark Grimes" userId="b58058b7-2ab8-4142-95e7-f7e306e81118" providerId="ADAL" clId="{7CE5461B-B108-456F-827A-374D3DF7E3CB}" dt="2017-12-15T23:56:31.120" v="3404" actId="478"/>
          <ac:picMkLst>
            <pc:docMk/>
            <pc:sldMk cId="2500614700" sldId="1533"/>
            <ac:picMk id="21" creationId="{FD6DB590-E1E2-43A3-B410-8F4698BA33FC}"/>
          </ac:picMkLst>
        </pc:picChg>
        <pc:cxnChg chg="del">
          <ac:chgData name="Mark Grimes" userId="b58058b7-2ab8-4142-95e7-f7e306e81118" providerId="ADAL" clId="{7CE5461B-B108-456F-827A-374D3DF7E3CB}" dt="2017-12-15T23:57:10.987" v="3413" actId="478"/>
          <ac:cxnSpMkLst>
            <pc:docMk/>
            <pc:sldMk cId="2500614700" sldId="1533"/>
            <ac:cxnSpMk id="39" creationId="{16303A7D-1E6D-4482-B37C-80219A579839}"/>
          </ac:cxnSpMkLst>
        </pc:cxnChg>
        <pc:cxnChg chg="del">
          <ac:chgData name="Mark Grimes" userId="b58058b7-2ab8-4142-95e7-f7e306e81118" providerId="ADAL" clId="{7CE5461B-B108-456F-827A-374D3DF7E3CB}" dt="2017-12-15T23:57:10.987" v="3413" actId="478"/>
          <ac:cxnSpMkLst>
            <pc:docMk/>
            <pc:sldMk cId="2500614700" sldId="1533"/>
            <ac:cxnSpMk id="50" creationId="{9840DBE1-FE45-44DF-B588-2547FAADB27B}"/>
          </ac:cxnSpMkLst>
        </pc:cxnChg>
        <pc:cxnChg chg="del">
          <ac:chgData name="Mark Grimes" userId="b58058b7-2ab8-4142-95e7-f7e306e81118" providerId="ADAL" clId="{7CE5461B-B108-456F-827A-374D3DF7E3CB}" dt="2017-12-15T23:57:10.987" v="3413" actId="478"/>
          <ac:cxnSpMkLst>
            <pc:docMk/>
            <pc:sldMk cId="2500614700" sldId="1533"/>
            <ac:cxnSpMk id="51" creationId="{C4E37A4E-2F73-4835-A680-18D139E6C5CB}"/>
          </ac:cxnSpMkLst>
        </pc:cxnChg>
      </pc:sldChg>
      <pc:sldChg chg="modSp add">
        <pc:chgData name="Mark Grimes" userId="b58058b7-2ab8-4142-95e7-f7e306e81118" providerId="ADAL" clId="{7CE5461B-B108-456F-827A-374D3DF7E3CB}" dt="2017-12-16T00:04:05.148" v="3980" actId="5793"/>
        <pc:sldMkLst>
          <pc:docMk/>
          <pc:sldMk cId="3891897535" sldId="1534"/>
        </pc:sldMkLst>
        <pc:spChg chg="mod">
          <ac:chgData name="Mark Grimes" userId="b58058b7-2ab8-4142-95e7-f7e306e81118" providerId="ADAL" clId="{7CE5461B-B108-456F-827A-374D3DF7E3CB}" dt="2017-12-16T00:00:21.911" v="3469" actId="20577"/>
          <ac:spMkLst>
            <pc:docMk/>
            <pc:sldMk cId="3891897535" sldId="1534"/>
            <ac:spMk id="4" creationId="{00000000-0000-0000-0000-000000000000}"/>
          </ac:spMkLst>
        </pc:spChg>
        <pc:spChg chg="mod">
          <ac:chgData name="Mark Grimes" userId="b58058b7-2ab8-4142-95e7-f7e306e81118" providerId="ADAL" clId="{7CE5461B-B108-456F-827A-374D3DF7E3CB}" dt="2017-12-16T00:04:05.148" v="3980" actId="5793"/>
          <ac:spMkLst>
            <pc:docMk/>
            <pc:sldMk cId="3891897535" sldId="1534"/>
            <ac:spMk id="5" creationId="{00000000-0000-0000-0000-000000000000}"/>
          </ac:spMkLst>
        </pc:spChg>
      </pc:sldChg>
      <pc:sldChg chg="addSp delSp modSp add modTransition modAnim modNotesTx">
        <pc:chgData name="Mark Grimes" userId="b58058b7-2ab8-4142-95e7-f7e306e81118" providerId="ADAL" clId="{7CE5461B-B108-456F-827A-374D3DF7E3CB}" dt="2017-12-18T14:14:51.190" v="7532" actId="20577"/>
        <pc:sldMkLst>
          <pc:docMk/>
          <pc:sldMk cId="3904865462" sldId="1535"/>
        </pc:sldMkLst>
        <pc:spChg chg="mod">
          <ac:chgData name="Mark Grimes" userId="b58058b7-2ab8-4142-95e7-f7e306e81118" providerId="ADAL" clId="{7CE5461B-B108-456F-827A-374D3DF7E3CB}" dt="2017-12-18T14:14:51.190" v="7532" actId="20577"/>
          <ac:spMkLst>
            <pc:docMk/>
            <pc:sldMk cId="3904865462" sldId="1535"/>
            <ac:spMk id="2" creationId="{00000000-0000-0000-0000-000000000000}"/>
          </ac:spMkLst>
        </pc:spChg>
        <pc:spChg chg="mod">
          <ac:chgData name="Mark Grimes" userId="b58058b7-2ab8-4142-95e7-f7e306e81118" providerId="ADAL" clId="{7CE5461B-B108-456F-827A-374D3DF7E3CB}" dt="2017-12-18T14:13:02.229" v="7426" actId="20577"/>
          <ac:spMkLst>
            <pc:docMk/>
            <pc:sldMk cId="3904865462" sldId="1535"/>
            <ac:spMk id="3" creationId="{00000000-0000-0000-0000-000000000000}"/>
          </ac:spMkLst>
        </pc:spChg>
        <pc:spChg chg="del">
          <ac:chgData name="Mark Grimes" userId="b58058b7-2ab8-4142-95e7-f7e306e81118" providerId="ADAL" clId="{7CE5461B-B108-456F-827A-374D3DF7E3CB}" dt="2017-12-18T14:13:11.249" v="7427" actId="478"/>
          <ac:spMkLst>
            <pc:docMk/>
            <pc:sldMk cId="3904865462" sldId="1535"/>
            <ac:spMk id="13" creationId="{07455FAB-3145-4449-BA5C-067DBDF448AE}"/>
          </ac:spMkLst>
        </pc:spChg>
        <pc:picChg chg="add mod">
          <ac:chgData name="Mark Grimes" userId="b58058b7-2ab8-4142-95e7-f7e306e81118" providerId="ADAL" clId="{7CE5461B-B108-456F-827A-374D3DF7E3CB}" dt="2017-12-18T14:03:31.227" v="5962" actId="1076"/>
          <ac:picMkLst>
            <pc:docMk/>
            <pc:sldMk cId="3904865462" sldId="1535"/>
            <ac:picMk id="4" creationId="{E693C2F5-9D20-4107-B945-25CD9CD8EEF7}"/>
          </ac:picMkLst>
        </pc:picChg>
        <pc:picChg chg="del">
          <ac:chgData name="Mark Grimes" userId="b58058b7-2ab8-4142-95e7-f7e306e81118" providerId="ADAL" clId="{7CE5461B-B108-456F-827A-374D3DF7E3CB}" dt="2017-12-18T14:03:20.115" v="5958" actId="478"/>
          <ac:picMkLst>
            <pc:docMk/>
            <pc:sldMk cId="3904865462" sldId="1535"/>
            <ac:picMk id="5" creationId="{CC437413-8529-4E60-A87F-515E2AB99726}"/>
          </ac:picMkLst>
        </pc:picChg>
        <pc:picChg chg="del">
          <ac:chgData name="Mark Grimes" userId="b58058b7-2ab8-4142-95e7-f7e306e81118" providerId="ADAL" clId="{7CE5461B-B108-456F-827A-374D3DF7E3CB}" dt="2017-12-18T14:03:15.756" v="5956" actId="478"/>
          <ac:picMkLst>
            <pc:docMk/>
            <pc:sldMk cId="3904865462" sldId="1535"/>
            <ac:picMk id="8" creationId="{EA8EFCEC-B05C-490E-A6A2-EA023F67AF2A}"/>
          </ac:picMkLst>
        </pc:picChg>
        <pc:picChg chg="del">
          <ac:chgData name="Mark Grimes" userId="b58058b7-2ab8-4142-95e7-f7e306e81118" providerId="ADAL" clId="{7CE5461B-B108-456F-827A-374D3DF7E3CB}" dt="2017-12-18T14:03:17.957" v="5957" actId="478"/>
          <ac:picMkLst>
            <pc:docMk/>
            <pc:sldMk cId="3904865462" sldId="1535"/>
            <ac:picMk id="10" creationId="{4CFF04EF-A171-4CDF-9C6C-12EAF942E7EC}"/>
          </ac:picMkLst>
        </pc:picChg>
      </pc:sldChg>
      <pc:sldChg chg="addSp delSp modSp add modAnim modNotesTx">
        <pc:chgData name="Mark Grimes" userId="b58058b7-2ab8-4142-95e7-f7e306e81118" providerId="ADAL" clId="{7CE5461B-B108-456F-827A-374D3DF7E3CB}" dt="2017-12-18T14:44:33.661" v="8362" actId="12"/>
        <pc:sldMkLst>
          <pc:docMk/>
          <pc:sldMk cId="4039897249" sldId="1536"/>
        </pc:sldMkLst>
        <pc:spChg chg="mod">
          <ac:chgData name="Mark Grimes" userId="b58058b7-2ab8-4142-95e7-f7e306e81118" providerId="ADAL" clId="{7CE5461B-B108-456F-827A-374D3DF7E3CB}" dt="2017-12-18T14:30:17.486" v="7589" actId="404"/>
          <ac:spMkLst>
            <pc:docMk/>
            <pc:sldMk cId="4039897249" sldId="1536"/>
            <ac:spMk id="2" creationId="{00000000-0000-0000-0000-000000000000}"/>
          </ac:spMkLst>
        </pc:spChg>
        <pc:spChg chg="mod">
          <ac:chgData name="Mark Grimes" userId="b58058b7-2ab8-4142-95e7-f7e306e81118" providerId="ADAL" clId="{7CE5461B-B108-456F-827A-374D3DF7E3CB}" dt="2017-12-18T14:43:03.066" v="8338" actId="20577"/>
          <ac:spMkLst>
            <pc:docMk/>
            <pc:sldMk cId="4039897249" sldId="1536"/>
            <ac:spMk id="3" creationId="{00000000-0000-0000-0000-000000000000}"/>
          </ac:spMkLst>
        </pc:spChg>
        <pc:spChg chg="mod">
          <ac:chgData name="Mark Grimes" userId="b58058b7-2ab8-4142-95e7-f7e306e81118" providerId="ADAL" clId="{7CE5461B-B108-456F-827A-374D3DF7E3CB}" dt="2017-12-18T14:31:27.536" v="7632" actId="20577"/>
          <ac:spMkLst>
            <pc:docMk/>
            <pc:sldMk cId="4039897249" sldId="1536"/>
            <ac:spMk id="13" creationId="{07455FAB-3145-4449-BA5C-067DBDF448AE}"/>
          </ac:spMkLst>
        </pc:spChg>
        <pc:picChg chg="del">
          <ac:chgData name="Mark Grimes" userId="b58058b7-2ab8-4142-95e7-f7e306e81118" providerId="ADAL" clId="{7CE5461B-B108-456F-827A-374D3DF7E3CB}" dt="2017-12-18T14:29:31.429" v="7534" actId="478"/>
          <ac:picMkLst>
            <pc:docMk/>
            <pc:sldMk cId="4039897249" sldId="1536"/>
            <ac:picMk id="4" creationId="{103EB85C-51B4-4287-AF8C-4B1D4689D0AD}"/>
          </ac:picMkLst>
        </pc:picChg>
        <pc:picChg chg="add mod">
          <ac:chgData name="Mark Grimes" userId="b58058b7-2ab8-4142-95e7-f7e306e81118" providerId="ADAL" clId="{7CE5461B-B108-456F-827A-374D3DF7E3CB}" dt="2017-12-18T14:43:46.332" v="8340" actId="1076"/>
          <ac:picMkLst>
            <pc:docMk/>
            <pc:sldMk cId="4039897249" sldId="1536"/>
            <ac:picMk id="5" creationId="{55F18B4C-5A8E-4767-800A-3C63CB35F641}"/>
          </ac:picMkLst>
        </pc:picChg>
      </pc:sldChg>
      <pc:sldChg chg="modSp add del modNotesTx">
        <pc:chgData name="Mark Grimes" userId="b58058b7-2ab8-4142-95e7-f7e306e81118" providerId="ADAL" clId="{7CE5461B-B108-456F-827A-374D3DF7E3CB}" dt="2017-12-18T17:27:42.503" v="8399" actId="2696"/>
        <pc:sldMkLst>
          <pc:docMk/>
          <pc:sldMk cId="583993755" sldId="1537"/>
        </pc:sldMkLst>
        <pc:spChg chg="mod">
          <ac:chgData name="Mark Grimes" userId="b58058b7-2ab8-4142-95e7-f7e306e81118" providerId="ADAL" clId="{7CE5461B-B108-456F-827A-374D3DF7E3CB}" dt="2017-12-18T17:27:25.834" v="8397" actId="2696"/>
          <ac:spMkLst>
            <pc:docMk/>
            <pc:sldMk cId="583993755" sldId="1537"/>
            <ac:spMk id="2" creationId="{00000000-0000-0000-0000-000000000000}"/>
          </ac:spMkLst>
        </pc:spChg>
        <pc:spChg chg="mod">
          <ac:chgData name="Mark Grimes" userId="b58058b7-2ab8-4142-95e7-f7e306e81118" providerId="ADAL" clId="{7CE5461B-B108-456F-827A-374D3DF7E3CB}" dt="2017-12-18T17:27:15.520" v="8396" actId="2696"/>
          <ac:spMkLst>
            <pc:docMk/>
            <pc:sldMk cId="583993755" sldId="1537"/>
            <ac:spMk id="3" creationId="{00000000-0000-0000-0000-000000000000}"/>
          </ac:spMkLst>
        </pc:spChg>
      </pc:sldChg>
      <pc:sldChg chg="add modNotesTx">
        <pc:chgData name="Mark Grimes" userId="b58058b7-2ab8-4142-95e7-f7e306e81118" providerId="ADAL" clId="{7CE5461B-B108-456F-827A-374D3DF7E3CB}" dt="2017-12-18T17:28:40.635" v="8502" actId="20577"/>
        <pc:sldMkLst>
          <pc:docMk/>
          <pc:sldMk cId="816542281" sldId="1537"/>
        </pc:sldMkLst>
      </pc:sldChg>
      <pc:sldChg chg="addSp delSp modSp add del">
        <pc:chgData name="Mark Grimes" userId="b58058b7-2ab8-4142-95e7-f7e306e81118" providerId="ADAL" clId="{7CE5461B-B108-456F-827A-374D3DF7E3CB}" dt="2017-12-18T17:30:48.255" v="8508" actId="2696"/>
        <pc:sldMkLst>
          <pc:docMk/>
          <pc:sldMk cId="538205903" sldId="1538"/>
        </pc:sldMkLst>
        <pc:spChg chg="del">
          <ac:chgData name="Mark Grimes" userId="b58058b7-2ab8-4142-95e7-f7e306e81118" providerId="ADAL" clId="{7CE5461B-B108-456F-827A-374D3DF7E3CB}" dt="2017-12-18T17:30:20.206" v="8506" actId="2696"/>
          <ac:spMkLst>
            <pc:docMk/>
            <pc:sldMk cId="538205903" sldId="1538"/>
            <ac:spMk id="2" creationId="{E71BD038-2E2E-4D21-BCF0-849171435F17}"/>
          </ac:spMkLst>
        </pc:spChg>
        <pc:spChg chg="add mod">
          <ac:chgData name="Mark Grimes" userId="b58058b7-2ab8-4142-95e7-f7e306e81118" providerId="ADAL" clId="{7CE5461B-B108-456F-827A-374D3DF7E3CB}" dt="2017-12-18T17:30:20.206" v="8506" actId="2696"/>
          <ac:spMkLst>
            <pc:docMk/>
            <pc:sldMk cId="538205903" sldId="1538"/>
            <ac:spMk id="3" creationId="{04652CAA-3CC7-414F-AE53-190F1977ECE9}"/>
          </ac:spMkLst>
        </pc:spChg>
        <pc:spChg chg="add mod">
          <ac:chgData name="Mark Grimes" userId="b58058b7-2ab8-4142-95e7-f7e306e81118" providerId="ADAL" clId="{7CE5461B-B108-456F-827A-374D3DF7E3CB}" dt="2017-12-18T17:30:20.206" v="8506" actId="2696"/>
          <ac:spMkLst>
            <pc:docMk/>
            <pc:sldMk cId="538205903" sldId="1538"/>
            <ac:spMk id="4" creationId="{592BCFEA-36F1-4DF5-B1F6-0B86B37D355D}"/>
          </ac:spMkLst>
        </pc:spChg>
      </pc:sldChg>
      <pc:sldChg chg="addSp modSp add">
        <pc:chgData name="Mark Grimes" userId="b58058b7-2ab8-4142-95e7-f7e306e81118" providerId="ADAL" clId="{7CE5461B-B108-456F-827A-374D3DF7E3CB}" dt="2017-12-18T18:51:36.954" v="8786" actId="20577"/>
        <pc:sldMkLst>
          <pc:docMk/>
          <pc:sldMk cId="1412625530" sldId="1538"/>
        </pc:sldMkLst>
        <pc:spChg chg="mod">
          <ac:chgData name="Mark Grimes" userId="b58058b7-2ab8-4142-95e7-f7e306e81118" providerId="ADAL" clId="{7CE5461B-B108-456F-827A-374D3DF7E3CB}" dt="2017-12-18T17:34:55.719" v="8512" actId="20577"/>
          <ac:spMkLst>
            <pc:docMk/>
            <pc:sldMk cId="1412625530" sldId="1538"/>
            <ac:spMk id="77" creationId="{E1E75101-5119-40CC-8FA7-179A89C7E4EB}"/>
          </ac:spMkLst>
        </pc:spChg>
        <pc:spChg chg="mod">
          <ac:chgData name="Mark Grimes" userId="b58058b7-2ab8-4142-95e7-f7e306e81118" providerId="ADAL" clId="{7CE5461B-B108-456F-827A-374D3DF7E3CB}" dt="2017-12-18T18:51:36.954" v="8786" actId="20577"/>
          <ac:spMkLst>
            <pc:docMk/>
            <pc:sldMk cId="1412625530" sldId="1538"/>
            <ac:spMk id="78" creationId="{43276C70-5849-40CC-8AAC-5570BF4AA896}"/>
          </ac:spMkLst>
        </pc:spChg>
        <pc:spChg chg="add mod">
          <ac:chgData name="Mark Grimes" userId="b58058b7-2ab8-4142-95e7-f7e306e81118" providerId="ADAL" clId="{7CE5461B-B108-456F-827A-374D3DF7E3CB}" dt="2017-12-18T17:36:13.463" v="8572" actId="1076"/>
          <ac:spMkLst>
            <pc:docMk/>
            <pc:sldMk cId="1412625530" sldId="1538"/>
            <ac:spMk id="82" creationId="{29C7A7B1-E2A4-4009-B636-BE8052A4FE31}"/>
          </ac:spMkLst>
        </pc:spChg>
        <pc:spChg chg="add mod">
          <ac:chgData name="Mark Grimes" userId="b58058b7-2ab8-4142-95e7-f7e306e81118" providerId="ADAL" clId="{7CE5461B-B108-456F-827A-374D3DF7E3CB}" dt="2017-12-18T17:41:03.738" v="8628" actId="1076"/>
          <ac:spMkLst>
            <pc:docMk/>
            <pc:sldMk cId="1412625530" sldId="1538"/>
            <ac:spMk id="97" creationId="{D7BBB697-07D5-464C-B1D2-4F0DC01CA2DF}"/>
          </ac:spMkLst>
        </pc:spChg>
        <pc:grpChg chg="add mod">
          <ac:chgData name="Mark Grimes" userId="b58058b7-2ab8-4142-95e7-f7e306e81118" providerId="ADAL" clId="{7CE5461B-B108-456F-827A-374D3DF7E3CB}" dt="2017-12-18T17:36:13.463" v="8572" actId="1076"/>
          <ac:grpSpMkLst>
            <pc:docMk/>
            <pc:sldMk cId="1412625530" sldId="1538"/>
            <ac:grpSpMk id="4" creationId="{4ECE75C2-D197-4232-A294-1E43FFB6AB39}"/>
          </ac:grpSpMkLst>
        </pc:grpChg>
        <pc:grpChg chg="add mod">
          <ac:chgData name="Mark Grimes" userId="b58058b7-2ab8-4142-95e7-f7e306e81118" providerId="ADAL" clId="{7CE5461B-B108-456F-827A-374D3DF7E3CB}" dt="2017-12-18T17:36:13.463" v="8572" actId="1076"/>
          <ac:grpSpMkLst>
            <pc:docMk/>
            <pc:sldMk cId="1412625530" sldId="1538"/>
            <ac:grpSpMk id="8" creationId="{3715D20D-277F-4118-9FC0-5839A2A91BC2}"/>
          </ac:grpSpMkLst>
        </pc:grpChg>
        <pc:grpChg chg="add mod">
          <ac:chgData name="Mark Grimes" userId="b58058b7-2ab8-4142-95e7-f7e306e81118" providerId="ADAL" clId="{7CE5461B-B108-456F-827A-374D3DF7E3CB}" dt="2017-12-18T17:36:13.463" v="8572" actId="1076"/>
          <ac:grpSpMkLst>
            <pc:docMk/>
            <pc:sldMk cId="1412625530" sldId="1538"/>
            <ac:grpSpMk id="11" creationId="{10DDC3D7-E018-4B74-BAC2-F504120F9874}"/>
          </ac:grpSpMkLst>
        </pc:grpChg>
        <pc:grpChg chg="add mod">
          <ac:chgData name="Mark Grimes" userId="b58058b7-2ab8-4142-95e7-f7e306e81118" providerId="ADAL" clId="{7CE5461B-B108-456F-827A-374D3DF7E3CB}" dt="2017-12-18T17:36:13.463" v="8572" actId="1076"/>
          <ac:grpSpMkLst>
            <pc:docMk/>
            <pc:sldMk cId="1412625530" sldId="1538"/>
            <ac:grpSpMk id="19" creationId="{81F025A9-4C13-4BB3-8EB0-8567BEE0FE67}"/>
          </ac:grpSpMkLst>
        </pc:grpChg>
        <pc:grpChg chg="add mod">
          <ac:chgData name="Mark Grimes" userId="b58058b7-2ab8-4142-95e7-f7e306e81118" providerId="ADAL" clId="{7CE5461B-B108-456F-827A-374D3DF7E3CB}" dt="2017-12-18T17:36:13.463" v="8572" actId="1076"/>
          <ac:grpSpMkLst>
            <pc:docMk/>
            <pc:sldMk cId="1412625530" sldId="1538"/>
            <ac:grpSpMk id="25" creationId="{CDCCB123-C388-4956-9280-F9C5B18362FC}"/>
          </ac:grpSpMkLst>
        </pc:grpChg>
        <pc:grpChg chg="add mod">
          <ac:chgData name="Mark Grimes" userId="b58058b7-2ab8-4142-95e7-f7e306e81118" providerId="ADAL" clId="{7CE5461B-B108-456F-827A-374D3DF7E3CB}" dt="2017-12-18T17:36:13.463" v="8572" actId="1076"/>
          <ac:grpSpMkLst>
            <pc:docMk/>
            <pc:sldMk cId="1412625530" sldId="1538"/>
            <ac:grpSpMk id="83" creationId="{E2369C35-6C2F-4B80-A051-208BC8B51C60}"/>
          </ac:grpSpMkLst>
        </pc:grpChg>
        <pc:picChg chg="add mod">
          <ac:chgData name="Mark Grimes" userId="b58058b7-2ab8-4142-95e7-f7e306e81118" providerId="ADAL" clId="{7CE5461B-B108-456F-827A-374D3DF7E3CB}" dt="2017-12-18T17:41:03.738" v="8628" actId="1076"/>
          <ac:picMkLst>
            <pc:docMk/>
            <pc:sldMk cId="1412625530" sldId="1538"/>
            <ac:picMk id="96" creationId="{CEA2D08F-6A7E-4307-88F8-5B038798B9EC}"/>
          </ac:picMkLst>
        </pc:picChg>
        <pc:cxnChg chg="add mod">
          <ac:chgData name="Mark Grimes" userId="b58058b7-2ab8-4142-95e7-f7e306e81118" providerId="ADAL" clId="{7CE5461B-B108-456F-827A-374D3DF7E3CB}" dt="2017-12-18T17:36:13.463" v="8572" actId="1076"/>
          <ac:cxnSpMkLst>
            <pc:docMk/>
            <pc:sldMk cId="1412625530" sldId="1538"/>
            <ac:cxnSpMk id="15" creationId="{0A79FD59-5335-4EB4-9937-31A4EA94DC00}"/>
          </ac:cxnSpMkLst>
        </pc:cxnChg>
        <pc:cxnChg chg="add mod">
          <ac:chgData name="Mark Grimes" userId="b58058b7-2ab8-4142-95e7-f7e306e81118" providerId="ADAL" clId="{7CE5461B-B108-456F-827A-374D3DF7E3CB}" dt="2017-12-18T17:36:13.463" v="8572" actId="1076"/>
          <ac:cxnSpMkLst>
            <pc:docMk/>
            <pc:sldMk cId="1412625530" sldId="1538"/>
            <ac:cxnSpMk id="16" creationId="{58D899B7-63DE-47D4-99C1-20EE2980D7EC}"/>
          </ac:cxnSpMkLst>
        </pc:cxnChg>
        <pc:cxnChg chg="add mod">
          <ac:chgData name="Mark Grimes" userId="b58058b7-2ab8-4142-95e7-f7e306e81118" providerId="ADAL" clId="{7CE5461B-B108-456F-827A-374D3DF7E3CB}" dt="2017-12-18T17:40:56.396" v="8627" actId="14100"/>
          <ac:cxnSpMkLst>
            <pc:docMk/>
            <pc:sldMk cId="1412625530" sldId="1538"/>
            <ac:cxnSpMk id="17" creationId="{6123445C-04A3-4DBD-AF19-F00ADE739387}"/>
          </ac:cxnSpMkLst>
        </pc:cxnChg>
        <pc:cxnChg chg="add mod">
          <ac:chgData name="Mark Grimes" userId="b58058b7-2ab8-4142-95e7-f7e306e81118" providerId="ADAL" clId="{7CE5461B-B108-456F-827A-374D3DF7E3CB}" dt="2017-12-18T17:36:13.463" v="8572" actId="1076"/>
          <ac:cxnSpMkLst>
            <pc:docMk/>
            <pc:sldMk cId="1412625530" sldId="1538"/>
            <ac:cxnSpMk id="18" creationId="{FEBDBB54-126E-4E36-9F7F-E764A0C32111}"/>
          </ac:cxnSpMkLst>
        </pc:cxnChg>
        <pc:cxnChg chg="add mod">
          <ac:chgData name="Mark Grimes" userId="b58058b7-2ab8-4142-95e7-f7e306e81118" providerId="ADAL" clId="{7CE5461B-B108-456F-827A-374D3DF7E3CB}" dt="2017-12-18T17:36:13.463" v="8572" actId="1076"/>
          <ac:cxnSpMkLst>
            <pc:docMk/>
            <pc:sldMk cId="1412625530" sldId="1538"/>
            <ac:cxnSpMk id="95" creationId="{0866AB54-FFC3-440D-8C5E-969BCAF1386F}"/>
          </ac:cxnSpMkLst>
        </pc:cxnChg>
        <pc:cxnChg chg="add mod">
          <ac:chgData name="Mark Grimes" userId="b58058b7-2ab8-4142-95e7-f7e306e81118" providerId="ADAL" clId="{7CE5461B-B108-456F-827A-374D3DF7E3CB}" dt="2017-12-18T17:36:13.463" v="8572" actId="1076"/>
          <ac:cxnSpMkLst>
            <pc:docMk/>
            <pc:sldMk cId="1412625530" sldId="1538"/>
            <ac:cxnSpMk id="98" creationId="{5D47C6D4-D422-4CAE-847F-DA84F1C7C879}"/>
          </ac:cxnSpMkLst>
        </pc:cxnChg>
      </pc:sldChg>
      <pc:sldChg chg="add del">
        <pc:chgData name="Mark Grimes" userId="b58058b7-2ab8-4142-95e7-f7e306e81118" providerId="ADAL" clId="{7CE5461B-B108-456F-827A-374D3DF7E3CB}" dt="2017-12-18T17:30:12.130" v="8504" actId="20577"/>
        <pc:sldMkLst>
          <pc:docMk/>
          <pc:sldMk cId="2949517334" sldId="1538"/>
        </pc:sldMkLst>
      </pc:sldChg>
      <pc:sldChg chg="modSp add">
        <pc:chgData name="Mark Grimes" userId="b58058b7-2ab8-4142-95e7-f7e306e81118" providerId="ADAL" clId="{7CE5461B-B108-456F-827A-374D3DF7E3CB}" dt="2017-12-18T19:19:24.429" v="9153" actId="20577"/>
        <pc:sldMkLst>
          <pc:docMk/>
          <pc:sldMk cId="167717834" sldId="1539"/>
        </pc:sldMkLst>
        <pc:spChg chg="mod">
          <ac:chgData name="Mark Grimes" userId="b58058b7-2ab8-4142-95e7-f7e306e81118" providerId="ADAL" clId="{7CE5461B-B108-456F-827A-374D3DF7E3CB}" dt="2017-12-18T19:19:24.429" v="9153" actId="20577"/>
          <ac:spMkLst>
            <pc:docMk/>
            <pc:sldMk cId="167717834" sldId="1539"/>
            <ac:spMk id="7" creationId="{00000000-0000-0000-0000-000000000000}"/>
          </ac:spMkLst>
        </pc:spChg>
      </pc:sldChg>
      <pc:sldChg chg="add del">
        <pc:chgData name="Mark Grimes" userId="b58058b7-2ab8-4142-95e7-f7e306e81118" providerId="ADAL" clId="{7CE5461B-B108-456F-827A-374D3DF7E3CB}" dt="2017-12-19T13:39:52.912" v="9279" actId="20577"/>
        <pc:sldMkLst>
          <pc:docMk/>
          <pc:sldMk cId="3650850250" sldId="1540"/>
        </pc:sldMkLst>
      </pc:sldChg>
      <pc:sldChg chg="add">
        <pc:chgData name="Mark Grimes" userId="b58058b7-2ab8-4142-95e7-f7e306e81118" providerId="ADAL" clId="{7CE5461B-B108-456F-827A-374D3DF7E3CB}" dt="2017-12-19T13:40:57.175" v="9281" actId="20577"/>
        <pc:sldMkLst>
          <pc:docMk/>
          <pc:sldMk cId="1430455735" sldId="1541"/>
        </pc:sldMkLst>
      </pc:sldChg>
      <pc:sldChg chg="modSp add">
        <pc:chgData name="Mark Grimes" userId="b58058b7-2ab8-4142-95e7-f7e306e81118" providerId="ADAL" clId="{7CE5461B-B108-456F-827A-374D3DF7E3CB}" dt="2017-12-19T13:43:18.084" v="9341" actId="20577"/>
        <pc:sldMkLst>
          <pc:docMk/>
          <pc:sldMk cId="348271677" sldId="1542"/>
        </pc:sldMkLst>
        <pc:spChg chg="mod">
          <ac:chgData name="Mark Grimes" userId="b58058b7-2ab8-4142-95e7-f7e306e81118" providerId="ADAL" clId="{7CE5461B-B108-456F-827A-374D3DF7E3CB}" dt="2017-12-19T13:42:41.673" v="9288" actId="20577"/>
          <ac:spMkLst>
            <pc:docMk/>
            <pc:sldMk cId="348271677" sldId="1542"/>
            <ac:spMk id="2" creationId="{4B6E337F-7C59-4F1B-926B-43514CC0693C}"/>
          </ac:spMkLst>
        </pc:spChg>
        <pc:spChg chg="mod">
          <ac:chgData name="Mark Grimes" userId="b58058b7-2ab8-4142-95e7-f7e306e81118" providerId="ADAL" clId="{7CE5461B-B108-456F-827A-374D3DF7E3CB}" dt="2017-12-19T13:43:18.084" v="9341" actId="20577"/>
          <ac:spMkLst>
            <pc:docMk/>
            <pc:sldMk cId="348271677" sldId="1542"/>
            <ac:spMk id="3" creationId="{6F63813E-9C6C-4F16-97AA-9FC37C410A52}"/>
          </ac:spMkLst>
        </pc:spChg>
      </pc:sldChg>
      <pc:sldChg chg="modSp add ord">
        <pc:chgData name="Mark Grimes" userId="b58058b7-2ab8-4142-95e7-f7e306e81118" providerId="ADAL" clId="{7CE5461B-B108-456F-827A-374D3DF7E3CB}" dt="2017-12-19T13:48:57.289" v="9351" actId="20577"/>
        <pc:sldMkLst>
          <pc:docMk/>
          <pc:sldMk cId="2947691588" sldId="1543"/>
        </pc:sldMkLst>
        <pc:spChg chg="mod">
          <ac:chgData name="Mark Grimes" userId="b58058b7-2ab8-4142-95e7-f7e306e81118" providerId="ADAL" clId="{7CE5461B-B108-456F-827A-374D3DF7E3CB}" dt="2017-12-19T13:43:33.479" v="9342" actId="12"/>
          <ac:spMkLst>
            <pc:docMk/>
            <pc:sldMk cId="2947691588" sldId="1543"/>
            <ac:spMk id="5" creationId="{BDEE1AF8-4551-4624-BE39-D1B7D9202EAC}"/>
          </ac:spMkLst>
        </pc:spChg>
      </pc:sldChg>
      <pc:sldChg chg="add del">
        <pc:chgData name="Mark Grimes" userId="b58058b7-2ab8-4142-95e7-f7e306e81118" providerId="ADAL" clId="{7CE5461B-B108-456F-827A-374D3DF7E3CB}" dt="2017-12-19T13:47:48.865" v="9347" actId="20577"/>
        <pc:sldMkLst>
          <pc:docMk/>
          <pc:sldMk cId="1873414825" sldId="1544"/>
        </pc:sldMkLst>
      </pc:sldChg>
      <pc:sldChg chg="modSp add del modNotes modNotesTx">
        <pc:chgData name="Mark Grimes" userId="b58058b7-2ab8-4142-95e7-f7e306e81118" providerId="ADAL" clId="{7CE5461B-B108-456F-827A-374D3DF7E3CB}" dt="2017-12-19T14:01:13.008" v="10128" actId="20577"/>
        <pc:sldMkLst>
          <pc:docMk/>
          <pc:sldMk cId="2474411188" sldId="1545"/>
        </pc:sldMkLst>
        <pc:grpChg chg="mod ord">
          <ac:chgData name="Mark Grimes" userId="b58058b7-2ab8-4142-95e7-f7e306e81118" providerId="ADAL" clId="{7CE5461B-B108-456F-827A-374D3DF7E3CB}" dt="2017-12-19T13:48:05.661" v="9350" actId="1076"/>
          <ac:grpSpMkLst>
            <pc:docMk/>
            <pc:sldMk cId="2474411188" sldId="1545"/>
            <ac:grpSpMk id="46" creationId="{1A543ED1-3F0D-4104-BED1-AD4F2579C0BE}"/>
          </ac:grpSpMkLst>
        </pc:grpChg>
        <pc:cxnChg chg="mod">
          <ac:chgData name="Mark Grimes" userId="b58058b7-2ab8-4142-95e7-f7e306e81118" providerId="ADAL" clId="{7CE5461B-B108-456F-827A-374D3DF7E3CB}" dt="2017-12-19T13:48:05.661" v="9350" actId="1076"/>
          <ac:cxnSpMkLst>
            <pc:docMk/>
            <pc:sldMk cId="2474411188" sldId="1545"/>
            <ac:cxnSpMk id="40" creationId="{D3C726BB-6279-40DD-AFDA-9AD834B09133}"/>
          </ac:cxnSpMkLst>
        </pc:cxnChg>
        <pc:cxnChg chg="mod">
          <ac:chgData name="Mark Grimes" userId="b58058b7-2ab8-4142-95e7-f7e306e81118" providerId="ADAL" clId="{7CE5461B-B108-456F-827A-374D3DF7E3CB}" dt="2017-12-19T13:48:05.661" v="9350" actId="1076"/>
          <ac:cxnSpMkLst>
            <pc:docMk/>
            <pc:sldMk cId="2474411188" sldId="1545"/>
            <ac:cxnSpMk id="41" creationId="{CB51A56A-BA27-4082-A5C7-DC0CF45EFDA5}"/>
          </ac:cxnSpMkLst>
        </pc:cxnChg>
      </pc:sldChg>
      <pc:sldChg chg="add del">
        <pc:chgData name="Mark Grimes" userId="b58058b7-2ab8-4142-95e7-f7e306e81118" providerId="ADAL" clId="{7CE5461B-B108-456F-827A-374D3DF7E3CB}" dt="2017-12-19T13:47:48.865" v="9347" actId="20577"/>
        <pc:sldMkLst>
          <pc:docMk/>
          <pc:sldMk cId="815095897" sldId="1546"/>
        </pc:sldMkLst>
      </pc:sldChg>
      <pc:sldChg chg="add del">
        <pc:chgData name="Mark Grimes" userId="b58058b7-2ab8-4142-95e7-f7e306e81118" providerId="ADAL" clId="{7CE5461B-B108-456F-827A-374D3DF7E3CB}" dt="2017-12-19T13:47:48.865" v="9347" actId="20577"/>
        <pc:sldMkLst>
          <pc:docMk/>
          <pc:sldMk cId="1857255167" sldId="1547"/>
        </pc:sldMkLst>
      </pc:sldChg>
      <pc:sldMasterChg chg="modSldLayout">
        <pc:chgData name="Mark Grimes" userId="b58058b7-2ab8-4142-95e7-f7e306e81118" providerId="ADAL" clId="{7CE5461B-B108-456F-827A-374D3DF7E3CB}" dt="2017-12-18T19:22:34.325" v="9178" actId="14100"/>
        <pc:sldMasterMkLst>
          <pc:docMk/>
          <pc:sldMasterMk cId="3718348515" sldId="2147484617"/>
        </pc:sldMasterMkLst>
        <pc:sldLayoutChg chg="modSp setBg">
          <pc:chgData name="Mark Grimes" userId="b58058b7-2ab8-4142-95e7-f7e306e81118" providerId="ADAL" clId="{7CE5461B-B108-456F-827A-374D3DF7E3CB}" dt="2017-12-18T19:22:34.325" v="9178" actId="14100"/>
          <pc:sldLayoutMkLst>
            <pc:docMk/>
            <pc:sldMasterMk cId="3718348515" sldId="2147484617"/>
            <pc:sldLayoutMk cId="59658876" sldId="2147484631"/>
          </pc:sldLayoutMkLst>
          <pc:spChg chg="mod">
            <ac:chgData name="Mark Grimes" userId="b58058b7-2ab8-4142-95e7-f7e306e81118" providerId="ADAL" clId="{7CE5461B-B108-456F-827A-374D3DF7E3CB}" dt="2017-12-18T19:22:34.325" v="9178" actId="14100"/>
            <ac:spMkLst>
              <pc:docMk/>
              <pc:sldMasterMk cId="3718348515" sldId="2147484617"/>
              <pc:sldLayoutMk cId="59658876" sldId="2147484631"/>
              <ac:spMk id="2" creationId="{00000000-0000-0000-0000-000000000000}"/>
            </ac:spMkLst>
          </pc:spChg>
        </pc:sldLayoutChg>
      </pc:sldMasterChg>
    </pc:docChg>
  </pc:docChgLst>
  <pc:docChgLst>
    <pc:chgData name="Artis Aramins" userId="2cb9abb6-3927-4a0b-9549-08a071ddbd63" providerId="ADAL" clId="{282B9B65-6A39-4986-B606-981CEEB1EE73}"/>
  </pc:docChgLst>
  <pc:docChgLst>
    <pc:chgData name="Mark Grimes" userId="b58058b7-2ab8-4142-95e7-f7e306e81118" providerId="ADAL" clId="{A37AD34E-A118-445B-A38B-DC6FE6064627}"/>
  </pc:docChgLst>
</pc:chgInfo>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v>Sales</c:v>
          </c:tx>
          <c:dPt>
            <c:idx val="0"/>
            <c:bubble3D val="0"/>
            <c:spPr>
              <a:solidFill>
                <a:srgbClr val="0078D7"/>
              </a:solidFill>
              <a:ln>
                <a:noFill/>
              </a:ln>
            </c:spPr>
            <c:extLst>
              <c:ext xmlns:c16="http://schemas.microsoft.com/office/drawing/2014/chart" uri="{C3380CC4-5D6E-409C-BE32-E72D297353CC}">
                <c16:uniqueId val="{00000001-67AD-43CA-8647-B8F12DA1225D}"/>
              </c:ext>
            </c:extLst>
          </c:dPt>
          <c:dPt>
            <c:idx val="1"/>
            <c:bubble3D val="0"/>
            <c:spPr>
              <a:solidFill>
                <a:srgbClr val="F8F8F8"/>
              </a:solidFill>
              <a:ln>
                <a:noFill/>
              </a:ln>
            </c:spPr>
            <c:extLst>
              <c:ext xmlns:c16="http://schemas.microsoft.com/office/drawing/2014/chart" uri="{C3380CC4-5D6E-409C-BE32-E72D297353CC}">
                <c16:uniqueId val="{00000003-67AD-43CA-8647-B8F12DA1225D}"/>
              </c:ext>
            </c:extLst>
          </c:dPt>
          <c:cat>
            <c:strLit>
              <c:ptCount val="2"/>
              <c:pt idx="0">
                <c:v>1st Qtr</c:v>
              </c:pt>
              <c:pt idx="1">
                <c:v>2nd Qtr</c:v>
              </c:pt>
            </c:strLit>
          </c:cat>
          <c:val>
            <c:numLit>
              <c:formatCode>General</c:formatCode>
              <c:ptCount val="2"/>
              <c:pt idx="0">
                <c:v>0.73</c:v>
              </c:pt>
              <c:pt idx="1">
                <c:v>0.27</c:v>
              </c:pt>
            </c:numLit>
          </c:val>
          <c:extLst>
            <c:ext xmlns:c16="http://schemas.microsoft.com/office/drawing/2014/chart" uri="{C3380CC4-5D6E-409C-BE32-E72D297353CC}">
              <c16:uniqueId val="{00000004-67AD-43CA-8647-B8F12DA1225D}"/>
            </c:ext>
          </c:extLst>
        </c:ser>
        <c:dLbls>
          <c:showLegendKey val="0"/>
          <c:showVal val="0"/>
          <c:showCatName val="0"/>
          <c:showSerName val="0"/>
          <c:showPercent val="0"/>
          <c:showBubbleSize val="0"/>
          <c:showLeaderLines val="1"/>
        </c:dLbls>
        <c:firstSliceAng val="360"/>
        <c:holeSize val="89"/>
      </c:doughnutChart>
      <c:spPr>
        <a:noFill/>
        <a:ln>
          <a:noFill/>
        </a:ln>
      </c:spPr>
    </c:plotArea>
    <c:plotVisOnly val="1"/>
    <c:dispBlanksAs val="gap"/>
    <c:showDLblsOverMax val="0"/>
  </c:chart>
  <c:spPr>
    <a:noFill/>
    <a:ln>
      <a:noFill/>
    </a:ln>
  </c:spPr>
  <c:txPr>
    <a:bodyPr lIns="0" tIns="0" rIns="0" bIns="0"/>
    <a:lstStyle/>
    <a:p>
      <a:pPr marL="0" marR="0" indent="0" defTabSz="914400" fontAlgn="auto" hangingPunct="1">
        <a:lnSpc>
          <a:spcPct val="100000"/>
        </a:lnSpc>
        <a:spcBef>
          <a:spcPts val="0"/>
        </a:spcBef>
        <a:spcAft>
          <a:spcPts val="0"/>
        </a:spcAft>
        <a:tabLst/>
        <a:defRPr lang="en-US" sz="1197" b="0" i="0" u="none" strike="noStrike" kern="1200" baseline="0">
          <a:solidFill>
            <a:srgbClr val="505050"/>
          </a:solidFill>
          <a:latin typeface="Segoe U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v>Sales</c:v>
          </c:tx>
          <c:dPt>
            <c:idx val="0"/>
            <c:bubble3D val="0"/>
            <c:spPr>
              <a:solidFill>
                <a:srgbClr val="0078D7"/>
              </a:solidFill>
              <a:ln>
                <a:noFill/>
              </a:ln>
            </c:spPr>
            <c:extLst>
              <c:ext xmlns:c16="http://schemas.microsoft.com/office/drawing/2014/chart" uri="{C3380CC4-5D6E-409C-BE32-E72D297353CC}">
                <c16:uniqueId val="{00000001-B3EB-4295-A136-9582003EE3FD}"/>
              </c:ext>
            </c:extLst>
          </c:dPt>
          <c:dPt>
            <c:idx val="1"/>
            <c:bubble3D val="0"/>
            <c:spPr>
              <a:solidFill>
                <a:srgbClr val="F8F8F8"/>
              </a:solidFill>
              <a:ln>
                <a:noFill/>
              </a:ln>
            </c:spPr>
            <c:extLst>
              <c:ext xmlns:c16="http://schemas.microsoft.com/office/drawing/2014/chart" uri="{C3380CC4-5D6E-409C-BE32-E72D297353CC}">
                <c16:uniqueId val="{00000003-B3EB-4295-A136-9582003EE3FD}"/>
              </c:ext>
            </c:extLst>
          </c:dPt>
          <c:cat>
            <c:strLit>
              <c:ptCount val="2"/>
              <c:pt idx="0">
                <c:v>1st Qtr</c:v>
              </c:pt>
              <c:pt idx="1">
                <c:v>2nd Qtr</c:v>
              </c:pt>
            </c:strLit>
          </c:cat>
          <c:val>
            <c:numLit>
              <c:formatCode>General</c:formatCode>
              <c:ptCount val="2"/>
              <c:pt idx="0">
                <c:v>0.73</c:v>
              </c:pt>
              <c:pt idx="1">
                <c:v>0.27</c:v>
              </c:pt>
            </c:numLit>
          </c:val>
          <c:extLst>
            <c:ext xmlns:c16="http://schemas.microsoft.com/office/drawing/2014/chart" uri="{C3380CC4-5D6E-409C-BE32-E72D297353CC}">
              <c16:uniqueId val="{00000004-B3EB-4295-A136-9582003EE3FD}"/>
            </c:ext>
          </c:extLst>
        </c:ser>
        <c:dLbls>
          <c:showLegendKey val="0"/>
          <c:showVal val="0"/>
          <c:showCatName val="0"/>
          <c:showSerName val="0"/>
          <c:showPercent val="0"/>
          <c:showBubbleSize val="0"/>
          <c:showLeaderLines val="1"/>
        </c:dLbls>
        <c:firstSliceAng val="360"/>
        <c:holeSize val="89"/>
      </c:doughnutChart>
      <c:spPr>
        <a:noFill/>
        <a:ln>
          <a:noFill/>
        </a:ln>
      </c:spPr>
    </c:plotArea>
    <c:plotVisOnly val="1"/>
    <c:dispBlanksAs val="gap"/>
    <c:showDLblsOverMax val="0"/>
  </c:chart>
  <c:spPr>
    <a:noFill/>
    <a:ln>
      <a:noFill/>
    </a:ln>
  </c:spPr>
  <c:txPr>
    <a:bodyPr lIns="0" tIns="0" rIns="0" bIns="0"/>
    <a:lstStyle/>
    <a:p>
      <a:pPr marL="0" marR="0" indent="0" defTabSz="914400" fontAlgn="auto" hangingPunct="1">
        <a:lnSpc>
          <a:spcPct val="100000"/>
        </a:lnSpc>
        <a:spcBef>
          <a:spcPts val="0"/>
        </a:spcBef>
        <a:spcAft>
          <a:spcPts val="0"/>
        </a:spcAft>
        <a:tabLst/>
        <a:defRPr lang="en-US" sz="1197" b="0" i="0" u="none" strike="noStrike" kern="1200" baseline="0">
          <a:solidFill>
            <a:srgbClr val="505050"/>
          </a:solidFill>
          <a:latin typeface="Segoe U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v>Sales</c:v>
          </c:tx>
          <c:dPt>
            <c:idx val="0"/>
            <c:bubble3D val="0"/>
            <c:spPr>
              <a:solidFill>
                <a:srgbClr val="0078D7"/>
              </a:solidFill>
              <a:ln>
                <a:noFill/>
              </a:ln>
            </c:spPr>
            <c:extLst>
              <c:ext xmlns:c16="http://schemas.microsoft.com/office/drawing/2014/chart" uri="{C3380CC4-5D6E-409C-BE32-E72D297353CC}">
                <c16:uniqueId val="{00000001-D61C-4523-B65C-EDBCDAAC9977}"/>
              </c:ext>
            </c:extLst>
          </c:dPt>
          <c:dPt>
            <c:idx val="1"/>
            <c:bubble3D val="0"/>
            <c:spPr>
              <a:solidFill>
                <a:srgbClr val="F8F8F8"/>
              </a:solidFill>
              <a:ln>
                <a:noFill/>
              </a:ln>
            </c:spPr>
            <c:extLst>
              <c:ext xmlns:c16="http://schemas.microsoft.com/office/drawing/2014/chart" uri="{C3380CC4-5D6E-409C-BE32-E72D297353CC}">
                <c16:uniqueId val="{00000003-D61C-4523-B65C-EDBCDAAC9977}"/>
              </c:ext>
            </c:extLst>
          </c:dPt>
          <c:cat>
            <c:strLit>
              <c:ptCount val="2"/>
              <c:pt idx="0">
                <c:v>1st Qtr</c:v>
              </c:pt>
              <c:pt idx="1">
                <c:v>2nd Qtr</c:v>
              </c:pt>
            </c:strLit>
          </c:cat>
          <c:val>
            <c:numLit>
              <c:formatCode>General</c:formatCode>
              <c:ptCount val="2"/>
              <c:pt idx="0">
                <c:v>0.73</c:v>
              </c:pt>
              <c:pt idx="1">
                <c:v>0.27</c:v>
              </c:pt>
            </c:numLit>
          </c:val>
          <c:extLst>
            <c:ext xmlns:c16="http://schemas.microsoft.com/office/drawing/2014/chart" uri="{C3380CC4-5D6E-409C-BE32-E72D297353CC}">
              <c16:uniqueId val="{00000004-D61C-4523-B65C-EDBCDAAC9977}"/>
            </c:ext>
          </c:extLst>
        </c:ser>
        <c:dLbls>
          <c:showLegendKey val="0"/>
          <c:showVal val="0"/>
          <c:showCatName val="0"/>
          <c:showSerName val="0"/>
          <c:showPercent val="0"/>
          <c:showBubbleSize val="0"/>
          <c:showLeaderLines val="1"/>
        </c:dLbls>
        <c:firstSliceAng val="360"/>
        <c:holeSize val="89"/>
      </c:doughnutChart>
      <c:spPr>
        <a:noFill/>
        <a:ln>
          <a:noFill/>
        </a:ln>
      </c:spPr>
    </c:plotArea>
    <c:plotVisOnly val="1"/>
    <c:dispBlanksAs val="gap"/>
    <c:showDLblsOverMax val="0"/>
  </c:chart>
  <c:spPr>
    <a:noFill/>
    <a:ln>
      <a:noFill/>
    </a:ln>
  </c:spPr>
  <c:txPr>
    <a:bodyPr lIns="0" tIns="0" rIns="0" bIns="0"/>
    <a:lstStyle/>
    <a:p>
      <a:pPr marL="0" marR="0" indent="0" defTabSz="914400" fontAlgn="auto" hangingPunct="1">
        <a:lnSpc>
          <a:spcPct val="100000"/>
        </a:lnSpc>
        <a:spcBef>
          <a:spcPts val="0"/>
        </a:spcBef>
        <a:spcAft>
          <a:spcPts val="0"/>
        </a:spcAft>
        <a:tabLst/>
        <a:defRPr lang="en-US" sz="1197" b="0" i="0" u="none" strike="noStrike" kern="1200" baseline="0">
          <a:solidFill>
            <a:srgbClr val="505050"/>
          </a:solidFill>
          <a:latin typeface="Segoe UI"/>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3D2711-1527-430F-9393-CC01FE2D1A93}"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81DD44A1-EAF2-4B0E-BD4F-1906B31C3D88}">
      <dgm:prSet phldrT="[Text]"/>
      <dgm:spPr/>
      <dgm:t>
        <a:bodyPr/>
        <a:lstStyle/>
        <a:p>
          <a:r>
            <a:rPr lang="en-US" dirty="0">
              <a:latin typeface="+mj-lt"/>
            </a:rPr>
            <a:t>Synchronizing users to the cloud</a:t>
          </a:r>
        </a:p>
      </dgm:t>
    </dgm:pt>
    <dgm:pt modelId="{DE338166-A6A2-412E-A2C4-35CC4DE51B42}" type="parTrans" cxnId="{FB9B45D0-647D-4BC9-99E2-1C15DB86F4C0}">
      <dgm:prSet/>
      <dgm:spPr/>
      <dgm:t>
        <a:bodyPr/>
        <a:lstStyle/>
        <a:p>
          <a:endParaRPr lang="en-US">
            <a:latin typeface="+mj-lt"/>
          </a:endParaRPr>
        </a:p>
      </dgm:t>
    </dgm:pt>
    <dgm:pt modelId="{7F14DF82-FE00-4B70-91FC-5E9B34769151}" type="sibTrans" cxnId="{FB9B45D0-647D-4BC9-99E2-1C15DB86F4C0}">
      <dgm:prSet/>
      <dgm:spPr/>
      <dgm:t>
        <a:bodyPr/>
        <a:lstStyle/>
        <a:p>
          <a:endParaRPr lang="en-US">
            <a:latin typeface="+mj-lt"/>
          </a:endParaRPr>
        </a:p>
      </dgm:t>
    </dgm:pt>
    <dgm:pt modelId="{F43C50B3-976B-4457-86C7-099375645D4C}">
      <dgm:prSet phldrT="[Text]"/>
      <dgm:spPr/>
      <dgm:t>
        <a:bodyPr/>
        <a:lstStyle/>
        <a:p>
          <a:r>
            <a:rPr lang="en-US" dirty="0">
              <a:latin typeface="+mj-lt"/>
            </a:rPr>
            <a:t>Multiple Active Directory forests</a:t>
          </a:r>
        </a:p>
      </dgm:t>
    </dgm:pt>
    <dgm:pt modelId="{A7DD2CD9-B43E-40A8-9808-C9C2A011983B}" type="parTrans" cxnId="{35C050ED-9D73-4DE9-A590-27E267E5EC67}">
      <dgm:prSet/>
      <dgm:spPr/>
      <dgm:t>
        <a:bodyPr/>
        <a:lstStyle/>
        <a:p>
          <a:endParaRPr lang="en-US">
            <a:latin typeface="+mj-lt"/>
          </a:endParaRPr>
        </a:p>
      </dgm:t>
    </dgm:pt>
    <dgm:pt modelId="{2E1B1B1C-2AE3-4A8B-B373-D12D8EB5E3DC}" type="sibTrans" cxnId="{35C050ED-9D73-4DE9-A590-27E267E5EC67}">
      <dgm:prSet/>
      <dgm:spPr/>
      <dgm:t>
        <a:bodyPr/>
        <a:lstStyle/>
        <a:p>
          <a:endParaRPr lang="en-US">
            <a:latin typeface="+mj-lt"/>
          </a:endParaRPr>
        </a:p>
      </dgm:t>
    </dgm:pt>
    <dgm:pt modelId="{60B4DF4A-734A-4051-B2D5-D292241326CE}">
      <dgm:prSet phldrT="[Text]"/>
      <dgm:spPr/>
      <dgm:t>
        <a:bodyPr/>
        <a:lstStyle/>
        <a:p>
          <a:r>
            <a:rPr lang="en-US" dirty="0">
              <a:latin typeface="+mj-lt"/>
            </a:rPr>
            <a:t>UPN alignment</a:t>
          </a:r>
        </a:p>
      </dgm:t>
    </dgm:pt>
    <dgm:pt modelId="{07C25B00-A14B-4614-AB4D-83667D63E216}" type="parTrans" cxnId="{D011B640-EB00-49A1-A899-EF09F73B3935}">
      <dgm:prSet/>
      <dgm:spPr/>
      <dgm:t>
        <a:bodyPr/>
        <a:lstStyle/>
        <a:p>
          <a:endParaRPr lang="en-US">
            <a:latin typeface="+mj-lt"/>
          </a:endParaRPr>
        </a:p>
      </dgm:t>
    </dgm:pt>
    <dgm:pt modelId="{D6315C85-C83A-4D62-8580-CAF4CD370E95}" type="sibTrans" cxnId="{D011B640-EB00-49A1-A899-EF09F73B3935}">
      <dgm:prSet/>
      <dgm:spPr/>
      <dgm:t>
        <a:bodyPr/>
        <a:lstStyle/>
        <a:p>
          <a:endParaRPr lang="en-US">
            <a:latin typeface="+mj-lt"/>
          </a:endParaRPr>
        </a:p>
      </dgm:t>
    </dgm:pt>
    <dgm:pt modelId="{4AC0F43B-78B4-44E3-A409-91374ED9F3FB}">
      <dgm:prSet phldrT="[Text]"/>
      <dgm:spPr/>
      <dgm:t>
        <a:bodyPr/>
        <a:lstStyle/>
        <a:p>
          <a:r>
            <a:rPr lang="en-US" dirty="0">
              <a:latin typeface="+mj-lt"/>
            </a:rPr>
            <a:t>Identity Management Systems</a:t>
          </a:r>
        </a:p>
      </dgm:t>
    </dgm:pt>
    <dgm:pt modelId="{ADDA607C-5DAC-46E6-A1B7-686640D3479B}" type="parTrans" cxnId="{75DBED94-0543-49B8-BC4E-AA50320FABA0}">
      <dgm:prSet/>
      <dgm:spPr/>
      <dgm:t>
        <a:bodyPr/>
        <a:lstStyle/>
        <a:p>
          <a:endParaRPr lang="en-US">
            <a:latin typeface="+mj-lt"/>
          </a:endParaRPr>
        </a:p>
      </dgm:t>
    </dgm:pt>
    <dgm:pt modelId="{39000466-FDCC-4A8F-9B86-85E9B8805CBA}" type="sibTrans" cxnId="{75DBED94-0543-49B8-BC4E-AA50320FABA0}">
      <dgm:prSet/>
      <dgm:spPr/>
      <dgm:t>
        <a:bodyPr/>
        <a:lstStyle/>
        <a:p>
          <a:endParaRPr lang="en-US">
            <a:latin typeface="+mj-lt"/>
          </a:endParaRPr>
        </a:p>
      </dgm:t>
    </dgm:pt>
    <dgm:pt modelId="{19B16C37-E23C-4305-9ABB-666EAAD15BD9}">
      <dgm:prSet phldrT="[Text]"/>
      <dgm:spPr/>
      <dgm:t>
        <a:bodyPr/>
        <a:lstStyle/>
        <a:p>
          <a:r>
            <a:rPr lang="en-US" dirty="0">
              <a:latin typeface="+mj-lt"/>
            </a:rPr>
            <a:t>Synchronization server availability</a:t>
          </a:r>
        </a:p>
      </dgm:t>
    </dgm:pt>
    <dgm:pt modelId="{75E09728-7738-4D5E-83C3-A227D31DA08F}" type="parTrans" cxnId="{86712957-B0F6-41F3-9D11-52B333DBA579}">
      <dgm:prSet/>
      <dgm:spPr/>
      <dgm:t>
        <a:bodyPr/>
        <a:lstStyle/>
        <a:p>
          <a:endParaRPr lang="en-US">
            <a:latin typeface="+mj-lt"/>
          </a:endParaRPr>
        </a:p>
      </dgm:t>
    </dgm:pt>
    <dgm:pt modelId="{209169AA-7F0D-437E-A019-10D9A57CE568}" type="sibTrans" cxnId="{86712957-B0F6-41F3-9D11-52B333DBA579}">
      <dgm:prSet/>
      <dgm:spPr/>
      <dgm:t>
        <a:bodyPr/>
        <a:lstStyle/>
        <a:p>
          <a:endParaRPr lang="en-US">
            <a:latin typeface="+mj-lt"/>
          </a:endParaRPr>
        </a:p>
      </dgm:t>
    </dgm:pt>
    <dgm:pt modelId="{A71BB44F-9899-4B09-B168-9C97AAC50D7A}">
      <dgm:prSet phldrT="[Text]"/>
      <dgm:spPr/>
      <dgm:t>
        <a:bodyPr/>
        <a:lstStyle/>
        <a:p>
          <a:r>
            <a:rPr lang="en-US" dirty="0">
              <a:latin typeface="+mj-lt"/>
            </a:rPr>
            <a:t>Password hash synchronization</a:t>
          </a:r>
        </a:p>
      </dgm:t>
    </dgm:pt>
    <dgm:pt modelId="{B3C90D45-00E7-4920-B30F-2B2CB53F2B40}" type="parTrans" cxnId="{1F2AA0C4-54C8-47D4-97A7-6D47F031E772}">
      <dgm:prSet/>
      <dgm:spPr/>
      <dgm:t>
        <a:bodyPr/>
        <a:lstStyle/>
        <a:p>
          <a:endParaRPr lang="en-US">
            <a:latin typeface="+mj-lt"/>
          </a:endParaRPr>
        </a:p>
      </dgm:t>
    </dgm:pt>
    <dgm:pt modelId="{4631DD52-4C82-49C6-9861-2E1157239120}" type="sibTrans" cxnId="{1F2AA0C4-54C8-47D4-97A7-6D47F031E772}">
      <dgm:prSet/>
      <dgm:spPr/>
      <dgm:t>
        <a:bodyPr/>
        <a:lstStyle/>
        <a:p>
          <a:endParaRPr lang="en-US">
            <a:latin typeface="+mj-lt"/>
          </a:endParaRPr>
        </a:p>
      </dgm:t>
    </dgm:pt>
    <dgm:pt modelId="{92FC16CA-37A2-45EE-8CE5-15E0FD06D917}">
      <dgm:prSet phldrT="[Text]"/>
      <dgm:spPr/>
      <dgm:t>
        <a:bodyPr/>
        <a:lstStyle/>
        <a:p>
          <a:r>
            <a:rPr lang="en-US" dirty="0">
              <a:latin typeface="+mj-lt"/>
            </a:rPr>
            <a:t>Signing into Azure Active Directory</a:t>
          </a:r>
        </a:p>
      </dgm:t>
    </dgm:pt>
    <dgm:pt modelId="{F9E9747C-476D-4D12-BB3A-20EAB272320C}" type="parTrans" cxnId="{1ED7EEED-9649-45C8-97E1-5E5B9E5F786D}">
      <dgm:prSet/>
      <dgm:spPr/>
      <dgm:t>
        <a:bodyPr/>
        <a:lstStyle/>
        <a:p>
          <a:endParaRPr lang="en-US">
            <a:latin typeface="+mj-lt"/>
          </a:endParaRPr>
        </a:p>
      </dgm:t>
    </dgm:pt>
    <dgm:pt modelId="{C5FBA559-785D-4D87-A59A-E966419F0118}" type="sibTrans" cxnId="{1ED7EEED-9649-45C8-97E1-5E5B9E5F786D}">
      <dgm:prSet/>
      <dgm:spPr/>
      <dgm:t>
        <a:bodyPr/>
        <a:lstStyle/>
        <a:p>
          <a:endParaRPr lang="en-US">
            <a:latin typeface="+mj-lt"/>
          </a:endParaRPr>
        </a:p>
      </dgm:t>
    </dgm:pt>
    <dgm:pt modelId="{22EA0915-7C63-4607-89E5-B7502884F562}" type="pres">
      <dgm:prSet presAssocID="{393D2711-1527-430F-9393-CC01FE2D1A93}" presName="diagram" presStyleCnt="0">
        <dgm:presLayoutVars>
          <dgm:dir/>
          <dgm:resizeHandles val="exact"/>
        </dgm:presLayoutVars>
      </dgm:prSet>
      <dgm:spPr/>
    </dgm:pt>
    <dgm:pt modelId="{9B7AFD8C-7B3A-47C6-9EAD-95E921B69078}" type="pres">
      <dgm:prSet presAssocID="{81DD44A1-EAF2-4B0E-BD4F-1906B31C3D88}" presName="node" presStyleLbl="node1" presStyleIdx="0" presStyleCnt="7">
        <dgm:presLayoutVars>
          <dgm:bulletEnabled val="1"/>
        </dgm:presLayoutVars>
      </dgm:prSet>
      <dgm:spPr/>
    </dgm:pt>
    <dgm:pt modelId="{8CB8BD09-8777-4625-833F-9E4FBB838CF8}" type="pres">
      <dgm:prSet presAssocID="{7F14DF82-FE00-4B70-91FC-5E9B34769151}" presName="sibTrans" presStyleCnt="0"/>
      <dgm:spPr/>
    </dgm:pt>
    <dgm:pt modelId="{C50C9D76-C45C-4B53-AC9D-06BA1A40E105}" type="pres">
      <dgm:prSet presAssocID="{F43C50B3-976B-4457-86C7-099375645D4C}" presName="node" presStyleLbl="node1" presStyleIdx="1" presStyleCnt="7">
        <dgm:presLayoutVars>
          <dgm:bulletEnabled val="1"/>
        </dgm:presLayoutVars>
      </dgm:prSet>
      <dgm:spPr/>
    </dgm:pt>
    <dgm:pt modelId="{75C9221F-6AA0-404E-BDE1-CEF0B87D878B}" type="pres">
      <dgm:prSet presAssocID="{2E1B1B1C-2AE3-4A8B-B373-D12D8EB5E3DC}" presName="sibTrans" presStyleCnt="0"/>
      <dgm:spPr/>
    </dgm:pt>
    <dgm:pt modelId="{3F5454EF-66CC-459B-9D3C-FE0F4FD0EE63}" type="pres">
      <dgm:prSet presAssocID="{60B4DF4A-734A-4051-B2D5-D292241326CE}" presName="node" presStyleLbl="node1" presStyleIdx="2" presStyleCnt="7">
        <dgm:presLayoutVars>
          <dgm:bulletEnabled val="1"/>
        </dgm:presLayoutVars>
      </dgm:prSet>
      <dgm:spPr/>
    </dgm:pt>
    <dgm:pt modelId="{517AE40C-58CF-4545-9270-F94D59D4558E}" type="pres">
      <dgm:prSet presAssocID="{D6315C85-C83A-4D62-8580-CAF4CD370E95}" presName="sibTrans" presStyleCnt="0"/>
      <dgm:spPr/>
    </dgm:pt>
    <dgm:pt modelId="{0F144514-DC54-43A3-A1C2-6BF7BB383DD1}" type="pres">
      <dgm:prSet presAssocID="{4AC0F43B-78B4-44E3-A409-91374ED9F3FB}" presName="node" presStyleLbl="node1" presStyleIdx="3" presStyleCnt="7">
        <dgm:presLayoutVars>
          <dgm:bulletEnabled val="1"/>
        </dgm:presLayoutVars>
      </dgm:prSet>
      <dgm:spPr/>
    </dgm:pt>
    <dgm:pt modelId="{0059D96C-AE73-44AD-AAB1-175B945FECBE}" type="pres">
      <dgm:prSet presAssocID="{39000466-FDCC-4A8F-9B86-85E9B8805CBA}" presName="sibTrans" presStyleCnt="0"/>
      <dgm:spPr/>
    </dgm:pt>
    <dgm:pt modelId="{133C5939-77E2-4C60-A57F-6552622860EC}" type="pres">
      <dgm:prSet presAssocID="{19B16C37-E23C-4305-9ABB-666EAAD15BD9}" presName="node" presStyleLbl="node1" presStyleIdx="4" presStyleCnt="7">
        <dgm:presLayoutVars>
          <dgm:bulletEnabled val="1"/>
        </dgm:presLayoutVars>
      </dgm:prSet>
      <dgm:spPr/>
    </dgm:pt>
    <dgm:pt modelId="{12D97D68-372A-49C0-99DE-B4480769AC07}" type="pres">
      <dgm:prSet presAssocID="{209169AA-7F0D-437E-A019-10D9A57CE568}" presName="sibTrans" presStyleCnt="0"/>
      <dgm:spPr/>
    </dgm:pt>
    <dgm:pt modelId="{35A76C06-76FB-47A8-953F-E017C76DFD94}" type="pres">
      <dgm:prSet presAssocID="{A71BB44F-9899-4B09-B168-9C97AAC50D7A}" presName="node" presStyleLbl="node1" presStyleIdx="5" presStyleCnt="7">
        <dgm:presLayoutVars>
          <dgm:bulletEnabled val="1"/>
        </dgm:presLayoutVars>
      </dgm:prSet>
      <dgm:spPr/>
    </dgm:pt>
    <dgm:pt modelId="{51919740-2765-4896-9A26-34128E7DB1FA}" type="pres">
      <dgm:prSet presAssocID="{4631DD52-4C82-49C6-9861-2E1157239120}" presName="sibTrans" presStyleCnt="0"/>
      <dgm:spPr/>
    </dgm:pt>
    <dgm:pt modelId="{ED414FA7-7122-4AEC-84F6-CFDDD3595094}" type="pres">
      <dgm:prSet presAssocID="{92FC16CA-37A2-45EE-8CE5-15E0FD06D917}" presName="node" presStyleLbl="node1" presStyleIdx="6" presStyleCnt="7">
        <dgm:presLayoutVars>
          <dgm:bulletEnabled val="1"/>
        </dgm:presLayoutVars>
      </dgm:prSet>
      <dgm:spPr/>
    </dgm:pt>
  </dgm:ptLst>
  <dgm:cxnLst>
    <dgm:cxn modelId="{E3E2AC02-3FE4-4247-843E-7719B7D7768A}" type="presOf" srcId="{92FC16CA-37A2-45EE-8CE5-15E0FD06D917}" destId="{ED414FA7-7122-4AEC-84F6-CFDDD3595094}" srcOrd="0" destOrd="0" presId="urn:microsoft.com/office/officeart/2005/8/layout/default"/>
    <dgm:cxn modelId="{9ED62435-AD8D-4F58-85BE-6F108F66A2E6}" type="presOf" srcId="{393D2711-1527-430F-9393-CC01FE2D1A93}" destId="{22EA0915-7C63-4607-89E5-B7502884F562}" srcOrd="0" destOrd="0" presId="urn:microsoft.com/office/officeart/2005/8/layout/default"/>
    <dgm:cxn modelId="{D011B640-EB00-49A1-A899-EF09F73B3935}" srcId="{393D2711-1527-430F-9393-CC01FE2D1A93}" destId="{60B4DF4A-734A-4051-B2D5-D292241326CE}" srcOrd="2" destOrd="0" parTransId="{07C25B00-A14B-4614-AB4D-83667D63E216}" sibTransId="{D6315C85-C83A-4D62-8580-CAF4CD370E95}"/>
    <dgm:cxn modelId="{5A4F3967-DBF4-4855-BBF4-7311C1F90631}" type="presOf" srcId="{19B16C37-E23C-4305-9ABB-666EAAD15BD9}" destId="{133C5939-77E2-4C60-A57F-6552622860EC}" srcOrd="0" destOrd="0" presId="urn:microsoft.com/office/officeart/2005/8/layout/default"/>
    <dgm:cxn modelId="{CBD75648-4F8A-4D3A-BE53-197025FEC0B0}" type="presOf" srcId="{60B4DF4A-734A-4051-B2D5-D292241326CE}" destId="{3F5454EF-66CC-459B-9D3C-FE0F4FD0EE63}" srcOrd="0" destOrd="0" presId="urn:microsoft.com/office/officeart/2005/8/layout/default"/>
    <dgm:cxn modelId="{2BF60971-2CCD-4B52-B897-2468997374A5}" type="presOf" srcId="{4AC0F43B-78B4-44E3-A409-91374ED9F3FB}" destId="{0F144514-DC54-43A3-A1C2-6BF7BB383DD1}" srcOrd="0" destOrd="0" presId="urn:microsoft.com/office/officeart/2005/8/layout/default"/>
    <dgm:cxn modelId="{86712957-B0F6-41F3-9D11-52B333DBA579}" srcId="{393D2711-1527-430F-9393-CC01FE2D1A93}" destId="{19B16C37-E23C-4305-9ABB-666EAAD15BD9}" srcOrd="4" destOrd="0" parTransId="{75E09728-7738-4D5E-83C3-A227D31DA08F}" sibTransId="{209169AA-7F0D-437E-A019-10D9A57CE568}"/>
    <dgm:cxn modelId="{37EF567E-04BD-4DE5-9486-388673B15DD8}" type="presOf" srcId="{F43C50B3-976B-4457-86C7-099375645D4C}" destId="{C50C9D76-C45C-4B53-AC9D-06BA1A40E105}" srcOrd="0" destOrd="0" presId="urn:microsoft.com/office/officeart/2005/8/layout/default"/>
    <dgm:cxn modelId="{75DBED94-0543-49B8-BC4E-AA50320FABA0}" srcId="{393D2711-1527-430F-9393-CC01FE2D1A93}" destId="{4AC0F43B-78B4-44E3-A409-91374ED9F3FB}" srcOrd="3" destOrd="0" parTransId="{ADDA607C-5DAC-46E6-A1B7-686640D3479B}" sibTransId="{39000466-FDCC-4A8F-9B86-85E9B8805CBA}"/>
    <dgm:cxn modelId="{E73FC597-0D4E-40B6-B0FD-1AAEE6096E6F}" type="presOf" srcId="{81DD44A1-EAF2-4B0E-BD4F-1906B31C3D88}" destId="{9B7AFD8C-7B3A-47C6-9EAD-95E921B69078}" srcOrd="0" destOrd="0" presId="urn:microsoft.com/office/officeart/2005/8/layout/default"/>
    <dgm:cxn modelId="{1F2AA0C4-54C8-47D4-97A7-6D47F031E772}" srcId="{393D2711-1527-430F-9393-CC01FE2D1A93}" destId="{A71BB44F-9899-4B09-B168-9C97AAC50D7A}" srcOrd="5" destOrd="0" parTransId="{B3C90D45-00E7-4920-B30F-2B2CB53F2B40}" sibTransId="{4631DD52-4C82-49C6-9861-2E1157239120}"/>
    <dgm:cxn modelId="{FB9B45D0-647D-4BC9-99E2-1C15DB86F4C0}" srcId="{393D2711-1527-430F-9393-CC01FE2D1A93}" destId="{81DD44A1-EAF2-4B0E-BD4F-1906B31C3D88}" srcOrd="0" destOrd="0" parTransId="{DE338166-A6A2-412E-A2C4-35CC4DE51B42}" sibTransId="{7F14DF82-FE00-4B70-91FC-5E9B34769151}"/>
    <dgm:cxn modelId="{0C7B0CD5-56D5-4325-B484-1127BC33ADB6}" type="presOf" srcId="{A71BB44F-9899-4B09-B168-9C97AAC50D7A}" destId="{35A76C06-76FB-47A8-953F-E017C76DFD94}" srcOrd="0" destOrd="0" presId="urn:microsoft.com/office/officeart/2005/8/layout/default"/>
    <dgm:cxn modelId="{35C050ED-9D73-4DE9-A590-27E267E5EC67}" srcId="{393D2711-1527-430F-9393-CC01FE2D1A93}" destId="{F43C50B3-976B-4457-86C7-099375645D4C}" srcOrd="1" destOrd="0" parTransId="{A7DD2CD9-B43E-40A8-9808-C9C2A011983B}" sibTransId="{2E1B1B1C-2AE3-4A8B-B373-D12D8EB5E3DC}"/>
    <dgm:cxn modelId="{1ED7EEED-9649-45C8-97E1-5E5B9E5F786D}" srcId="{393D2711-1527-430F-9393-CC01FE2D1A93}" destId="{92FC16CA-37A2-45EE-8CE5-15E0FD06D917}" srcOrd="6" destOrd="0" parTransId="{F9E9747C-476D-4D12-BB3A-20EAB272320C}" sibTransId="{C5FBA559-785D-4D87-A59A-E966419F0118}"/>
    <dgm:cxn modelId="{235E71BF-96AE-40DA-B1DA-1B5669FE0DE6}" type="presParOf" srcId="{22EA0915-7C63-4607-89E5-B7502884F562}" destId="{9B7AFD8C-7B3A-47C6-9EAD-95E921B69078}" srcOrd="0" destOrd="0" presId="urn:microsoft.com/office/officeart/2005/8/layout/default"/>
    <dgm:cxn modelId="{D3AF17FE-C9D0-43E6-BC95-388BF28B7BBE}" type="presParOf" srcId="{22EA0915-7C63-4607-89E5-B7502884F562}" destId="{8CB8BD09-8777-4625-833F-9E4FBB838CF8}" srcOrd="1" destOrd="0" presId="urn:microsoft.com/office/officeart/2005/8/layout/default"/>
    <dgm:cxn modelId="{5B3503A5-36A3-4E19-89D3-822B09EC8F63}" type="presParOf" srcId="{22EA0915-7C63-4607-89E5-B7502884F562}" destId="{C50C9D76-C45C-4B53-AC9D-06BA1A40E105}" srcOrd="2" destOrd="0" presId="urn:microsoft.com/office/officeart/2005/8/layout/default"/>
    <dgm:cxn modelId="{9D87D6E8-6A83-4D7A-AF69-098F5F42013C}" type="presParOf" srcId="{22EA0915-7C63-4607-89E5-B7502884F562}" destId="{75C9221F-6AA0-404E-BDE1-CEF0B87D878B}" srcOrd="3" destOrd="0" presId="urn:microsoft.com/office/officeart/2005/8/layout/default"/>
    <dgm:cxn modelId="{8AFFD045-C318-486C-8070-E5AB27CFB1BF}" type="presParOf" srcId="{22EA0915-7C63-4607-89E5-B7502884F562}" destId="{3F5454EF-66CC-459B-9D3C-FE0F4FD0EE63}" srcOrd="4" destOrd="0" presId="urn:microsoft.com/office/officeart/2005/8/layout/default"/>
    <dgm:cxn modelId="{224DA684-B139-4108-AAEF-633F736B224C}" type="presParOf" srcId="{22EA0915-7C63-4607-89E5-B7502884F562}" destId="{517AE40C-58CF-4545-9270-F94D59D4558E}" srcOrd="5" destOrd="0" presId="urn:microsoft.com/office/officeart/2005/8/layout/default"/>
    <dgm:cxn modelId="{244F0A91-FDB2-42D7-A352-407150CD1BE9}" type="presParOf" srcId="{22EA0915-7C63-4607-89E5-B7502884F562}" destId="{0F144514-DC54-43A3-A1C2-6BF7BB383DD1}" srcOrd="6" destOrd="0" presId="urn:microsoft.com/office/officeart/2005/8/layout/default"/>
    <dgm:cxn modelId="{FDC82289-C6CF-4F70-B2C4-3419CD8E7850}" type="presParOf" srcId="{22EA0915-7C63-4607-89E5-B7502884F562}" destId="{0059D96C-AE73-44AD-AAB1-175B945FECBE}" srcOrd="7" destOrd="0" presId="urn:microsoft.com/office/officeart/2005/8/layout/default"/>
    <dgm:cxn modelId="{D2B67E7F-B6E2-42E2-8883-2A37537F3675}" type="presParOf" srcId="{22EA0915-7C63-4607-89E5-B7502884F562}" destId="{133C5939-77E2-4C60-A57F-6552622860EC}" srcOrd="8" destOrd="0" presId="urn:microsoft.com/office/officeart/2005/8/layout/default"/>
    <dgm:cxn modelId="{93F7F733-51D2-488E-9A27-A33B0DA64E9D}" type="presParOf" srcId="{22EA0915-7C63-4607-89E5-B7502884F562}" destId="{12D97D68-372A-49C0-99DE-B4480769AC07}" srcOrd="9" destOrd="0" presId="urn:microsoft.com/office/officeart/2005/8/layout/default"/>
    <dgm:cxn modelId="{AE74DE25-A4ED-4D6D-AB18-3C74B7150107}" type="presParOf" srcId="{22EA0915-7C63-4607-89E5-B7502884F562}" destId="{35A76C06-76FB-47A8-953F-E017C76DFD94}" srcOrd="10" destOrd="0" presId="urn:microsoft.com/office/officeart/2005/8/layout/default"/>
    <dgm:cxn modelId="{C577B9D2-D916-4375-9DDE-A1469F48AA7E}" type="presParOf" srcId="{22EA0915-7C63-4607-89E5-B7502884F562}" destId="{51919740-2765-4896-9A26-34128E7DB1FA}" srcOrd="11" destOrd="0" presId="urn:microsoft.com/office/officeart/2005/8/layout/default"/>
    <dgm:cxn modelId="{6321D6F8-006A-4F39-88C3-3B79F7869575}" type="presParOf" srcId="{22EA0915-7C63-4607-89E5-B7502884F562}" destId="{ED414FA7-7122-4AEC-84F6-CFDDD3595094}"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D958E72-6131-4EED-B6B7-2B84642D9759}" type="doc">
      <dgm:prSet loTypeId="urn:microsoft.com/office/officeart/2005/8/layout/hProcess9" loCatId="process" qsTypeId="urn:microsoft.com/office/officeart/2005/8/quickstyle/simple1" qsCatId="simple" csTypeId="urn:microsoft.com/office/officeart/2005/8/colors/accent1_2" csCatId="accent1" phldr="1"/>
      <dgm:spPr/>
    </dgm:pt>
    <dgm:pt modelId="{A74B2D4C-4FFB-4433-8481-D4F4837D6C1B}">
      <dgm:prSet phldrT="[Text]"/>
      <dgm:spPr/>
      <dgm:t>
        <a:bodyPr/>
        <a:lstStyle/>
        <a:p>
          <a:r>
            <a:rPr lang="en-US" dirty="0"/>
            <a:t>The Alternate Login ID is a way to achieve UPN alignment without having to modify the UPN attribute of user accounts in AD</a:t>
          </a:r>
        </a:p>
      </dgm:t>
    </dgm:pt>
    <dgm:pt modelId="{55E1B935-C5B8-4F6D-926A-6487D83624FD}" type="parTrans" cxnId="{25CE4144-4C43-450F-942B-FC82AD6E6729}">
      <dgm:prSet/>
      <dgm:spPr/>
      <dgm:t>
        <a:bodyPr/>
        <a:lstStyle/>
        <a:p>
          <a:endParaRPr lang="en-US"/>
        </a:p>
      </dgm:t>
    </dgm:pt>
    <dgm:pt modelId="{80907A33-50D3-4391-8113-0A6DEDE9E5E3}" type="sibTrans" cxnId="{25CE4144-4C43-450F-942B-FC82AD6E6729}">
      <dgm:prSet/>
      <dgm:spPr/>
      <dgm:t>
        <a:bodyPr/>
        <a:lstStyle/>
        <a:p>
          <a:endParaRPr lang="en-US"/>
        </a:p>
      </dgm:t>
    </dgm:pt>
    <dgm:pt modelId="{1A39E300-4368-49CA-82AD-C733F8828354}">
      <dgm:prSet phldrT="[Text]"/>
      <dgm:spPr/>
      <dgm:t>
        <a:bodyPr/>
        <a:lstStyle/>
        <a:p>
          <a:r>
            <a:rPr lang="en-US" dirty="0"/>
            <a:t>While Alternate Login ID can help in some situations, it should not be the default solution because of some drawbacks</a:t>
          </a:r>
        </a:p>
      </dgm:t>
    </dgm:pt>
    <dgm:pt modelId="{8A80E571-B9A7-44C3-BBE8-0D6DE16BA82B}" type="sibTrans" cxnId="{7FB80513-7098-4A21-A81F-49FDB32F03B4}">
      <dgm:prSet/>
      <dgm:spPr/>
      <dgm:t>
        <a:bodyPr/>
        <a:lstStyle/>
        <a:p>
          <a:endParaRPr lang="en-US"/>
        </a:p>
      </dgm:t>
    </dgm:pt>
    <dgm:pt modelId="{3785E9A2-BF26-4524-9111-5BB785780964}" type="parTrans" cxnId="{7FB80513-7098-4A21-A81F-49FDB32F03B4}">
      <dgm:prSet/>
      <dgm:spPr/>
      <dgm:t>
        <a:bodyPr/>
        <a:lstStyle/>
        <a:p>
          <a:endParaRPr lang="en-US"/>
        </a:p>
      </dgm:t>
    </dgm:pt>
    <dgm:pt modelId="{DE14D80C-BD03-443C-BA0A-885A4DD84062}">
      <dgm:prSet/>
      <dgm:spPr/>
      <dgm:t>
        <a:bodyPr/>
        <a:lstStyle/>
        <a:p>
          <a:r>
            <a:rPr lang="en-US" dirty="0"/>
            <a:t>Due to these issues, it is recommended that Alternate Login ID be used as a secondary option only when UPN rationalization is not possible with a customer</a:t>
          </a:r>
        </a:p>
      </dgm:t>
    </dgm:pt>
    <dgm:pt modelId="{B30D1BFE-C8A5-468E-B39F-79B1BD80AC7F}" type="parTrans" cxnId="{EDDA8FE3-3B77-4A0A-9E38-B45D808685CC}">
      <dgm:prSet/>
      <dgm:spPr/>
      <dgm:t>
        <a:bodyPr/>
        <a:lstStyle/>
        <a:p>
          <a:endParaRPr lang="en-US"/>
        </a:p>
      </dgm:t>
    </dgm:pt>
    <dgm:pt modelId="{57F7D5AB-F0E9-4065-BCB3-6454A2D950FA}" type="sibTrans" cxnId="{EDDA8FE3-3B77-4A0A-9E38-B45D808685CC}">
      <dgm:prSet/>
      <dgm:spPr/>
      <dgm:t>
        <a:bodyPr/>
        <a:lstStyle/>
        <a:p>
          <a:endParaRPr lang="en-US"/>
        </a:p>
      </dgm:t>
    </dgm:pt>
    <dgm:pt modelId="{43E145A4-0B4B-4DC5-8858-5251C455381C}" type="pres">
      <dgm:prSet presAssocID="{1D958E72-6131-4EED-B6B7-2B84642D9759}" presName="CompostProcess" presStyleCnt="0">
        <dgm:presLayoutVars>
          <dgm:dir/>
          <dgm:resizeHandles val="exact"/>
        </dgm:presLayoutVars>
      </dgm:prSet>
      <dgm:spPr/>
    </dgm:pt>
    <dgm:pt modelId="{5DCA705E-5BC4-47BA-B436-983CCEE237C3}" type="pres">
      <dgm:prSet presAssocID="{1D958E72-6131-4EED-B6B7-2B84642D9759}" presName="arrow" presStyleLbl="bgShp" presStyleIdx="0" presStyleCnt="1"/>
      <dgm:spPr/>
    </dgm:pt>
    <dgm:pt modelId="{C743F678-A9C2-4F15-B84C-9056690C68D0}" type="pres">
      <dgm:prSet presAssocID="{1D958E72-6131-4EED-B6B7-2B84642D9759}" presName="linearProcess" presStyleCnt="0"/>
      <dgm:spPr/>
    </dgm:pt>
    <dgm:pt modelId="{98BB514B-AAF9-4D2A-8159-B8BBCE223F00}" type="pres">
      <dgm:prSet presAssocID="{A74B2D4C-4FFB-4433-8481-D4F4837D6C1B}" presName="textNode" presStyleLbl="node1" presStyleIdx="0" presStyleCnt="3">
        <dgm:presLayoutVars>
          <dgm:bulletEnabled val="1"/>
        </dgm:presLayoutVars>
      </dgm:prSet>
      <dgm:spPr/>
    </dgm:pt>
    <dgm:pt modelId="{31893B1D-6B72-4006-8DF5-F4E10AC02182}" type="pres">
      <dgm:prSet presAssocID="{80907A33-50D3-4391-8113-0A6DEDE9E5E3}" presName="sibTrans" presStyleCnt="0"/>
      <dgm:spPr/>
    </dgm:pt>
    <dgm:pt modelId="{09566A26-5135-47AC-9A05-CB576F8207E3}" type="pres">
      <dgm:prSet presAssocID="{1A39E300-4368-49CA-82AD-C733F8828354}" presName="textNode" presStyleLbl="node1" presStyleIdx="1" presStyleCnt="3">
        <dgm:presLayoutVars>
          <dgm:bulletEnabled val="1"/>
        </dgm:presLayoutVars>
      </dgm:prSet>
      <dgm:spPr/>
    </dgm:pt>
    <dgm:pt modelId="{8425D4E7-E5A6-4741-9168-8785231A8E1A}" type="pres">
      <dgm:prSet presAssocID="{8A80E571-B9A7-44C3-BBE8-0D6DE16BA82B}" presName="sibTrans" presStyleCnt="0"/>
      <dgm:spPr/>
    </dgm:pt>
    <dgm:pt modelId="{1C898DC4-60DF-4EB1-A7CF-CEC438384F35}" type="pres">
      <dgm:prSet presAssocID="{DE14D80C-BD03-443C-BA0A-885A4DD84062}" presName="textNode" presStyleLbl="node1" presStyleIdx="2" presStyleCnt="3">
        <dgm:presLayoutVars>
          <dgm:bulletEnabled val="1"/>
        </dgm:presLayoutVars>
      </dgm:prSet>
      <dgm:spPr/>
    </dgm:pt>
  </dgm:ptLst>
  <dgm:cxnLst>
    <dgm:cxn modelId="{7FB80513-7098-4A21-A81F-49FDB32F03B4}" srcId="{1D958E72-6131-4EED-B6B7-2B84642D9759}" destId="{1A39E300-4368-49CA-82AD-C733F8828354}" srcOrd="1" destOrd="0" parTransId="{3785E9A2-BF26-4524-9111-5BB785780964}" sibTransId="{8A80E571-B9A7-44C3-BBE8-0D6DE16BA82B}"/>
    <dgm:cxn modelId="{25CE4144-4C43-450F-942B-FC82AD6E6729}" srcId="{1D958E72-6131-4EED-B6B7-2B84642D9759}" destId="{A74B2D4C-4FFB-4433-8481-D4F4837D6C1B}" srcOrd="0" destOrd="0" parTransId="{55E1B935-C5B8-4F6D-926A-6487D83624FD}" sibTransId="{80907A33-50D3-4391-8113-0A6DEDE9E5E3}"/>
    <dgm:cxn modelId="{43C0D873-58A0-4DDC-BC78-BE0B3DB15B29}" type="presOf" srcId="{1D958E72-6131-4EED-B6B7-2B84642D9759}" destId="{43E145A4-0B4B-4DC5-8858-5251C455381C}" srcOrd="0" destOrd="0" presId="urn:microsoft.com/office/officeart/2005/8/layout/hProcess9"/>
    <dgm:cxn modelId="{96AE01B1-A4B0-4543-96CE-273B22C919D1}" type="presOf" srcId="{1A39E300-4368-49CA-82AD-C733F8828354}" destId="{09566A26-5135-47AC-9A05-CB576F8207E3}" srcOrd="0" destOrd="0" presId="urn:microsoft.com/office/officeart/2005/8/layout/hProcess9"/>
    <dgm:cxn modelId="{75A6C4C8-93EF-4415-8410-28116793173B}" type="presOf" srcId="{DE14D80C-BD03-443C-BA0A-885A4DD84062}" destId="{1C898DC4-60DF-4EB1-A7CF-CEC438384F35}" srcOrd="0" destOrd="0" presId="urn:microsoft.com/office/officeart/2005/8/layout/hProcess9"/>
    <dgm:cxn modelId="{D98ADEE1-B799-40B4-810C-FBDB05FA3987}" type="presOf" srcId="{A74B2D4C-4FFB-4433-8481-D4F4837D6C1B}" destId="{98BB514B-AAF9-4D2A-8159-B8BBCE223F00}" srcOrd="0" destOrd="0" presId="urn:microsoft.com/office/officeart/2005/8/layout/hProcess9"/>
    <dgm:cxn modelId="{EDDA8FE3-3B77-4A0A-9E38-B45D808685CC}" srcId="{1D958E72-6131-4EED-B6B7-2B84642D9759}" destId="{DE14D80C-BD03-443C-BA0A-885A4DD84062}" srcOrd="2" destOrd="0" parTransId="{B30D1BFE-C8A5-468E-B39F-79B1BD80AC7F}" sibTransId="{57F7D5AB-F0E9-4065-BCB3-6454A2D950FA}"/>
    <dgm:cxn modelId="{36B0F775-717B-4304-839B-B5D81AD574F1}" type="presParOf" srcId="{43E145A4-0B4B-4DC5-8858-5251C455381C}" destId="{5DCA705E-5BC4-47BA-B436-983CCEE237C3}" srcOrd="0" destOrd="0" presId="urn:microsoft.com/office/officeart/2005/8/layout/hProcess9"/>
    <dgm:cxn modelId="{513A6498-EC13-4E0F-89BE-9F7364BEE300}" type="presParOf" srcId="{43E145A4-0B4B-4DC5-8858-5251C455381C}" destId="{C743F678-A9C2-4F15-B84C-9056690C68D0}" srcOrd="1" destOrd="0" presId="urn:microsoft.com/office/officeart/2005/8/layout/hProcess9"/>
    <dgm:cxn modelId="{48BF9962-D84A-4135-82B7-FE6178428C84}" type="presParOf" srcId="{C743F678-A9C2-4F15-B84C-9056690C68D0}" destId="{98BB514B-AAF9-4D2A-8159-B8BBCE223F00}" srcOrd="0" destOrd="0" presId="urn:microsoft.com/office/officeart/2005/8/layout/hProcess9"/>
    <dgm:cxn modelId="{537BD359-FFA9-4294-AF7F-328FA7127B2A}" type="presParOf" srcId="{C743F678-A9C2-4F15-B84C-9056690C68D0}" destId="{31893B1D-6B72-4006-8DF5-F4E10AC02182}" srcOrd="1" destOrd="0" presId="urn:microsoft.com/office/officeart/2005/8/layout/hProcess9"/>
    <dgm:cxn modelId="{5143BE7B-DFB7-4E00-83CB-023A44BF6542}" type="presParOf" srcId="{C743F678-A9C2-4F15-B84C-9056690C68D0}" destId="{09566A26-5135-47AC-9A05-CB576F8207E3}" srcOrd="2" destOrd="0" presId="urn:microsoft.com/office/officeart/2005/8/layout/hProcess9"/>
    <dgm:cxn modelId="{368AC220-6799-4A8B-A998-F4E117AAB022}" type="presParOf" srcId="{C743F678-A9C2-4F15-B84C-9056690C68D0}" destId="{8425D4E7-E5A6-4741-9168-8785231A8E1A}" srcOrd="3" destOrd="0" presId="urn:microsoft.com/office/officeart/2005/8/layout/hProcess9"/>
    <dgm:cxn modelId="{94AD5C68-4F6F-4FD6-A8E0-A494B7EC572D}" type="presParOf" srcId="{C743F678-A9C2-4F15-B84C-9056690C68D0}" destId="{1C898DC4-60DF-4EB1-A7CF-CEC438384F35}"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2A59754-4736-4E53-9411-2495C2A47FD6}"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E94C822A-CD67-40B7-9BBF-85E5C4DD50E6}">
      <dgm:prSet phldrT="[Text]"/>
      <dgm:spPr/>
      <dgm:t>
        <a:bodyPr/>
        <a:lstStyle/>
        <a:p>
          <a:r>
            <a:rPr lang="en-US" b="1" dirty="0"/>
            <a:t>Direct purchase of Azure MFA licenses: </a:t>
          </a:r>
          <a:r>
            <a:rPr lang="en-US" b="0" dirty="0"/>
            <a:t>P</a:t>
          </a:r>
          <a:r>
            <a:rPr lang="en-US" dirty="0"/>
            <a:t>ay on either a per-user or per-authentication basis</a:t>
          </a:r>
        </a:p>
      </dgm:t>
    </dgm:pt>
    <dgm:pt modelId="{56CF939B-80FA-41CB-927E-56022AEB00FF}" type="parTrans" cxnId="{22CC3364-468C-462C-944C-483ADE313B5B}">
      <dgm:prSet/>
      <dgm:spPr/>
      <dgm:t>
        <a:bodyPr/>
        <a:lstStyle/>
        <a:p>
          <a:endParaRPr lang="en-US"/>
        </a:p>
      </dgm:t>
    </dgm:pt>
    <dgm:pt modelId="{A2CD08C7-2752-4A82-86BF-95BC0ADF1F1C}" type="sibTrans" cxnId="{22CC3364-468C-462C-944C-483ADE313B5B}">
      <dgm:prSet/>
      <dgm:spPr/>
      <dgm:t>
        <a:bodyPr/>
        <a:lstStyle/>
        <a:p>
          <a:endParaRPr lang="en-US"/>
        </a:p>
      </dgm:t>
    </dgm:pt>
    <dgm:pt modelId="{5383F8CA-DBE3-4441-B86F-D7BBBAEA59D1}">
      <dgm:prSet phldrT="[Text]"/>
      <dgm:spPr/>
      <dgm:t>
        <a:bodyPr/>
        <a:lstStyle/>
        <a:p>
          <a:r>
            <a:rPr lang="en-US" b="1" dirty="0"/>
            <a:t>Purchase as part of Azure AD Premium: </a:t>
          </a:r>
          <a:r>
            <a:rPr lang="en-US" b="0" dirty="0"/>
            <a:t>AAD-Premium includes Azure licenses in the per-user cost</a:t>
          </a:r>
        </a:p>
      </dgm:t>
    </dgm:pt>
    <dgm:pt modelId="{BCF83887-E4A4-4E2B-ADA1-EA6E7436DFE6}" type="parTrans" cxnId="{464A4ED9-CDBA-49C4-906E-638F39189FA1}">
      <dgm:prSet/>
      <dgm:spPr/>
      <dgm:t>
        <a:bodyPr/>
        <a:lstStyle/>
        <a:p>
          <a:endParaRPr lang="en-US"/>
        </a:p>
      </dgm:t>
    </dgm:pt>
    <dgm:pt modelId="{9F073E42-6548-47D5-A47D-B4494D1F3C85}" type="sibTrans" cxnId="{464A4ED9-CDBA-49C4-906E-638F39189FA1}">
      <dgm:prSet/>
      <dgm:spPr/>
      <dgm:t>
        <a:bodyPr/>
        <a:lstStyle/>
        <a:p>
          <a:endParaRPr lang="en-US"/>
        </a:p>
      </dgm:t>
    </dgm:pt>
    <dgm:pt modelId="{52E6D149-6526-46E1-9A78-D5A61082CF09}">
      <dgm:prSet phldrT="[Text]"/>
      <dgm:spPr/>
      <dgm:t>
        <a:bodyPr/>
        <a:lstStyle/>
        <a:p>
          <a:r>
            <a:rPr lang="en-AU" b="1" dirty="0"/>
            <a:t>Purchase through the Enterprise Mobility Suite (EMS): </a:t>
          </a:r>
          <a:r>
            <a:rPr lang="en-US" dirty="0"/>
            <a:t>EMS includes Azure AD Premium as part of the package, which in turn includes Azure MFA per-user licenses</a:t>
          </a:r>
        </a:p>
      </dgm:t>
    </dgm:pt>
    <dgm:pt modelId="{24BFAD28-D838-45FF-8AF0-A3202AA7C62A}" type="parTrans" cxnId="{8A60F0EF-5AEC-472D-A872-70B8998FE1DB}">
      <dgm:prSet/>
      <dgm:spPr/>
      <dgm:t>
        <a:bodyPr/>
        <a:lstStyle/>
        <a:p>
          <a:endParaRPr lang="en-US"/>
        </a:p>
      </dgm:t>
    </dgm:pt>
    <dgm:pt modelId="{2F180E71-47A1-408E-8191-08F3C5745852}" type="sibTrans" cxnId="{8A60F0EF-5AEC-472D-A872-70B8998FE1DB}">
      <dgm:prSet/>
      <dgm:spPr/>
      <dgm:t>
        <a:bodyPr/>
        <a:lstStyle/>
        <a:p>
          <a:endParaRPr lang="en-US"/>
        </a:p>
      </dgm:t>
    </dgm:pt>
    <dgm:pt modelId="{637F1274-21D3-4A8E-9C32-C3C52DA5317A}" type="pres">
      <dgm:prSet presAssocID="{E2A59754-4736-4E53-9411-2495C2A47FD6}" presName="vert0" presStyleCnt="0">
        <dgm:presLayoutVars>
          <dgm:dir/>
          <dgm:animOne val="branch"/>
          <dgm:animLvl val="lvl"/>
        </dgm:presLayoutVars>
      </dgm:prSet>
      <dgm:spPr/>
    </dgm:pt>
    <dgm:pt modelId="{23A20637-0634-4C85-AC7D-AD4942E086CC}" type="pres">
      <dgm:prSet presAssocID="{E94C822A-CD67-40B7-9BBF-85E5C4DD50E6}" presName="thickLine" presStyleLbl="alignNode1" presStyleIdx="0" presStyleCnt="3"/>
      <dgm:spPr/>
    </dgm:pt>
    <dgm:pt modelId="{EF47E3B1-8913-49A8-95BF-0A1AAE0875E0}" type="pres">
      <dgm:prSet presAssocID="{E94C822A-CD67-40B7-9BBF-85E5C4DD50E6}" presName="horz1" presStyleCnt="0"/>
      <dgm:spPr/>
    </dgm:pt>
    <dgm:pt modelId="{EB347BA4-7561-4AA0-9AEC-AD1ABA3FF782}" type="pres">
      <dgm:prSet presAssocID="{E94C822A-CD67-40B7-9BBF-85E5C4DD50E6}" presName="tx1" presStyleLbl="revTx" presStyleIdx="0" presStyleCnt="3"/>
      <dgm:spPr/>
    </dgm:pt>
    <dgm:pt modelId="{637B7BF0-A305-47DC-8E51-ED88A85A221B}" type="pres">
      <dgm:prSet presAssocID="{E94C822A-CD67-40B7-9BBF-85E5C4DD50E6}" presName="vert1" presStyleCnt="0"/>
      <dgm:spPr/>
    </dgm:pt>
    <dgm:pt modelId="{EF16AFDB-AB02-4657-810C-E12D112AD2FA}" type="pres">
      <dgm:prSet presAssocID="{5383F8CA-DBE3-4441-B86F-D7BBBAEA59D1}" presName="thickLine" presStyleLbl="alignNode1" presStyleIdx="1" presStyleCnt="3"/>
      <dgm:spPr/>
    </dgm:pt>
    <dgm:pt modelId="{712BAD23-407A-47E8-9451-908120D07BCC}" type="pres">
      <dgm:prSet presAssocID="{5383F8CA-DBE3-4441-B86F-D7BBBAEA59D1}" presName="horz1" presStyleCnt="0"/>
      <dgm:spPr/>
    </dgm:pt>
    <dgm:pt modelId="{B9A5650B-3D25-47C0-BACD-1F449AA18900}" type="pres">
      <dgm:prSet presAssocID="{5383F8CA-DBE3-4441-B86F-D7BBBAEA59D1}" presName="tx1" presStyleLbl="revTx" presStyleIdx="1" presStyleCnt="3"/>
      <dgm:spPr/>
    </dgm:pt>
    <dgm:pt modelId="{5649323D-81E1-408B-AA54-852FB8CE9F5E}" type="pres">
      <dgm:prSet presAssocID="{5383F8CA-DBE3-4441-B86F-D7BBBAEA59D1}" presName="vert1" presStyleCnt="0"/>
      <dgm:spPr/>
    </dgm:pt>
    <dgm:pt modelId="{938F81FB-0DAE-441F-9A98-3157E1F8533B}" type="pres">
      <dgm:prSet presAssocID="{52E6D149-6526-46E1-9A78-D5A61082CF09}" presName="thickLine" presStyleLbl="alignNode1" presStyleIdx="2" presStyleCnt="3"/>
      <dgm:spPr/>
    </dgm:pt>
    <dgm:pt modelId="{EEB79EC4-CD18-4844-9801-A0F69AB0D409}" type="pres">
      <dgm:prSet presAssocID="{52E6D149-6526-46E1-9A78-D5A61082CF09}" presName="horz1" presStyleCnt="0"/>
      <dgm:spPr/>
    </dgm:pt>
    <dgm:pt modelId="{4F83F3B3-BA33-456D-B854-1E373996EF2F}" type="pres">
      <dgm:prSet presAssocID="{52E6D149-6526-46E1-9A78-D5A61082CF09}" presName="tx1" presStyleLbl="revTx" presStyleIdx="2" presStyleCnt="3"/>
      <dgm:spPr/>
    </dgm:pt>
    <dgm:pt modelId="{0B965840-1037-4B14-A7F2-94DE151A382E}" type="pres">
      <dgm:prSet presAssocID="{52E6D149-6526-46E1-9A78-D5A61082CF09}" presName="vert1" presStyleCnt="0"/>
      <dgm:spPr/>
    </dgm:pt>
  </dgm:ptLst>
  <dgm:cxnLst>
    <dgm:cxn modelId="{521D2009-409D-4B17-B4A4-BE649ED033AE}" type="presOf" srcId="{52E6D149-6526-46E1-9A78-D5A61082CF09}" destId="{4F83F3B3-BA33-456D-B854-1E373996EF2F}" srcOrd="0" destOrd="0" presId="urn:microsoft.com/office/officeart/2008/layout/LinedList"/>
    <dgm:cxn modelId="{7DA4BC09-085B-44A2-87D9-05C008DB0DA8}" type="presOf" srcId="{5383F8CA-DBE3-4441-B86F-D7BBBAEA59D1}" destId="{B9A5650B-3D25-47C0-BACD-1F449AA18900}" srcOrd="0" destOrd="0" presId="urn:microsoft.com/office/officeart/2008/layout/LinedList"/>
    <dgm:cxn modelId="{5D632A3E-6FF7-460F-8D0F-9E6ACC428AA3}" type="presOf" srcId="{E2A59754-4736-4E53-9411-2495C2A47FD6}" destId="{637F1274-21D3-4A8E-9C32-C3C52DA5317A}" srcOrd="0" destOrd="0" presId="urn:microsoft.com/office/officeart/2008/layout/LinedList"/>
    <dgm:cxn modelId="{22CC3364-468C-462C-944C-483ADE313B5B}" srcId="{E2A59754-4736-4E53-9411-2495C2A47FD6}" destId="{E94C822A-CD67-40B7-9BBF-85E5C4DD50E6}" srcOrd="0" destOrd="0" parTransId="{56CF939B-80FA-41CB-927E-56022AEB00FF}" sibTransId="{A2CD08C7-2752-4A82-86BF-95BC0ADF1F1C}"/>
    <dgm:cxn modelId="{205151B0-224F-408C-B82B-429842B852F3}" type="presOf" srcId="{E94C822A-CD67-40B7-9BBF-85E5C4DD50E6}" destId="{EB347BA4-7561-4AA0-9AEC-AD1ABA3FF782}" srcOrd="0" destOrd="0" presId="urn:microsoft.com/office/officeart/2008/layout/LinedList"/>
    <dgm:cxn modelId="{464A4ED9-CDBA-49C4-906E-638F39189FA1}" srcId="{E2A59754-4736-4E53-9411-2495C2A47FD6}" destId="{5383F8CA-DBE3-4441-B86F-D7BBBAEA59D1}" srcOrd="1" destOrd="0" parTransId="{BCF83887-E4A4-4E2B-ADA1-EA6E7436DFE6}" sibTransId="{9F073E42-6548-47D5-A47D-B4494D1F3C85}"/>
    <dgm:cxn modelId="{8A60F0EF-5AEC-472D-A872-70B8998FE1DB}" srcId="{E2A59754-4736-4E53-9411-2495C2A47FD6}" destId="{52E6D149-6526-46E1-9A78-D5A61082CF09}" srcOrd="2" destOrd="0" parTransId="{24BFAD28-D838-45FF-8AF0-A3202AA7C62A}" sibTransId="{2F180E71-47A1-408E-8191-08F3C5745852}"/>
    <dgm:cxn modelId="{D0EEE395-AD3C-4A54-8358-EA3DBB84AB6A}" type="presParOf" srcId="{637F1274-21D3-4A8E-9C32-C3C52DA5317A}" destId="{23A20637-0634-4C85-AC7D-AD4942E086CC}" srcOrd="0" destOrd="0" presId="urn:microsoft.com/office/officeart/2008/layout/LinedList"/>
    <dgm:cxn modelId="{28797878-DF6A-4258-AFE0-1118BEE919EB}" type="presParOf" srcId="{637F1274-21D3-4A8E-9C32-C3C52DA5317A}" destId="{EF47E3B1-8913-49A8-95BF-0A1AAE0875E0}" srcOrd="1" destOrd="0" presId="urn:microsoft.com/office/officeart/2008/layout/LinedList"/>
    <dgm:cxn modelId="{E9780A16-D10A-4779-893D-A7A956ADD53C}" type="presParOf" srcId="{EF47E3B1-8913-49A8-95BF-0A1AAE0875E0}" destId="{EB347BA4-7561-4AA0-9AEC-AD1ABA3FF782}" srcOrd="0" destOrd="0" presId="urn:microsoft.com/office/officeart/2008/layout/LinedList"/>
    <dgm:cxn modelId="{EB66E8EE-9CD6-4C82-B520-20368C37506D}" type="presParOf" srcId="{EF47E3B1-8913-49A8-95BF-0A1AAE0875E0}" destId="{637B7BF0-A305-47DC-8E51-ED88A85A221B}" srcOrd="1" destOrd="0" presId="urn:microsoft.com/office/officeart/2008/layout/LinedList"/>
    <dgm:cxn modelId="{CF193CD2-74E2-4569-BA40-9BD419671C58}" type="presParOf" srcId="{637F1274-21D3-4A8E-9C32-C3C52DA5317A}" destId="{EF16AFDB-AB02-4657-810C-E12D112AD2FA}" srcOrd="2" destOrd="0" presId="urn:microsoft.com/office/officeart/2008/layout/LinedList"/>
    <dgm:cxn modelId="{986A410F-9B62-4672-83AC-F56593DD297C}" type="presParOf" srcId="{637F1274-21D3-4A8E-9C32-C3C52DA5317A}" destId="{712BAD23-407A-47E8-9451-908120D07BCC}" srcOrd="3" destOrd="0" presId="urn:microsoft.com/office/officeart/2008/layout/LinedList"/>
    <dgm:cxn modelId="{60CE16DD-8C1B-4AA7-BF87-EA67A6C8D3C3}" type="presParOf" srcId="{712BAD23-407A-47E8-9451-908120D07BCC}" destId="{B9A5650B-3D25-47C0-BACD-1F449AA18900}" srcOrd="0" destOrd="0" presId="urn:microsoft.com/office/officeart/2008/layout/LinedList"/>
    <dgm:cxn modelId="{1C5AF859-4D9B-4900-878C-4517861039B5}" type="presParOf" srcId="{712BAD23-407A-47E8-9451-908120D07BCC}" destId="{5649323D-81E1-408B-AA54-852FB8CE9F5E}" srcOrd="1" destOrd="0" presId="urn:microsoft.com/office/officeart/2008/layout/LinedList"/>
    <dgm:cxn modelId="{45521885-6F34-47C4-A1DE-C6CADF5D259E}" type="presParOf" srcId="{637F1274-21D3-4A8E-9C32-C3C52DA5317A}" destId="{938F81FB-0DAE-441F-9A98-3157E1F8533B}" srcOrd="4" destOrd="0" presId="urn:microsoft.com/office/officeart/2008/layout/LinedList"/>
    <dgm:cxn modelId="{EF8AC4E3-15B8-41B1-92B2-34BA9C223D4D}" type="presParOf" srcId="{637F1274-21D3-4A8E-9C32-C3C52DA5317A}" destId="{EEB79EC4-CD18-4844-9801-A0F69AB0D409}" srcOrd="5" destOrd="0" presId="urn:microsoft.com/office/officeart/2008/layout/LinedList"/>
    <dgm:cxn modelId="{EEDBE3EE-E495-4EC2-8F76-5A2856D5D6A5}" type="presParOf" srcId="{EEB79EC4-CD18-4844-9801-A0F69AB0D409}" destId="{4F83F3B3-BA33-456D-B854-1E373996EF2F}" srcOrd="0" destOrd="0" presId="urn:microsoft.com/office/officeart/2008/layout/LinedList"/>
    <dgm:cxn modelId="{07ACC366-5B32-42BF-8AD2-27441C65B80F}" type="presParOf" srcId="{EEB79EC4-CD18-4844-9801-A0F69AB0D409}" destId="{0B965840-1037-4B14-A7F2-94DE151A382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A544572-AC8B-4778-A95D-738606D5A4D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5DA890A0-D767-4B93-B660-882D69B9BAE0}">
      <dgm:prSet phldrT="[Text]"/>
      <dgm:spPr/>
      <dgm:t>
        <a:bodyPr/>
        <a:lstStyle/>
        <a:p>
          <a:r>
            <a:rPr lang="en-US" dirty="0">
              <a:latin typeface="+mj-lt"/>
            </a:rPr>
            <a:t>Physical to virtual migration</a:t>
          </a:r>
        </a:p>
      </dgm:t>
    </dgm:pt>
    <dgm:pt modelId="{8893FB68-AD6C-45C0-8144-90CF76A3FDFF}" type="parTrans" cxnId="{6AA3BEFA-1A31-4778-80FD-02A7C0D38935}">
      <dgm:prSet/>
      <dgm:spPr/>
      <dgm:t>
        <a:bodyPr/>
        <a:lstStyle/>
        <a:p>
          <a:endParaRPr lang="en-US">
            <a:latin typeface="+mj-lt"/>
          </a:endParaRPr>
        </a:p>
      </dgm:t>
    </dgm:pt>
    <dgm:pt modelId="{5F792D2C-6D87-4C73-ABEB-E0238FFD16AD}" type="sibTrans" cxnId="{6AA3BEFA-1A31-4778-80FD-02A7C0D38935}">
      <dgm:prSet/>
      <dgm:spPr/>
      <dgm:t>
        <a:bodyPr/>
        <a:lstStyle/>
        <a:p>
          <a:endParaRPr lang="en-US">
            <a:latin typeface="+mj-lt"/>
          </a:endParaRPr>
        </a:p>
      </dgm:t>
    </dgm:pt>
    <dgm:pt modelId="{7BAD9A7C-BA98-4441-BD51-0A238CBFC500}">
      <dgm:prSet phldrT="[Text]"/>
      <dgm:spPr/>
      <dgm:t>
        <a:bodyPr/>
        <a:lstStyle/>
        <a:p>
          <a:r>
            <a:rPr lang="en-US" dirty="0">
              <a:latin typeface="+mj-lt"/>
            </a:rPr>
            <a:t>Move exiting and virtual DC</a:t>
          </a:r>
        </a:p>
      </dgm:t>
    </dgm:pt>
    <dgm:pt modelId="{6F604D84-2B1D-4B6D-8563-13217A0AA398}" type="parTrans" cxnId="{07DB9C0C-BC06-4549-9194-C5DDB796FCF6}">
      <dgm:prSet/>
      <dgm:spPr/>
      <dgm:t>
        <a:bodyPr/>
        <a:lstStyle/>
        <a:p>
          <a:endParaRPr lang="en-US">
            <a:latin typeface="+mj-lt"/>
          </a:endParaRPr>
        </a:p>
      </dgm:t>
    </dgm:pt>
    <dgm:pt modelId="{1E22E5EF-796B-4502-8AD6-413362C3762C}" type="sibTrans" cxnId="{07DB9C0C-BC06-4549-9194-C5DDB796FCF6}">
      <dgm:prSet/>
      <dgm:spPr/>
      <dgm:t>
        <a:bodyPr/>
        <a:lstStyle/>
        <a:p>
          <a:endParaRPr lang="en-US">
            <a:latin typeface="+mj-lt"/>
          </a:endParaRPr>
        </a:p>
      </dgm:t>
    </dgm:pt>
    <dgm:pt modelId="{EBA4A4E5-ABCF-4C57-8D45-F967C0087007}">
      <dgm:prSet phldrT="[Text]"/>
      <dgm:spPr/>
      <dgm:t>
        <a:bodyPr/>
        <a:lstStyle/>
        <a:p>
          <a:r>
            <a:rPr lang="en-US" dirty="0">
              <a:latin typeface="+mj-lt"/>
            </a:rPr>
            <a:t>Build a new DC and replicate from on-premises</a:t>
          </a:r>
        </a:p>
      </dgm:t>
    </dgm:pt>
    <dgm:pt modelId="{156C8101-9D4B-471B-840C-788105ABD873}" type="parTrans" cxnId="{304301A9-82AA-4255-938C-7D0ADFB432C3}">
      <dgm:prSet/>
      <dgm:spPr/>
      <dgm:t>
        <a:bodyPr/>
        <a:lstStyle/>
        <a:p>
          <a:endParaRPr lang="en-US">
            <a:latin typeface="+mj-lt"/>
          </a:endParaRPr>
        </a:p>
      </dgm:t>
    </dgm:pt>
    <dgm:pt modelId="{389C2BD6-E14E-4454-B3B3-C7D7FA1F0349}" type="sibTrans" cxnId="{304301A9-82AA-4255-938C-7D0ADFB432C3}">
      <dgm:prSet/>
      <dgm:spPr/>
      <dgm:t>
        <a:bodyPr/>
        <a:lstStyle/>
        <a:p>
          <a:endParaRPr lang="en-US">
            <a:latin typeface="+mj-lt"/>
          </a:endParaRPr>
        </a:p>
      </dgm:t>
    </dgm:pt>
    <dgm:pt modelId="{5B4C68FB-F488-4786-89EF-533F486DCCC3}">
      <dgm:prSet phldrT="[Text]"/>
      <dgm:spPr/>
      <dgm:t>
        <a:bodyPr/>
        <a:lstStyle/>
        <a:p>
          <a:r>
            <a:rPr lang="en-US" dirty="0">
              <a:latin typeface="+mj-lt"/>
            </a:rPr>
            <a:t>Domain Controller cloning</a:t>
          </a:r>
        </a:p>
      </dgm:t>
    </dgm:pt>
    <dgm:pt modelId="{75AF797F-A2DE-44F8-8235-87C1CE3C1538}" type="parTrans" cxnId="{2F86E492-EED7-4833-AE79-C7CA44A1E74E}">
      <dgm:prSet/>
      <dgm:spPr/>
      <dgm:t>
        <a:bodyPr/>
        <a:lstStyle/>
        <a:p>
          <a:endParaRPr lang="en-US">
            <a:latin typeface="+mj-lt"/>
          </a:endParaRPr>
        </a:p>
      </dgm:t>
    </dgm:pt>
    <dgm:pt modelId="{D38E4DF3-9B10-4007-8743-E51F5D1AB8EF}" type="sibTrans" cxnId="{2F86E492-EED7-4833-AE79-C7CA44A1E74E}">
      <dgm:prSet/>
      <dgm:spPr/>
      <dgm:t>
        <a:bodyPr/>
        <a:lstStyle/>
        <a:p>
          <a:endParaRPr lang="en-US">
            <a:latin typeface="+mj-lt"/>
          </a:endParaRPr>
        </a:p>
      </dgm:t>
    </dgm:pt>
    <dgm:pt modelId="{CB042FE6-B2C6-4F68-8E1D-A8C8868BD369}" type="pres">
      <dgm:prSet presAssocID="{AA544572-AC8B-4778-A95D-738606D5A4D9}" presName="Name0" presStyleCnt="0">
        <dgm:presLayoutVars>
          <dgm:chMax val="7"/>
          <dgm:chPref val="7"/>
          <dgm:dir/>
        </dgm:presLayoutVars>
      </dgm:prSet>
      <dgm:spPr/>
    </dgm:pt>
    <dgm:pt modelId="{1CD3FFFE-83AF-411C-82A6-E4B400719527}" type="pres">
      <dgm:prSet presAssocID="{AA544572-AC8B-4778-A95D-738606D5A4D9}" presName="Name1" presStyleCnt="0"/>
      <dgm:spPr/>
    </dgm:pt>
    <dgm:pt modelId="{935E1960-21F7-4A28-844F-747855879B93}" type="pres">
      <dgm:prSet presAssocID="{AA544572-AC8B-4778-A95D-738606D5A4D9}" presName="cycle" presStyleCnt="0"/>
      <dgm:spPr/>
    </dgm:pt>
    <dgm:pt modelId="{E1F989F9-3EF5-4D6D-B039-BB0B48F64A8A}" type="pres">
      <dgm:prSet presAssocID="{AA544572-AC8B-4778-A95D-738606D5A4D9}" presName="srcNode" presStyleLbl="node1" presStyleIdx="0" presStyleCnt="4"/>
      <dgm:spPr/>
    </dgm:pt>
    <dgm:pt modelId="{1E6F41F4-DF0A-4D8A-9000-516B4A09398C}" type="pres">
      <dgm:prSet presAssocID="{AA544572-AC8B-4778-A95D-738606D5A4D9}" presName="conn" presStyleLbl="parChTrans1D2" presStyleIdx="0" presStyleCnt="1"/>
      <dgm:spPr/>
    </dgm:pt>
    <dgm:pt modelId="{F398CB88-3A59-41E1-905E-3DBA7A9E66A3}" type="pres">
      <dgm:prSet presAssocID="{AA544572-AC8B-4778-A95D-738606D5A4D9}" presName="extraNode" presStyleLbl="node1" presStyleIdx="0" presStyleCnt="4"/>
      <dgm:spPr/>
    </dgm:pt>
    <dgm:pt modelId="{47510E2D-C320-48F0-A383-897DA56A77C2}" type="pres">
      <dgm:prSet presAssocID="{AA544572-AC8B-4778-A95D-738606D5A4D9}" presName="dstNode" presStyleLbl="node1" presStyleIdx="0" presStyleCnt="4"/>
      <dgm:spPr/>
    </dgm:pt>
    <dgm:pt modelId="{CED18225-0314-4C2D-A7DE-51DBCBDE076A}" type="pres">
      <dgm:prSet presAssocID="{5DA890A0-D767-4B93-B660-882D69B9BAE0}" presName="text_1" presStyleLbl="node1" presStyleIdx="0" presStyleCnt="4">
        <dgm:presLayoutVars>
          <dgm:bulletEnabled val="1"/>
        </dgm:presLayoutVars>
      </dgm:prSet>
      <dgm:spPr/>
    </dgm:pt>
    <dgm:pt modelId="{1AD02153-88A3-495E-B6EA-BA53ABA11659}" type="pres">
      <dgm:prSet presAssocID="{5DA890A0-D767-4B93-B660-882D69B9BAE0}" presName="accent_1" presStyleCnt="0"/>
      <dgm:spPr/>
    </dgm:pt>
    <dgm:pt modelId="{1192A71B-F5C8-4700-8DF7-8E68D66C1EDF}" type="pres">
      <dgm:prSet presAssocID="{5DA890A0-D767-4B93-B660-882D69B9BAE0}" presName="accentRepeatNode" presStyleLbl="solidFgAcc1" presStyleIdx="0" presStyleCnt="4"/>
      <dgm:spPr/>
    </dgm:pt>
    <dgm:pt modelId="{23528303-EEAF-451A-AA3F-6B4678CC248E}" type="pres">
      <dgm:prSet presAssocID="{7BAD9A7C-BA98-4441-BD51-0A238CBFC500}" presName="text_2" presStyleLbl="node1" presStyleIdx="1" presStyleCnt="4">
        <dgm:presLayoutVars>
          <dgm:bulletEnabled val="1"/>
        </dgm:presLayoutVars>
      </dgm:prSet>
      <dgm:spPr/>
    </dgm:pt>
    <dgm:pt modelId="{B4F77848-718A-4DAD-9C5E-820188DB4A62}" type="pres">
      <dgm:prSet presAssocID="{7BAD9A7C-BA98-4441-BD51-0A238CBFC500}" presName="accent_2" presStyleCnt="0"/>
      <dgm:spPr/>
    </dgm:pt>
    <dgm:pt modelId="{409B7791-D3E3-4852-A6F9-7542492A8C0E}" type="pres">
      <dgm:prSet presAssocID="{7BAD9A7C-BA98-4441-BD51-0A238CBFC500}" presName="accentRepeatNode" presStyleLbl="solidFgAcc1" presStyleIdx="1" presStyleCnt="4"/>
      <dgm:spPr/>
    </dgm:pt>
    <dgm:pt modelId="{D1D020A6-FA99-4A48-8980-EC4402945CD9}" type="pres">
      <dgm:prSet presAssocID="{EBA4A4E5-ABCF-4C57-8D45-F967C0087007}" presName="text_3" presStyleLbl="node1" presStyleIdx="2" presStyleCnt="4">
        <dgm:presLayoutVars>
          <dgm:bulletEnabled val="1"/>
        </dgm:presLayoutVars>
      </dgm:prSet>
      <dgm:spPr/>
    </dgm:pt>
    <dgm:pt modelId="{E0E80B16-1A79-4BBC-9B86-5284A91CF463}" type="pres">
      <dgm:prSet presAssocID="{EBA4A4E5-ABCF-4C57-8D45-F967C0087007}" presName="accent_3" presStyleCnt="0"/>
      <dgm:spPr/>
    </dgm:pt>
    <dgm:pt modelId="{ECED3749-0DC8-4604-93B6-27BE13C8A9CD}" type="pres">
      <dgm:prSet presAssocID="{EBA4A4E5-ABCF-4C57-8D45-F967C0087007}" presName="accentRepeatNode" presStyleLbl="solidFgAcc1" presStyleIdx="2" presStyleCnt="4"/>
      <dgm:spPr/>
    </dgm:pt>
    <dgm:pt modelId="{B3B38EE2-7D99-4402-A60A-EFA05F261697}" type="pres">
      <dgm:prSet presAssocID="{5B4C68FB-F488-4786-89EF-533F486DCCC3}" presName="text_4" presStyleLbl="node1" presStyleIdx="3" presStyleCnt="4">
        <dgm:presLayoutVars>
          <dgm:bulletEnabled val="1"/>
        </dgm:presLayoutVars>
      </dgm:prSet>
      <dgm:spPr/>
    </dgm:pt>
    <dgm:pt modelId="{C2718D28-A411-40BD-853B-31A2A6F04D3D}" type="pres">
      <dgm:prSet presAssocID="{5B4C68FB-F488-4786-89EF-533F486DCCC3}" presName="accent_4" presStyleCnt="0"/>
      <dgm:spPr/>
    </dgm:pt>
    <dgm:pt modelId="{8F142157-95B4-4DA8-8838-ADBEA6338CC3}" type="pres">
      <dgm:prSet presAssocID="{5B4C68FB-F488-4786-89EF-533F486DCCC3}" presName="accentRepeatNode" presStyleLbl="solidFgAcc1" presStyleIdx="3" presStyleCnt="4"/>
      <dgm:spPr/>
    </dgm:pt>
  </dgm:ptLst>
  <dgm:cxnLst>
    <dgm:cxn modelId="{07DB9C0C-BC06-4549-9194-C5DDB796FCF6}" srcId="{AA544572-AC8B-4778-A95D-738606D5A4D9}" destId="{7BAD9A7C-BA98-4441-BD51-0A238CBFC500}" srcOrd="1" destOrd="0" parTransId="{6F604D84-2B1D-4B6D-8563-13217A0AA398}" sibTransId="{1E22E5EF-796B-4502-8AD6-413362C3762C}"/>
    <dgm:cxn modelId="{21A1002A-3A8A-4892-9B30-C3618AF51AA5}" type="presOf" srcId="{5DA890A0-D767-4B93-B660-882D69B9BAE0}" destId="{CED18225-0314-4C2D-A7DE-51DBCBDE076A}" srcOrd="0" destOrd="0" presId="urn:microsoft.com/office/officeart/2008/layout/VerticalCurvedList"/>
    <dgm:cxn modelId="{E2F7ED5F-8841-47F8-AE10-87569757495A}" type="presOf" srcId="{5B4C68FB-F488-4786-89EF-533F486DCCC3}" destId="{B3B38EE2-7D99-4402-A60A-EFA05F261697}" srcOrd="0" destOrd="0" presId="urn:microsoft.com/office/officeart/2008/layout/VerticalCurvedList"/>
    <dgm:cxn modelId="{42EE877D-5496-4BDC-83C4-8C6415E8EBF7}" type="presOf" srcId="{7BAD9A7C-BA98-4441-BD51-0A238CBFC500}" destId="{23528303-EEAF-451A-AA3F-6B4678CC248E}" srcOrd="0" destOrd="0" presId="urn:microsoft.com/office/officeart/2008/layout/VerticalCurvedList"/>
    <dgm:cxn modelId="{7DE32983-9BC9-4D82-B036-8DC05467DD8E}" type="presOf" srcId="{AA544572-AC8B-4778-A95D-738606D5A4D9}" destId="{CB042FE6-B2C6-4F68-8E1D-A8C8868BD369}" srcOrd="0" destOrd="0" presId="urn:microsoft.com/office/officeart/2008/layout/VerticalCurvedList"/>
    <dgm:cxn modelId="{D7D16683-C90B-4A5B-AE17-1339F4FE583A}" type="presOf" srcId="{EBA4A4E5-ABCF-4C57-8D45-F967C0087007}" destId="{D1D020A6-FA99-4A48-8980-EC4402945CD9}" srcOrd="0" destOrd="0" presId="urn:microsoft.com/office/officeart/2008/layout/VerticalCurvedList"/>
    <dgm:cxn modelId="{2F86E492-EED7-4833-AE79-C7CA44A1E74E}" srcId="{AA544572-AC8B-4778-A95D-738606D5A4D9}" destId="{5B4C68FB-F488-4786-89EF-533F486DCCC3}" srcOrd="3" destOrd="0" parTransId="{75AF797F-A2DE-44F8-8235-87C1CE3C1538}" sibTransId="{D38E4DF3-9B10-4007-8743-E51F5D1AB8EF}"/>
    <dgm:cxn modelId="{304301A9-82AA-4255-938C-7D0ADFB432C3}" srcId="{AA544572-AC8B-4778-A95D-738606D5A4D9}" destId="{EBA4A4E5-ABCF-4C57-8D45-F967C0087007}" srcOrd="2" destOrd="0" parTransId="{156C8101-9D4B-471B-840C-788105ABD873}" sibTransId="{389C2BD6-E14E-4454-B3B3-C7D7FA1F0349}"/>
    <dgm:cxn modelId="{6C906AAD-88C9-4B8D-BB6F-BD5223FA8AD9}" type="presOf" srcId="{5F792D2C-6D87-4C73-ABEB-E0238FFD16AD}" destId="{1E6F41F4-DF0A-4D8A-9000-516B4A09398C}" srcOrd="0" destOrd="0" presId="urn:microsoft.com/office/officeart/2008/layout/VerticalCurvedList"/>
    <dgm:cxn modelId="{6AA3BEFA-1A31-4778-80FD-02A7C0D38935}" srcId="{AA544572-AC8B-4778-A95D-738606D5A4D9}" destId="{5DA890A0-D767-4B93-B660-882D69B9BAE0}" srcOrd="0" destOrd="0" parTransId="{8893FB68-AD6C-45C0-8144-90CF76A3FDFF}" sibTransId="{5F792D2C-6D87-4C73-ABEB-E0238FFD16AD}"/>
    <dgm:cxn modelId="{822F5B74-F480-4092-9338-2F7D7B6B28C8}" type="presParOf" srcId="{CB042FE6-B2C6-4F68-8E1D-A8C8868BD369}" destId="{1CD3FFFE-83AF-411C-82A6-E4B400719527}" srcOrd="0" destOrd="0" presId="urn:microsoft.com/office/officeart/2008/layout/VerticalCurvedList"/>
    <dgm:cxn modelId="{D2D47101-667D-4F44-9169-AD6C3791218B}" type="presParOf" srcId="{1CD3FFFE-83AF-411C-82A6-E4B400719527}" destId="{935E1960-21F7-4A28-844F-747855879B93}" srcOrd="0" destOrd="0" presId="urn:microsoft.com/office/officeart/2008/layout/VerticalCurvedList"/>
    <dgm:cxn modelId="{2C78F525-EE14-43A3-8CC6-ED7E3B3F5711}" type="presParOf" srcId="{935E1960-21F7-4A28-844F-747855879B93}" destId="{E1F989F9-3EF5-4D6D-B039-BB0B48F64A8A}" srcOrd="0" destOrd="0" presId="urn:microsoft.com/office/officeart/2008/layout/VerticalCurvedList"/>
    <dgm:cxn modelId="{4A65DFDF-2326-44A1-AAE6-DF7C5ACB806E}" type="presParOf" srcId="{935E1960-21F7-4A28-844F-747855879B93}" destId="{1E6F41F4-DF0A-4D8A-9000-516B4A09398C}" srcOrd="1" destOrd="0" presId="urn:microsoft.com/office/officeart/2008/layout/VerticalCurvedList"/>
    <dgm:cxn modelId="{644D2B7C-F52F-47E0-94C2-039A202CE2A1}" type="presParOf" srcId="{935E1960-21F7-4A28-844F-747855879B93}" destId="{F398CB88-3A59-41E1-905E-3DBA7A9E66A3}" srcOrd="2" destOrd="0" presId="urn:microsoft.com/office/officeart/2008/layout/VerticalCurvedList"/>
    <dgm:cxn modelId="{A19EB8EA-F156-4835-AC67-65B0E675604E}" type="presParOf" srcId="{935E1960-21F7-4A28-844F-747855879B93}" destId="{47510E2D-C320-48F0-A383-897DA56A77C2}" srcOrd="3" destOrd="0" presId="urn:microsoft.com/office/officeart/2008/layout/VerticalCurvedList"/>
    <dgm:cxn modelId="{D4BD90ED-A830-4D1C-8804-BB6FF1724D08}" type="presParOf" srcId="{1CD3FFFE-83AF-411C-82A6-E4B400719527}" destId="{CED18225-0314-4C2D-A7DE-51DBCBDE076A}" srcOrd="1" destOrd="0" presId="urn:microsoft.com/office/officeart/2008/layout/VerticalCurvedList"/>
    <dgm:cxn modelId="{4239FB38-EE1B-436B-9477-ED047FAD2305}" type="presParOf" srcId="{1CD3FFFE-83AF-411C-82A6-E4B400719527}" destId="{1AD02153-88A3-495E-B6EA-BA53ABA11659}" srcOrd="2" destOrd="0" presId="urn:microsoft.com/office/officeart/2008/layout/VerticalCurvedList"/>
    <dgm:cxn modelId="{3D1BE04B-C18A-4F9C-9CD7-91AFD945BE7A}" type="presParOf" srcId="{1AD02153-88A3-495E-B6EA-BA53ABA11659}" destId="{1192A71B-F5C8-4700-8DF7-8E68D66C1EDF}" srcOrd="0" destOrd="0" presId="urn:microsoft.com/office/officeart/2008/layout/VerticalCurvedList"/>
    <dgm:cxn modelId="{91E1589E-C1DD-4B62-B894-E6686079E3EF}" type="presParOf" srcId="{1CD3FFFE-83AF-411C-82A6-E4B400719527}" destId="{23528303-EEAF-451A-AA3F-6B4678CC248E}" srcOrd="3" destOrd="0" presId="urn:microsoft.com/office/officeart/2008/layout/VerticalCurvedList"/>
    <dgm:cxn modelId="{6C34054F-2AFC-4BDF-B003-0CAC5A786143}" type="presParOf" srcId="{1CD3FFFE-83AF-411C-82A6-E4B400719527}" destId="{B4F77848-718A-4DAD-9C5E-820188DB4A62}" srcOrd="4" destOrd="0" presId="urn:microsoft.com/office/officeart/2008/layout/VerticalCurvedList"/>
    <dgm:cxn modelId="{10BA7F7F-7FC4-4397-9373-714B327430D1}" type="presParOf" srcId="{B4F77848-718A-4DAD-9C5E-820188DB4A62}" destId="{409B7791-D3E3-4852-A6F9-7542492A8C0E}" srcOrd="0" destOrd="0" presId="urn:microsoft.com/office/officeart/2008/layout/VerticalCurvedList"/>
    <dgm:cxn modelId="{5DCC34A8-B57C-4746-B09D-C14AF95E9450}" type="presParOf" srcId="{1CD3FFFE-83AF-411C-82A6-E4B400719527}" destId="{D1D020A6-FA99-4A48-8980-EC4402945CD9}" srcOrd="5" destOrd="0" presId="urn:microsoft.com/office/officeart/2008/layout/VerticalCurvedList"/>
    <dgm:cxn modelId="{0977ADE2-55AC-4FA9-8AFC-ED89B3B38D44}" type="presParOf" srcId="{1CD3FFFE-83AF-411C-82A6-E4B400719527}" destId="{E0E80B16-1A79-4BBC-9B86-5284A91CF463}" srcOrd="6" destOrd="0" presId="urn:microsoft.com/office/officeart/2008/layout/VerticalCurvedList"/>
    <dgm:cxn modelId="{372E93B0-BFBF-417F-B353-D6F9D6BB1D12}" type="presParOf" srcId="{E0E80B16-1A79-4BBC-9B86-5284A91CF463}" destId="{ECED3749-0DC8-4604-93B6-27BE13C8A9CD}" srcOrd="0" destOrd="0" presId="urn:microsoft.com/office/officeart/2008/layout/VerticalCurvedList"/>
    <dgm:cxn modelId="{E1779D21-23DD-4D07-A048-6B4A1029BA67}" type="presParOf" srcId="{1CD3FFFE-83AF-411C-82A6-E4B400719527}" destId="{B3B38EE2-7D99-4402-A60A-EFA05F261697}" srcOrd="7" destOrd="0" presId="urn:microsoft.com/office/officeart/2008/layout/VerticalCurvedList"/>
    <dgm:cxn modelId="{627509F0-F2C9-467E-A766-A687F7647FEA}" type="presParOf" srcId="{1CD3FFFE-83AF-411C-82A6-E4B400719527}" destId="{C2718D28-A411-40BD-853B-31A2A6F04D3D}" srcOrd="8" destOrd="0" presId="urn:microsoft.com/office/officeart/2008/layout/VerticalCurvedList"/>
    <dgm:cxn modelId="{BF8A45AB-05E8-4A25-AB2D-7726D33AEB55}" type="presParOf" srcId="{C2718D28-A411-40BD-853B-31A2A6F04D3D}" destId="{8F142157-95B4-4DA8-8838-ADBEA6338CC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B1D942C-11D3-4487-9DDD-B14704109C1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225B169-E891-441C-8FD0-A6EB1E70F798}">
      <dgm:prSet phldrT="[Text]"/>
      <dgm:spPr/>
      <dgm:t>
        <a:bodyPr/>
        <a:lstStyle/>
        <a:p>
          <a:r>
            <a:rPr lang="en-US" dirty="0">
              <a:latin typeface="+mj-lt"/>
            </a:rPr>
            <a:t>Networking</a:t>
          </a:r>
        </a:p>
      </dgm:t>
    </dgm:pt>
    <dgm:pt modelId="{CB0D243F-BE2F-4095-8CDF-15CFC66A62F4}" type="parTrans" cxnId="{1355361B-D061-4037-B60D-A50BBB51AE07}">
      <dgm:prSet/>
      <dgm:spPr/>
      <dgm:t>
        <a:bodyPr/>
        <a:lstStyle/>
        <a:p>
          <a:endParaRPr lang="en-US">
            <a:latin typeface="+mj-lt"/>
          </a:endParaRPr>
        </a:p>
      </dgm:t>
    </dgm:pt>
    <dgm:pt modelId="{6953BFC5-ABD1-4A52-8A2D-2F294A4258B1}" type="sibTrans" cxnId="{1355361B-D061-4037-B60D-A50BBB51AE07}">
      <dgm:prSet/>
      <dgm:spPr/>
      <dgm:t>
        <a:bodyPr/>
        <a:lstStyle/>
        <a:p>
          <a:endParaRPr lang="en-US">
            <a:latin typeface="+mj-lt"/>
          </a:endParaRPr>
        </a:p>
      </dgm:t>
    </dgm:pt>
    <dgm:pt modelId="{3814FDBD-E7F6-4E16-B9EB-C2C24C27213E}">
      <dgm:prSet phldrT="[Text]"/>
      <dgm:spPr/>
      <dgm:t>
        <a:bodyPr/>
        <a:lstStyle/>
        <a:p>
          <a:r>
            <a:rPr lang="en-US" dirty="0">
              <a:latin typeface="+mj-lt"/>
            </a:rPr>
            <a:t>Storage</a:t>
          </a:r>
        </a:p>
      </dgm:t>
    </dgm:pt>
    <dgm:pt modelId="{05F9CCC4-AE21-4D9F-B5B3-1277848B0E9F}" type="parTrans" cxnId="{82D854DE-2187-4A3E-B919-601A4B541AA6}">
      <dgm:prSet/>
      <dgm:spPr/>
      <dgm:t>
        <a:bodyPr/>
        <a:lstStyle/>
        <a:p>
          <a:endParaRPr lang="en-US">
            <a:latin typeface="+mj-lt"/>
          </a:endParaRPr>
        </a:p>
      </dgm:t>
    </dgm:pt>
    <dgm:pt modelId="{33879B33-7E20-40DD-A0F7-3D1632BB703E}" type="sibTrans" cxnId="{82D854DE-2187-4A3E-B919-601A4B541AA6}">
      <dgm:prSet/>
      <dgm:spPr/>
      <dgm:t>
        <a:bodyPr/>
        <a:lstStyle/>
        <a:p>
          <a:endParaRPr lang="en-US">
            <a:latin typeface="+mj-lt"/>
          </a:endParaRPr>
        </a:p>
      </dgm:t>
    </dgm:pt>
    <dgm:pt modelId="{3D7327A2-AFFB-4CDC-8713-209C76673C86}">
      <dgm:prSet phldrT="[Text]"/>
      <dgm:spPr/>
      <dgm:t>
        <a:bodyPr/>
        <a:lstStyle/>
        <a:p>
          <a:r>
            <a:rPr lang="en-US" dirty="0">
              <a:latin typeface="+mj-lt"/>
            </a:rPr>
            <a:t>Security</a:t>
          </a:r>
        </a:p>
      </dgm:t>
    </dgm:pt>
    <dgm:pt modelId="{7AE21240-CE82-4FE9-8A09-71177B1A0F24}" type="parTrans" cxnId="{450664F3-9792-4D22-89CF-3E9A4FED57A7}">
      <dgm:prSet/>
      <dgm:spPr/>
      <dgm:t>
        <a:bodyPr/>
        <a:lstStyle/>
        <a:p>
          <a:endParaRPr lang="en-US">
            <a:latin typeface="+mj-lt"/>
          </a:endParaRPr>
        </a:p>
      </dgm:t>
    </dgm:pt>
    <dgm:pt modelId="{C6480ECC-796F-487C-A416-11B5906B66C7}" type="sibTrans" cxnId="{450664F3-9792-4D22-89CF-3E9A4FED57A7}">
      <dgm:prSet/>
      <dgm:spPr/>
      <dgm:t>
        <a:bodyPr/>
        <a:lstStyle/>
        <a:p>
          <a:endParaRPr lang="en-US">
            <a:latin typeface="+mj-lt"/>
          </a:endParaRPr>
        </a:p>
      </dgm:t>
    </dgm:pt>
    <dgm:pt modelId="{60753AB0-3A74-41C3-BA57-A2FB3054EF3D}">
      <dgm:prSet phldrT="[Text]"/>
      <dgm:spPr/>
      <dgm:t>
        <a:bodyPr/>
        <a:lstStyle/>
        <a:p>
          <a:r>
            <a:rPr lang="en-US" dirty="0">
              <a:latin typeface="+mj-lt"/>
            </a:rPr>
            <a:t>Deployment</a:t>
          </a:r>
        </a:p>
      </dgm:t>
    </dgm:pt>
    <dgm:pt modelId="{2F37F97D-ACF4-488C-B238-823FE3778698}" type="parTrans" cxnId="{AA0F824A-DFC1-4B3C-A0BF-7FC78D98A8B4}">
      <dgm:prSet/>
      <dgm:spPr/>
      <dgm:t>
        <a:bodyPr/>
        <a:lstStyle/>
        <a:p>
          <a:endParaRPr lang="en-US">
            <a:latin typeface="+mj-lt"/>
          </a:endParaRPr>
        </a:p>
      </dgm:t>
    </dgm:pt>
    <dgm:pt modelId="{4B94CA5C-A8F5-47FE-9EF7-125FE48C5AED}" type="sibTrans" cxnId="{AA0F824A-DFC1-4B3C-A0BF-7FC78D98A8B4}">
      <dgm:prSet/>
      <dgm:spPr/>
      <dgm:t>
        <a:bodyPr/>
        <a:lstStyle/>
        <a:p>
          <a:endParaRPr lang="en-US">
            <a:latin typeface="+mj-lt"/>
          </a:endParaRPr>
        </a:p>
      </dgm:t>
    </dgm:pt>
    <dgm:pt modelId="{4B0283BC-DAAD-4718-96CE-35FB714D5007}">
      <dgm:prSet phldrT="[Text]"/>
      <dgm:spPr/>
      <dgm:t>
        <a:bodyPr/>
        <a:lstStyle/>
        <a:p>
          <a:r>
            <a:rPr lang="en-US" dirty="0">
              <a:latin typeface="+mj-lt"/>
            </a:rPr>
            <a:t>Administration</a:t>
          </a:r>
        </a:p>
      </dgm:t>
    </dgm:pt>
    <dgm:pt modelId="{71D00776-1B89-4D1D-AE2B-EE2C91D365C7}" type="parTrans" cxnId="{7F3F323C-C8B9-4DDF-9774-A1116E2F27E7}">
      <dgm:prSet/>
      <dgm:spPr/>
      <dgm:t>
        <a:bodyPr/>
        <a:lstStyle/>
        <a:p>
          <a:endParaRPr lang="en-US">
            <a:latin typeface="+mj-lt"/>
          </a:endParaRPr>
        </a:p>
      </dgm:t>
    </dgm:pt>
    <dgm:pt modelId="{09BD0FB3-128C-4FF0-B9C9-705F11122861}" type="sibTrans" cxnId="{7F3F323C-C8B9-4DDF-9774-A1116E2F27E7}">
      <dgm:prSet/>
      <dgm:spPr/>
      <dgm:t>
        <a:bodyPr/>
        <a:lstStyle/>
        <a:p>
          <a:endParaRPr lang="en-US">
            <a:latin typeface="+mj-lt"/>
          </a:endParaRPr>
        </a:p>
      </dgm:t>
    </dgm:pt>
    <dgm:pt modelId="{023224AD-EB39-48C7-8F51-0D9E658EF900}">
      <dgm:prSet phldrT="[Text]"/>
      <dgm:spPr/>
      <dgm:t>
        <a:bodyPr/>
        <a:lstStyle/>
        <a:p>
          <a:r>
            <a:rPr lang="en-US" dirty="0">
              <a:latin typeface="+mj-lt"/>
            </a:rPr>
            <a:t>AD design</a:t>
          </a:r>
        </a:p>
      </dgm:t>
    </dgm:pt>
    <dgm:pt modelId="{F0611576-921D-4ABE-9CD2-8FDC35CAA7BB}" type="parTrans" cxnId="{3EFAFEBF-B4E9-4A67-ABAD-BA00FEA120F0}">
      <dgm:prSet/>
      <dgm:spPr/>
      <dgm:t>
        <a:bodyPr/>
        <a:lstStyle/>
        <a:p>
          <a:endParaRPr lang="en-US">
            <a:latin typeface="+mj-lt"/>
          </a:endParaRPr>
        </a:p>
      </dgm:t>
    </dgm:pt>
    <dgm:pt modelId="{4246E892-C838-4C61-9068-BBC80C04591C}" type="sibTrans" cxnId="{3EFAFEBF-B4E9-4A67-ABAD-BA00FEA120F0}">
      <dgm:prSet/>
      <dgm:spPr/>
      <dgm:t>
        <a:bodyPr/>
        <a:lstStyle/>
        <a:p>
          <a:endParaRPr lang="en-US">
            <a:latin typeface="+mj-lt"/>
          </a:endParaRPr>
        </a:p>
      </dgm:t>
    </dgm:pt>
    <dgm:pt modelId="{37D766F4-2ABC-462B-8761-5843886AE1D9}" type="pres">
      <dgm:prSet presAssocID="{EB1D942C-11D3-4487-9DDD-B14704109C10}" presName="diagram" presStyleCnt="0">
        <dgm:presLayoutVars>
          <dgm:dir/>
          <dgm:resizeHandles val="exact"/>
        </dgm:presLayoutVars>
      </dgm:prSet>
      <dgm:spPr/>
    </dgm:pt>
    <dgm:pt modelId="{B11BFD77-CBF1-4651-B138-0FE46821FB48}" type="pres">
      <dgm:prSet presAssocID="{0225B169-E891-441C-8FD0-A6EB1E70F798}" presName="node" presStyleLbl="node1" presStyleIdx="0" presStyleCnt="6">
        <dgm:presLayoutVars>
          <dgm:bulletEnabled val="1"/>
        </dgm:presLayoutVars>
      </dgm:prSet>
      <dgm:spPr/>
    </dgm:pt>
    <dgm:pt modelId="{21030E96-4C4E-4E0D-B42D-CFA46CFEA8EA}" type="pres">
      <dgm:prSet presAssocID="{6953BFC5-ABD1-4A52-8A2D-2F294A4258B1}" presName="sibTrans" presStyleCnt="0"/>
      <dgm:spPr/>
    </dgm:pt>
    <dgm:pt modelId="{C0E86AD3-38A2-42E0-91EA-C36E3FBF31C4}" type="pres">
      <dgm:prSet presAssocID="{3814FDBD-E7F6-4E16-B9EB-C2C24C27213E}" presName="node" presStyleLbl="node1" presStyleIdx="1" presStyleCnt="6">
        <dgm:presLayoutVars>
          <dgm:bulletEnabled val="1"/>
        </dgm:presLayoutVars>
      </dgm:prSet>
      <dgm:spPr/>
    </dgm:pt>
    <dgm:pt modelId="{763C4825-2840-425B-B0F9-321EEB26CF34}" type="pres">
      <dgm:prSet presAssocID="{33879B33-7E20-40DD-A0F7-3D1632BB703E}" presName="sibTrans" presStyleCnt="0"/>
      <dgm:spPr/>
    </dgm:pt>
    <dgm:pt modelId="{DB2D1C2E-74D3-4249-9DFD-3C4ADB3D8146}" type="pres">
      <dgm:prSet presAssocID="{3D7327A2-AFFB-4CDC-8713-209C76673C86}" presName="node" presStyleLbl="node1" presStyleIdx="2" presStyleCnt="6">
        <dgm:presLayoutVars>
          <dgm:bulletEnabled val="1"/>
        </dgm:presLayoutVars>
      </dgm:prSet>
      <dgm:spPr/>
    </dgm:pt>
    <dgm:pt modelId="{D90C063E-16BA-453A-98A9-CBF479C98E64}" type="pres">
      <dgm:prSet presAssocID="{C6480ECC-796F-487C-A416-11B5906B66C7}" presName="sibTrans" presStyleCnt="0"/>
      <dgm:spPr/>
    </dgm:pt>
    <dgm:pt modelId="{66C8E942-8A3B-4986-B75E-C98D45E2CE39}" type="pres">
      <dgm:prSet presAssocID="{60753AB0-3A74-41C3-BA57-A2FB3054EF3D}" presName="node" presStyleLbl="node1" presStyleIdx="3" presStyleCnt="6">
        <dgm:presLayoutVars>
          <dgm:bulletEnabled val="1"/>
        </dgm:presLayoutVars>
      </dgm:prSet>
      <dgm:spPr/>
    </dgm:pt>
    <dgm:pt modelId="{AB4AB841-5756-4F8E-867A-B67451B01259}" type="pres">
      <dgm:prSet presAssocID="{4B94CA5C-A8F5-47FE-9EF7-125FE48C5AED}" presName="sibTrans" presStyleCnt="0"/>
      <dgm:spPr/>
    </dgm:pt>
    <dgm:pt modelId="{F77FA087-9F3C-4C30-96D4-CF62E63C51D2}" type="pres">
      <dgm:prSet presAssocID="{4B0283BC-DAAD-4718-96CE-35FB714D5007}" presName="node" presStyleLbl="node1" presStyleIdx="4" presStyleCnt="6">
        <dgm:presLayoutVars>
          <dgm:bulletEnabled val="1"/>
        </dgm:presLayoutVars>
      </dgm:prSet>
      <dgm:spPr/>
    </dgm:pt>
    <dgm:pt modelId="{8303F958-5727-4452-947D-7E9BC437C1A8}" type="pres">
      <dgm:prSet presAssocID="{09BD0FB3-128C-4FF0-B9C9-705F11122861}" presName="sibTrans" presStyleCnt="0"/>
      <dgm:spPr/>
    </dgm:pt>
    <dgm:pt modelId="{2B783B40-8EC8-4173-9C33-74215E670357}" type="pres">
      <dgm:prSet presAssocID="{023224AD-EB39-48C7-8F51-0D9E658EF900}" presName="node" presStyleLbl="node1" presStyleIdx="5" presStyleCnt="6">
        <dgm:presLayoutVars>
          <dgm:bulletEnabled val="1"/>
        </dgm:presLayoutVars>
      </dgm:prSet>
      <dgm:spPr/>
    </dgm:pt>
  </dgm:ptLst>
  <dgm:cxnLst>
    <dgm:cxn modelId="{F5448415-EF22-4E48-8268-D3C2BDF08913}" type="presOf" srcId="{60753AB0-3A74-41C3-BA57-A2FB3054EF3D}" destId="{66C8E942-8A3B-4986-B75E-C98D45E2CE39}" srcOrd="0" destOrd="0" presId="urn:microsoft.com/office/officeart/2005/8/layout/default"/>
    <dgm:cxn modelId="{1355361B-D061-4037-B60D-A50BBB51AE07}" srcId="{EB1D942C-11D3-4487-9DDD-B14704109C10}" destId="{0225B169-E891-441C-8FD0-A6EB1E70F798}" srcOrd="0" destOrd="0" parTransId="{CB0D243F-BE2F-4095-8CDF-15CFC66A62F4}" sibTransId="{6953BFC5-ABD1-4A52-8A2D-2F294A4258B1}"/>
    <dgm:cxn modelId="{98689730-5718-475F-8773-089C20E5A52F}" type="presOf" srcId="{EB1D942C-11D3-4487-9DDD-B14704109C10}" destId="{37D766F4-2ABC-462B-8761-5843886AE1D9}" srcOrd="0" destOrd="0" presId="urn:microsoft.com/office/officeart/2005/8/layout/default"/>
    <dgm:cxn modelId="{6E040638-268F-42D3-9EF2-11D7C7215C8E}" type="presOf" srcId="{3814FDBD-E7F6-4E16-B9EB-C2C24C27213E}" destId="{C0E86AD3-38A2-42E0-91EA-C36E3FBF31C4}" srcOrd="0" destOrd="0" presId="urn:microsoft.com/office/officeart/2005/8/layout/default"/>
    <dgm:cxn modelId="{A6B8E73B-2AB0-41C1-88C6-60B55BF06D17}" type="presOf" srcId="{0225B169-E891-441C-8FD0-A6EB1E70F798}" destId="{B11BFD77-CBF1-4651-B138-0FE46821FB48}" srcOrd="0" destOrd="0" presId="urn:microsoft.com/office/officeart/2005/8/layout/default"/>
    <dgm:cxn modelId="{7F3F323C-C8B9-4DDF-9774-A1116E2F27E7}" srcId="{EB1D942C-11D3-4487-9DDD-B14704109C10}" destId="{4B0283BC-DAAD-4718-96CE-35FB714D5007}" srcOrd="4" destOrd="0" parTransId="{71D00776-1B89-4D1D-AE2B-EE2C91D365C7}" sibTransId="{09BD0FB3-128C-4FF0-B9C9-705F11122861}"/>
    <dgm:cxn modelId="{E5EA605E-E6A4-4408-B973-444D0FBFCBEB}" type="presOf" srcId="{023224AD-EB39-48C7-8F51-0D9E658EF900}" destId="{2B783B40-8EC8-4173-9C33-74215E670357}" srcOrd="0" destOrd="0" presId="urn:microsoft.com/office/officeart/2005/8/layout/default"/>
    <dgm:cxn modelId="{AA0F824A-DFC1-4B3C-A0BF-7FC78D98A8B4}" srcId="{EB1D942C-11D3-4487-9DDD-B14704109C10}" destId="{60753AB0-3A74-41C3-BA57-A2FB3054EF3D}" srcOrd="3" destOrd="0" parTransId="{2F37F97D-ACF4-488C-B238-823FE3778698}" sibTransId="{4B94CA5C-A8F5-47FE-9EF7-125FE48C5AED}"/>
    <dgm:cxn modelId="{79564286-8364-4F05-8BD7-316D990A084F}" type="presOf" srcId="{4B0283BC-DAAD-4718-96CE-35FB714D5007}" destId="{F77FA087-9F3C-4C30-96D4-CF62E63C51D2}" srcOrd="0" destOrd="0" presId="urn:microsoft.com/office/officeart/2005/8/layout/default"/>
    <dgm:cxn modelId="{3EFAFEBF-B4E9-4A67-ABAD-BA00FEA120F0}" srcId="{EB1D942C-11D3-4487-9DDD-B14704109C10}" destId="{023224AD-EB39-48C7-8F51-0D9E658EF900}" srcOrd="5" destOrd="0" parTransId="{F0611576-921D-4ABE-9CD2-8FDC35CAA7BB}" sibTransId="{4246E892-C838-4C61-9068-BBC80C04591C}"/>
    <dgm:cxn modelId="{82D854DE-2187-4A3E-B919-601A4B541AA6}" srcId="{EB1D942C-11D3-4487-9DDD-B14704109C10}" destId="{3814FDBD-E7F6-4E16-B9EB-C2C24C27213E}" srcOrd="1" destOrd="0" parTransId="{05F9CCC4-AE21-4D9F-B5B3-1277848B0E9F}" sibTransId="{33879B33-7E20-40DD-A0F7-3D1632BB703E}"/>
    <dgm:cxn modelId="{FF0BBAF2-B2B9-4194-AD9F-666D16D0F485}" type="presOf" srcId="{3D7327A2-AFFB-4CDC-8713-209C76673C86}" destId="{DB2D1C2E-74D3-4249-9DFD-3C4ADB3D8146}" srcOrd="0" destOrd="0" presId="urn:microsoft.com/office/officeart/2005/8/layout/default"/>
    <dgm:cxn modelId="{450664F3-9792-4D22-89CF-3E9A4FED57A7}" srcId="{EB1D942C-11D3-4487-9DDD-B14704109C10}" destId="{3D7327A2-AFFB-4CDC-8713-209C76673C86}" srcOrd="2" destOrd="0" parTransId="{7AE21240-CE82-4FE9-8A09-71177B1A0F24}" sibTransId="{C6480ECC-796F-487C-A416-11B5906B66C7}"/>
    <dgm:cxn modelId="{C33A1F0D-A460-471D-BF1D-46CCF828DA5A}" type="presParOf" srcId="{37D766F4-2ABC-462B-8761-5843886AE1D9}" destId="{B11BFD77-CBF1-4651-B138-0FE46821FB48}" srcOrd="0" destOrd="0" presId="urn:microsoft.com/office/officeart/2005/8/layout/default"/>
    <dgm:cxn modelId="{68F3A811-1AD1-4241-A52B-D220BA70D87F}" type="presParOf" srcId="{37D766F4-2ABC-462B-8761-5843886AE1D9}" destId="{21030E96-4C4E-4E0D-B42D-CFA46CFEA8EA}" srcOrd="1" destOrd="0" presId="urn:microsoft.com/office/officeart/2005/8/layout/default"/>
    <dgm:cxn modelId="{549DAF52-E1E0-4BE1-8C15-2DAFBFED789D}" type="presParOf" srcId="{37D766F4-2ABC-462B-8761-5843886AE1D9}" destId="{C0E86AD3-38A2-42E0-91EA-C36E3FBF31C4}" srcOrd="2" destOrd="0" presId="urn:microsoft.com/office/officeart/2005/8/layout/default"/>
    <dgm:cxn modelId="{0020B16F-D6DA-4E11-BA36-4DAEDC7AC1C6}" type="presParOf" srcId="{37D766F4-2ABC-462B-8761-5843886AE1D9}" destId="{763C4825-2840-425B-B0F9-321EEB26CF34}" srcOrd="3" destOrd="0" presId="urn:microsoft.com/office/officeart/2005/8/layout/default"/>
    <dgm:cxn modelId="{7C6784FB-FE22-4D01-8BD2-19B05852AF57}" type="presParOf" srcId="{37D766F4-2ABC-462B-8761-5843886AE1D9}" destId="{DB2D1C2E-74D3-4249-9DFD-3C4ADB3D8146}" srcOrd="4" destOrd="0" presId="urn:microsoft.com/office/officeart/2005/8/layout/default"/>
    <dgm:cxn modelId="{8607E2E0-F1AE-4319-AD25-745EC8E502FB}" type="presParOf" srcId="{37D766F4-2ABC-462B-8761-5843886AE1D9}" destId="{D90C063E-16BA-453A-98A9-CBF479C98E64}" srcOrd="5" destOrd="0" presId="urn:microsoft.com/office/officeart/2005/8/layout/default"/>
    <dgm:cxn modelId="{66A83207-C2C6-4125-8460-7D95373795DE}" type="presParOf" srcId="{37D766F4-2ABC-462B-8761-5843886AE1D9}" destId="{66C8E942-8A3B-4986-B75E-C98D45E2CE39}" srcOrd="6" destOrd="0" presId="urn:microsoft.com/office/officeart/2005/8/layout/default"/>
    <dgm:cxn modelId="{91D03F0E-C5D1-449B-B627-B1CDD66097B8}" type="presParOf" srcId="{37D766F4-2ABC-462B-8761-5843886AE1D9}" destId="{AB4AB841-5756-4F8E-867A-B67451B01259}" srcOrd="7" destOrd="0" presId="urn:microsoft.com/office/officeart/2005/8/layout/default"/>
    <dgm:cxn modelId="{08614F0B-9EB7-4C0D-BC3A-52306B5BE49A}" type="presParOf" srcId="{37D766F4-2ABC-462B-8761-5843886AE1D9}" destId="{F77FA087-9F3C-4C30-96D4-CF62E63C51D2}" srcOrd="8" destOrd="0" presId="urn:microsoft.com/office/officeart/2005/8/layout/default"/>
    <dgm:cxn modelId="{B7CA625D-A0C5-4012-BBFC-7D2E41600BC5}" type="presParOf" srcId="{37D766F4-2ABC-462B-8761-5843886AE1D9}" destId="{8303F958-5727-4452-947D-7E9BC437C1A8}" srcOrd="9" destOrd="0" presId="urn:microsoft.com/office/officeart/2005/8/layout/default"/>
    <dgm:cxn modelId="{2CFB530C-A167-4165-9BDF-3360479EB5AA}" type="presParOf" srcId="{37D766F4-2ABC-462B-8761-5843886AE1D9}" destId="{2B783B40-8EC8-4173-9C33-74215E670357}"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7AFD8C-7B3A-47C6-9EAD-95E921B69078}">
      <dsp:nvSpPr>
        <dsp:cNvPr id="0" name=""/>
        <dsp:cNvSpPr/>
      </dsp:nvSpPr>
      <dsp:spPr>
        <a:xfrm>
          <a:off x="612933" y="2083"/>
          <a:ext cx="2093416" cy="125604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mj-lt"/>
            </a:rPr>
            <a:t>Synchronizing users to the cloud</a:t>
          </a:r>
        </a:p>
      </dsp:txBody>
      <dsp:txXfrm>
        <a:off x="612933" y="2083"/>
        <a:ext cx="2093416" cy="1256049"/>
      </dsp:txXfrm>
    </dsp:sp>
    <dsp:sp modelId="{C50C9D76-C45C-4B53-AC9D-06BA1A40E105}">
      <dsp:nvSpPr>
        <dsp:cNvPr id="0" name=""/>
        <dsp:cNvSpPr/>
      </dsp:nvSpPr>
      <dsp:spPr>
        <a:xfrm>
          <a:off x="2915691" y="2083"/>
          <a:ext cx="2093416" cy="125604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mj-lt"/>
            </a:rPr>
            <a:t>Multiple Active Directory forests</a:t>
          </a:r>
        </a:p>
      </dsp:txBody>
      <dsp:txXfrm>
        <a:off x="2915691" y="2083"/>
        <a:ext cx="2093416" cy="1256049"/>
      </dsp:txXfrm>
    </dsp:sp>
    <dsp:sp modelId="{3F5454EF-66CC-459B-9D3C-FE0F4FD0EE63}">
      <dsp:nvSpPr>
        <dsp:cNvPr id="0" name=""/>
        <dsp:cNvSpPr/>
      </dsp:nvSpPr>
      <dsp:spPr>
        <a:xfrm>
          <a:off x="5218449" y="2083"/>
          <a:ext cx="2093416" cy="125604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mj-lt"/>
            </a:rPr>
            <a:t>UPN alignment</a:t>
          </a:r>
        </a:p>
      </dsp:txBody>
      <dsp:txXfrm>
        <a:off x="5218449" y="2083"/>
        <a:ext cx="2093416" cy="1256049"/>
      </dsp:txXfrm>
    </dsp:sp>
    <dsp:sp modelId="{0F144514-DC54-43A3-A1C2-6BF7BB383DD1}">
      <dsp:nvSpPr>
        <dsp:cNvPr id="0" name=""/>
        <dsp:cNvSpPr/>
      </dsp:nvSpPr>
      <dsp:spPr>
        <a:xfrm>
          <a:off x="612933" y="1467475"/>
          <a:ext cx="2093416" cy="125604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mj-lt"/>
            </a:rPr>
            <a:t>Identity Management Systems</a:t>
          </a:r>
        </a:p>
      </dsp:txBody>
      <dsp:txXfrm>
        <a:off x="612933" y="1467475"/>
        <a:ext cx="2093416" cy="1256049"/>
      </dsp:txXfrm>
    </dsp:sp>
    <dsp:sp modelId="{133C5939-77E2-4C60-A57F-6552622860EC}">
      <dsp:nvSpPr>
        <dsp:cNvPr id="0" name=""/>
        <dsp:cNvSpPr/>
      </dsp:nvSpPr>
      <dsp:spPr>
        <a:xfrm>
          <a:off x="2915691" y="1467475"/>
          <a:ext cx="2093416" cy="125604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mj-lt"/>
            </a:rPr>
            <a:t>Synchronization server availability</a:t>
          </a:r>
        </a:p>
      </dsp:txBody>
      <dsp:txXfrm>
        <a:off x="2915691" y="1467475"/>
        <a:ext cx="2093416" cy="1256049"/>
      </dsp:txXfrm>
    </dsp:sp>
    <dsp:sp modelId="{35A76C06-76FB-47A8-953F-E017C76DFD94}">
      <dsp:nvSpPr>
        <dsp:cNvPr id="0" name=""/>
        <dsp:cNvSpPr/>
      </dsp:nvSpPr>
      <dsp:spPr>
        <a:xfrm>
          <a:off x="5218449" y="1467475"/>
          <a:ext cx="2093416" cy="125604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mj-lt"/>
            </a:rPr>
            <a:t>Password hash synchronization</a:t>
          </a:r>
        </a:p>
      </dsp:txBody>
      <dsp:txXfrm>
        <a:off x="5218449" y="1467475"/>
        <a:ext cx="2093416" cy="1256049"/>
      </dsp:txXfrm>
    </dsp:sp>
    <dsp:sp modelId="{ED414FA7-7122-4AEC-84F6-CFDDD3595094}">
      <dsp:nvSpPr>
        <dsp:cNvPr id="0" name=""/>
        <dsp:cNvSpPr/>
      </dsp:nvSpPr>
      <dsp:spPr>
        <a:xfrm>
          <a:off x="2915691" y="2932866"/>
          <a:ext cx="2093416" cy="125604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mj-lt"/>
            </a:rPr>
            <a:t>Signing into Azure Active Directory</a:t>
          </a:r>
        </a:p>
      </dsp:txBody>
      <dsp:txXfrm>
        <a:off x="2915691" y="2932866"/>
        <a:ext cx="2093416" cy="12560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CA705E-5BC4-47BA-B436-983CCEE237C3}">
      <dsp:nvSpPr>
        <dsp:cNvPr id="0" name=""/>
        <dsp:cNvSpPr/>
      </dsp:nvSpPr>
      <dsp:spPr>
        <a:xfrm>
          <a:off x="641746" y="0"/>
          <a:ext cx="7273132" cy="3918834"/>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BB514B-AAF9-4D2A-8159-B8BBCE223F00}">
      <dsp:nvSpPr>
        <dsp:cNvPr id="0" name=""/>
        <dsp:cNvSpPr/>
      </dsp:nvSpPr>
      <dsp:spPr>
        <a:xfrm>
          <a:off x="289955" y="1175650"/>
          <a:ext cx="2566987" cy="156753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The Alternate Login ID is a way to achieve UPN alignment without having to modify the UPN attribute of user accounts in AD</a:t>
          </a:r>
        </a:p>
      </dsp:txBody>
      <dsp:txXfrm>
        <a:off x="366476" y="1252171"/>
        <a:ext cx="2413945" cy="1414491"/>
      </dsp:txXfrm>
    </dsp:sp>
    <dsp:sp modelId="{09566A26-5135-47AC-9A05-CB576F8207E3}">
      <dsp:nvSpPr>
        <dsp:cNvPr id="0" name=""/>
        <dsp:cNvSpPr/>
      </dsp:nvSpPr>
      <dsp:spPr>
        <a:xfrm>
          <a:off x="2994819" y="1175650"/>
          <a:ext cx="2566987" cy="156753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While Alternate Login ID can help in some situations, it should not be the default solution because of some drawbacks</a:t>
          </a:r>
        </a:p>
      </dsp:txBody>
      <dsp:txXfrm>
        <a:off x="3071340" y="1252171"/>
        <a:ext cx="2413945" cy="1414491"/>
      </dsp:txXfrm>
    </dsp:sp>
    <dsp:sp modelId="{1C898DC4-60DF-4EB1-A7CF-CEC438384F35}">
      <dsp:nvSpPr>
        <dsp:cNvPr id="0" name=""/>
        <dsp:cNvSpPr/>
      </dsp:nvSpPr>
      <dsp:spPr>
        <a:xfrm>
          <a:off x="5699682" y="1175650"/>
          <a:ext cx="2566987" cy="156753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ue to these issues, it is recommended that Alternate Login ID be used as a secondary option only when UPN rationalization is not possible with a customer</a:t>
          </a:r>
        </a:p>
      </dsp:txBody>
      <dsp:txXfrm>
        <a:off x="5776203" y="1252171"/>
        <a:ext cx="2413945" cy="14144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A20637-0634-4C85-AC7D-AD4942E086CC}">
      <dsp:nvSpPr>
        <dsp:cNvPr id="0" name=""/>
        <dsp:cNvSpPr/>
      </dsp:nvSpPr>
      <dsp:spPr>
        <a:xfrm>
          <a:off x="0" y="2023"/>
          <a:ext cx="80772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347BA4-7561-4AA0-9AEC-AD1ABA3FF782}">
      <dsp:nvSpPr>
        <dsp:cNvPr id="0" name=""/>
        <dsp:cNvSpPr/>
      </dsp:nvSpPr>
      <dsp:spPr>
        <a:xfrm>
          <a:off x="0" y="2023"/>
          <a:ext cx="8077200" cy="13803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dirty="0"/>
            <a:t>Direct purchase of Azure MFA licenses: </a:t>
          </a:r>
          <a:r>
            <a:rPr lang="en-US" sz="2400" b="0" kern="1200" dirty="0"/>
            <a:t>P</a:t>
          </a:r>
          <a:r>
            <a:rPr lang="en-US" sz="2400" kern="1200" dirty="0"/>
            <a:t>ay on either a per-user or per-authentication basis</a:t>
          </a:r>
        </a:p>
      </dsp:txBody>
      <dsp:txXfrm>
        <a:off x="0" y="2023"/>
        <a:ext cx="8077200" cy="1380363"/>
      </dsp:txXfrm>
    </dsp:sp>
    <dsp:sp modelId="{EF16AFDB-AB02-4657-810C-E12D112AD2FA}">
      <dsp:nvSpPr>
        <dsp:cNvPr id="0" name=""/>
        <dsp:cNvSpPr/>
      </dsp:nvSpPr>
      <dsp:spPr>
        <a:xfrm>
          <a:off x="0" y="1382387"/>
          <a:ext cx="80772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A5650B-3D25-47C0-BACD-1F449AA18900}">
      <dsp:nvSpPr>
        <dsp:cNvPr id="0" name=""/>
        <dsp:cNvSpPr/>
      </dsp:nvSpPr>
      <dsp:spPr>
        <a:xfrm>
          <a:off x="0" y="1382387"/>
          <a:ext cx="8077200" cy="13803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dirty="0"/>
            <a:t>Purchase as part of Azure AD Premium: </a:t>
          </a:r>
          <a:r>
            <a:rPr lang="en-US" sz="2400" b="0" kern="1200" dirty="0"/>
            <a:t>AAD-Premium includes Azure licenses in the per-user cost</a:t>
          </a:r>
        </a:p>
      </dsp:txBody>
      <dsp:txXfrm>
        <a:off x="0" y="1382387"/>
        <a:ext cx="8077200" cy="1380363"/>
      </dsp:txXfrm>
    </dsp:sp>
    <dsp:sp modelId="{938F81FB-0DAE-441F-9A98-3157E1F8533B}">
      <dsp:nvSpPr>
        <dsp:cNvPr id="0" name=""/>
        <dsp:cNvSpPr/>
      </dsp:nvSpPr>
      <dsp:spPr>
        <a:xfrm>
          <a:off x="0" y="2762751"/>
          <a:ext cx="80772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F83F3B3-BA33-456D-B854-1E373996EF2F}">
      <dsp:nvSpPr>
        <dsp:cNvPr id="0" name=""/>
        <dsp:cNvSpPr/>
      </dsp:nvSpPr>
      <dsp:spPr>
        <a:xfrm>
          <a:off x="0" y="2762751"/>
          <a:ext cx="8077200" cy="13803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AU" sz="2400" b="1" kern="1200" dirty="0"/>
            <a:t>Purchase through the Enterprise Mobility Suite (EMS): </a:t>
          </a:r>
          <a:r>
            <a:rPr lang="en-US" sz="2400" kern="1200" dirty="0"/>
            <a:t>EMS includes Azure AD Premium as part of the package, which in turn includes Azure MFA per-user licenses</a:t>
          </a:r>
        </a:p>
      </dsp:txBody>
      <dsp:txXfrm>
        <a:off x="0" y="2762751"/>
        <a:ext cx="8077200" cy="138036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6F41F4-DF0A-4D8A-9000-516B4A09398C}">
      <dsp:nvSpPr>
        <dsp:cNvPr id="0" name=""/>
        <dsp:cNvSpPr/>
      </dsp:nvSpPr>
      <dsp:spPr>
        <a:xfrm>
          <a:off x="-4738021" y="-726251"/>
          <a:ext cx="5643504" cy="5643504"/>
        </a:xfrm>
        <a:prstGeom prst="blockArc">
          <a:avLst>
            <a:gd name="adj1" fmla="val 18900000"/>
            <a:gd name="adj2" fmla="val 2700000"/>
            <a:gd name="adj3" fmla="val 383"/>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D18225-0314-4C2D-A7DE-51DBCBDE076A}">
      <dsp:nvSpPr>
        <dsp:cNvPr id="0" name=""/>
        <dsp:cNvSpPr/>
      </dsp:nvSpPr>
      <dsp:spPr>
        <a:xfrm>
          <a:off x="474226" y="322204"/>
          <a:ext cx="7545781" cy="64474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1765" tIns="66040" rIns="66040" bIns="66040" numCol="1" spcCol="1270" anchor="ctr" anchorCtr="0">
          <a:noAutofit/>
        </a:bodyPr>
        <a:lstStyle/>
        <a:p>
          <a:pPr marL="0" lvl="0" indent="0" algn="l" defTabSz="1155700">
            <a:lnSpc>
              <a:spcPct val="90000"/>
            </a:lnSpc>
            <a:spcBef>
              <a:spcPct val="0"/>
            </a:spcBef>
            <a:spcAft>
              <a:spcPct val="35000"/>
            </a:spcAft>
            <a:buNone/>
          </a:pPr>
          <a:r>
            <a:rPr lang="en-US" sz="2600" kern="1200" dirty="0">
              <a:latin typeface="+mj-lt"/>
            </a:rPr>
            <a:t>Physical to virtual migration</a:t>
          </a:r>
        </a:p>
      </dsp:txBody>
      <dsp:txXfrm>
        <a:off x="474226" y="322204"/>
        <a:ext cx="7545781" cy="644743"/>
      </dsp:txXfrm>
    </dsp:sp>
    <dsp:sp modelId="{1192A71B-F5C8-4700-8DF7-8E68D66C1EDF}">
      <dsp:nvSpPr>
        <dsp:cNvPr id="0" name=""/>
        <dsp:cNvSpPr/>
      </dsp:nvSpPr>
      <dsp:spPr>
        <a:xfrm>
          <a:off x="71261" y="241611"/>
          <a:ext cx="805929" cy="805929"/>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3528303-EEAF-451A-AA3F-6B4678CC248E}">
      <dsp:nvSpPr>
        <dsp:cNvPr id="0" name=""/>
        <dsp:cNvSpPr/>
      </dsp:nvSpPr>
      <dsp:spPr>
        <a:xfrm>
          <a:off x="843872" y="1289486"/>
          <a:ext cx="7176135" cy="64474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1765" tIns="66040" rIns="66040" bIns="66040" numCol="1" spcCol="1270" anchor="ctr" anchorCtr="0">
          <a:noAutofit/>
        </a:bodyPr>
        <a:lstStyle/>
        <a:p>
          <a:pPr marL="0" lvl="0" indent="0" algn="l" defTabSz="1155700">
            <a:lnSpc>
              <a:spcPct val="90000"/>
            </a:lnSpc>
            <a:spcBef>
              <a:spcPct val="0"/>
            </a:spcBef>
            <a:spcAft>
              <a:spcPct val="35000"/>
            </a:spcAft>
            <a:buNone/>
          </a:pPr>
          <a:r>
            <a:rPr lang="en-US" sz="2600" kern="1200" dirty="0">
              <a:latin typeface="+mj-lt"/>
            </a:rPr>
            <a:t>Move exiting and virtual DC</a:t>
          </a:r>
        </a:p>
      </dsp:txBody>
      <dsp:txXfrm>
        <a:off x="843872" y="1289486"/>
        <a:ext cx="7176135" cy="644743"/>
      </dsp:txXfrm>
    </dsp:sp>
    <dsp:sp modelId="{409B7791-D3E3-4852-A6F9-7542492A8C0E}">
      <dsp:nvSpPr>
        <dsp:cNvPr id="0" name=""/>
        <dsp:cNvSpPr/>
      </dsp:nvSpPr>
      <dsp:spPr>
        <a:xfrm>
          <a:off x="440907" y="1208893"/>
          <a:ext cx="805929" cy="805929"/>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1D020A6-FA99-4A48-8980-EC4402945CD9}">
      <dsp:nvSpPr>
        <dsp:cNvPr id="0" name=""/>
        <dsp:cNvSpPr/>
      </dsp:nvSpPr>
      <dsp:spPr>
        <a:xfrm>
          <a:off x="843872" y="2256769"/>
          <a:ext cx="7176135" cy="64474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1765" tIns="66040" rIns="66040" bIns="66040" numCol="1" spcCol="1270" anchor="ctr" anchorCtr="0">
          <a:noAutofit/>
        </a:bodyPr>
        <a:lstStyle/>
        <a:p>
          <a:pPr marL="0" lvl="0" indent="0" algn="l" defTabSz="1155700">
            <a:lnSpc>
              <a:spcPct val="90000"/>
            </a:lnSpc>
            <a:spcBef>
              <a:spcPct val="0"/>
            </a:spcBef>
            <a:spcAft>
              <a:spcPct val="35000"/>
            </a:spcAft>
            <a:buNone/>
          </a:pPr>
          <a:r>
            <a:rPr lang="en-US" sz="2600" kern="1200" dirty="0">
              <a:latin typeface="+mj-lt"/>
            </a:rPr>
            <a:t>Build a new DC and replicate from on-premises</a:t>
          </a:r>
        </a:p>
      </dsp:txBody>
      <dsp:txXfrm>
        <a:off x="843872" y="2256769"/>
        <a:ext cx="7176135" cy="644743"/>
      </dsp:txXfrm>
    </dsp:sp>
    <dsp:sp modelId="{ECED3749-0DC8-4604-93B6-27BE13C8A9CD}">
      <dsp:nvSpPr>
        <dsp:cNvPr id="0" name=""/>
        <dsp:cNvSpPr/>
      </dsp:nvSpPr>
      <dsp:spPr>
        <a:xfrm>
          <a:off x="440907" y="2176176"/>
          <a:ext cx="805929" cy="805929"/>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B38EE2-7D99-4402-A60A-EFA05F261697}">
      <dsp:nvSpPr>
        <dsp:cNvPr id="0" name=""/>
        <dsp:cNvSpPr/>
      </dsp:nvSpPr>
      <dsp:spPr>
        <a:xfrm>
          <a:off x="474226" y="3224052"/>
          <a:ext cx="7545781" cy="64474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1765" tIns="66040" rIns="66040" bIns="66040" numCol="1" spcCol="1270" anchor="ctr" anchorCtr="0">
          <a:noAutofit/>
        </a:bodyPr>
        <a:lstStyle/>
        <a:p>
          <a:pPr marL="0" lvl="0" indent="0" algn="l" defTabSz="1155700">
            <a:lnSpc>
              <a:spcPct val="90000"/>
            </a:lnSpc>
            <a:spcBef>
              <a:spcPct val="0"/>
            </a:spcBef>
            <a:spcAft>
              <a:spcPct val="35000"/>
            </a:spcAft>
            <a:buNone/>
          </a:pPr>
          <a:r>
            <a:rPr lang="en-US" sz="2600" kern="1200" dirty="0">
              <a:latin typeface="+mj-lt"/>
            </a:rPr>
            <a:t>Domain Controller cloning</a:t>
          </a:r>
        </a:p>
      </dsp:txBody>
      <dsp:txXfrm>
        <a:off x="474226" y="3224052"/>
        <a:ext cx="7545781" cy="644743"/>
      </dsp:txXfrm>
    </dsp:sp>
    <dsp:sp modelId="{8F142157-95B4-4DA8-8838-ADBEA6338CC3}">
      <dsp:nvSpPr>
        <dsp:cNvPr id="0" name=""/>
        <dsp:cNvSpPr/>
      </dsp:nvSpPr>
      <dsp:spPr>
        <a:xfrm>
          <a:off x="71261" y="3143459"/>
          <a:ext cx="805929" cy="805929"/>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1BFD77-CBF1-4651-B138-0FE46821FB48}">
      <dsp:nvSpPr>
        <dsp:cNvPr id="0" name=""/>
        <dsp:cNvSpPr/>
      </dsp:nvSpPr>
      <dsp:spPr>
        <a:xfrm>
          <a:off x="460834" y="796"/>
          <a:ext cx="1757236" cy="105434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Networking</a:t>
          </a:r>
        </a:p>
      </dsp:txBody>
      <dsp:txXfrm>
        <a:off x="460834" y="796"/>
        <a:ext cx="1757236" cy="1054341"/>
      </dsp:txXfrm>
    </dsp:sp>
    <dsp:sp modelId="{C0E86AD3-38A2-42E0-91EA-C36E3FBF31C4}">
      <dsp:nvSpPr>
        <dsp:cNvPr id="0" name=""/>
        <dsp:cNvSpPr/>
      </dsp:nvSpPr>
      <dsp:spPr>
        <a:xfrm>
          <a:off x="2393794" y="796"/>
          <a:ext cx="1757236" cy="105434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Storage</a:t>
          </a:r>
        </a:p>
      </dsp:txBody>
      <dsp:txXfrm>
        <a:off x="2393794" y="796"/>
        <a:ext cx="1757236" cy="1054341"/>
      </dsp:txXfrm>
    </dsp:sp>
    <dsp:sp modelId="{DB2D1C2E-74D3-4249-9DFD-3C4ADB3D8146}">
      <dsp:nvSpPr>
        <dsp:cNvPr id="0" name=""/>
        <dsp:cNvSpPr/>
      </dsp:nvSpPr>
      <dsp:spPr>
        <a:xfrm>
          <a:off x="4326754" y="796"/>
          <a:ext cx="1757236" cy="105434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Security</a:t>
          </a:r>
        </a:p>
      </dsp:txBody>
      <dsp:txXfrm>
        <a:off x="4326754" y="796"/>
        <a:ext cx="1757236" cy="1054341"/>
      </dsp:txXfrm>
    </dsp:sp>
    <dsp:sp modelId="{66C8E942-8A3B-4986-B75E-C98D45E2CE39}">
      <dsp:nvSpPr>
        <dsp:cNvPr id="0" name=""/>
        <dsp:cNvSpPr/>
      </dsp:nvSpPr>
      <dsp:spPr>
        <a:xfrm>
          <a:off x="6259714" y="796"/>
          <a:ext cx="1757236" cy="105434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Deployment</a:t>
          </a:r>
        </a:p>
      </dsp:txBody>
      <dsp:txXfrm>
        <a:off x="6259714" y="796"/>
        <a:ext cx="1757236" cy="1054341"/>
      </dsp:txXfrm>
    </dsp:sp>
    <dsp:sp modelId="{F77FA087-9F3C-4C30-96D4-CF62E63C51D2}">
      <dsp:nvSpPr>
        <dsp:cNvPr id="0" name=""/>
        <dsp:cNvSpPr/>
      </dsp:nvSpPr>
      <dsp:spPr>
        <a:xfrm>
          <a:off x="2393794" y="1230861"/>
          <a:ext cx="1757236" cy="105434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Administration</a:t>
          </a:r>
        </a:p>
      </dsp:txBody>
      <dsp:txXfrm>
        <a:off x="2393794" y="1230861"/>
        <a:ext cx="1757236" cy="1054341"/>
      </dsp:txXfrm>
    </dsp:sp>
    <dsp:sp modelId="{2B783B40-8EC8-4173-9C33-74215E670357}">
      <dsp:nvSpPr>
        <dsp:cNvPr id="0" name=""/>
        <dsp:cNvSpPr/>
      </dsp:nvSpPr>
      <dsp:spPr>
        <a:xfrm>
          <a:off x="4326754" y="1230861"/>
          <a:ext cx="1757236" cy="105434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AD design</a:t>
          </a:r>
        </a:p>
      </dsp:txBody>
      <dsp:txXfrm>
        <a:off x="4326754" y="1230861"/>
        <a:ext cx="1757236" cy="1054341"/>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22/2018 3:3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3/22/2018 3:3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3" Type="http://schemas.openxmlformats.org/officeDocument/2006/relationships/hyperlink" Target="http://simonjaeger.com/microsoft-graph-authentication-with-the-converged-model-preview/"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localhost:50342/oauth2/token"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management.azure.com/"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manage.windowsazure.com/"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active-directory/active-directory-administrative-units-management"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support.office.com/article/Permissions-in-Office-365-da585eea-f576-4f55-a1e0-87090b6aaa9d" TargetMode="External"/><Relationship Id="rId2" Type="http://schemas.openxmlformats.org/officeDocument/2006/relationships/slide" Target="../slides/slide41.xml"/><Relationship Id="rId1" Type="http://schemas.openxmlformats.org/officeDocument/2006/relationships/notesMaster" Target="../notesMasters/notesMaster1.xml"/><Relationship Id="rId5" Type="http://schemas.openxmlformats.org/officeDocument/2006/relationships/hyperlink" Target="https://docs.microsoft.com/en-us/azure/active-directory/role-based-access-control-configure" TargetMode="External"/><Relationship Id="rId4" Type="http://schemas.openxmlformats.org/officeDocument/2006/relationships/hyperlink" Target="https://docs.microsoft.com/en-us/azure/billing/billing-add-change-azure-subscription-administrator" TargetMode="Externa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aka.ms/aadcad" TargetMode="External"/><Relationship Id="rId2" Type="http://schemas.openxmlformats.org/officeDocument/2006/relationships/slide" Target="../slides/slide49.xml"/><Relationship Id="rId1" Type="http://schemas.openxmlformats.org/officeDocument/2006/relationships/notesMaster" Target="../notesMasters/notesMaster1.xml"/><Relationship Id="rId4" Type="http://schemas.openxmlformats.org/officeDocument/2006/relationships/hyperlink" Target="https://aka.ms/aadppim"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aka.ms/identity/architectures"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0596E5-6523-4DD8-A9ED-0418BD42519C}" type="datetime8">
              <a:rPr lang="en-US" smtClean="0">
                <a:solidFill>
                  <a:prstClr val="black"/>
                </a:solidFill>
              </a:rPr>
              <a:pPr/>
              <a:t>3/22/2018 3: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018767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r>
              <a:rPr lang="en-US" sz="1800" b="1" kern="1200" dirty="0">
                <a:solidFill>
                  <a:schemeClr val="tx1"/>
                </a:solidFill>
                <a:effectLst/>
                <a:latin typeface="Segoe UI Light" pitchFamily="34" charset="0"/>
                <a:ea typeface="+mn-ea"/>
                <a:cs typeface="+mn-cs"/>
              </a:rPr>
              <a:t>Self-service password reset</a:t>
            </a:r>
          </a:p>
          <a:p>
            <a:pPr lvl="1"/>
            <a:r>
              <a:rPr lang="en-US" sz="900" kern="1200" dirty="0">
                <a:solidFill>
                  <a:schemeClr val="tx1"/>
                </a:solidFill>
                <a:latin typeface="Segoe UI Light" pitchFamily="34" charset="0"/>
                <a:ea typeface="+mn-ea"/>
                <a:cs typeface="+mn-cs"/>
              </a:rPr>
              <a:t>Users can reset their forgotten passwords in Azure AD and the new password can optionally be written back to the on-premises Active Directory</a:t>
            </a:r>
          </a:p>
          <a:p>
            <a:pPr lvl="0"/>
            <a:endParaRPr lang="en-US" sz="1800" b="1" kern="1200" dirty="0">
              <a:solidFill>
                <a:schemeClr val="tx1"/>
              </a:solidFill>
              <a:effectLst/>
              <a:latin typeface="Segoe UI Light" pitchFamily="34" charset="0"/>
              <a:ea typeface="+mn-ea"/>
              <a:cs typeface="+mn-cs"/>
            </a:endParaRPr>
          </a:p>
          <a:p>
            <a:pPr lvl="0"/>
            <a:r>
              <a:rPr lang="en-US" sz="1800" b="1" kern="1200" dirty="0">
                <a:solidFill>
                  <a:schemeClr val="tx1"/>
                </a:solidFill>
                <a:effectLst/>
                <a:latin typeface="Segoe UI Light" pitchFamily="34" charset="0"/>
                <a:ea typeface="+mn-ea"/>
                <a:cs typeface="+mn-cs"/>
              </a:rPr>
              <a:t>Self Service Group Management</a:t>
            </a:r>
          </a:p>
          <a:p>
            <a:pPr lvl="1"/>
            <a:r>
              <a:rPr lang="en-US" sz="900" kern="1200" dirty="0">
                <a:solidFill>
                  <a:schemeClr val="tx1"/>
                </a:solidFill>
                <a:latin typeface="Segoe UI Light" pitchFamily="34" charset="0"/>
                <a:ea typeface="+mn-ea"/>
                <a:cs typeface="+mn-cs"/>
              </a:rPr>
              <a:t>Self-Service Group Management (SSGM) comprises two scenarios: </a:t>
            </a:r>
            <a:r>
              <a:rPr lang="en-US" sz="900" b="1" kern="1200" dirty="0">
                <a:solidFill>
                  <a:schemeClr val="tx1"/>
                </a:solidFill>
                <a:latin typeface="Segoe UI Light" pitchFamily="34" charset="0"/>
                <a:ea typeface="+mn-ea"/>
                <a:cs typeface="+mn-cs"/>
              </a:rPr>
              <a:t>Delegated Group Management </a:t>
            </a:r>
            <a:r>
              <a:rPr lang="en-US" sz="900" kern="1200" dirty="0">
                <a:solidFill>
                  <a:schemeClr val="tx1"/>
                </a:solidFill>
                <a:latin typeface="Segoe UI Light" pitchFamily="34" charset="0"/>
                <a:ea typeface="+mn-ea"/>
                <a:cs typeface="+mn-cs"/>
              </a:rPr>
              <a:t>and </a:t>
            </a:r>
            <a:r>
              <a:rPr lang="en-US" sz="900" b="1" kern="1200" dirty="0">
                <a:solidFill>
                  <a:schemeClr val="tx1"/>
                </a:solidFill>
                <a:latin typeface="Segoe UI Light" pitchFamily="34" charset="0"/>
                <a:ea typeface="+mn-ea"/>
                <a:cs typeface="+mn-cs"/>
              </a:rPr>
              <a:t>Self-Service Group Management</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Build 2012</a:t>
            </a:r>
          </a:p>
        </p:txBody>
      </p:sp>
      <p:sp>
        <p:nvSpPr>
          <p:cNvPr id="5" name="Footer Placeholder 4"/>
          <p:cNvSpPr>
            <a:spLocks noGrp="1"/>
          </p:cNvSpPr>
          <p:nvPr>
            <p:ph type="ftr" sz="quarter" idx="11"/>
          </p:nvPr>
        </p:nvSpPr>
        <p:spPr/>
        <p:txBody>
          <a:bodyPr/>
          <a:lstStyle/>
          <a:p>
            <a:pPr defTabSz="93293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CD7D7CF-1DAD-47F1-BB48-5088D3BD3085}" type="datetime1">
              <a:rPr lang="en-US">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25712343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9573328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557670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Consultant note: If this is not part of the Statement of Work, remove this sec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2</a:t>
            </a:fld>
            <a:endParaRPr lang="en-US" dirty="0"/>
          </a:p>
        </p:txBody>
      </p:sp>
    </p:spTree>
    <p:extLst>
      <p:ext uri="{BB962C8B-B14F-4D97-AF65-F5344CB8AC3E}">
        <p14:creationId xmlns:p14="http://schemas.microsoft.com/office/powerpoint/2010/main" val="208559467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9883576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6917FFD-5E86-4B79-94BA-60236245B09C}"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184135136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Key resources in any informed conversation about this should include:</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use of the Tier 0 subscription in the reference model in this document carefully, as it allows you to manage who has explicit control over the domain controllers (and their security equivalents in Tier 0).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logical flow of choosing security controls in AZRA including the “do no harm” approach to security controls. </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6917FFD-5E86-4B79-94BA-60236245B09C}"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5</a:t>
            </a:fld>
            <a:endParaRPr lang="en-US" dirty="0">
              <a:solidFill>
                <a:prstClr val="black"/>
              </a:solidFill>
            </a:endParaRPr>
          </a:p>
        </p:txBody>
      </p:sp>
    </p:spTree>
    <p:extLst>
      <p:ext uri="{BB962C8B-B14F-4D97-AF65-F5344CB8AC3E}">
        <p14:creationId xmlns:p14="http://schemas.microsoft.com/office/powerpoint/2010/main" val="4188926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3526762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pPr/>
              <a:t>3/22/2018 3: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07</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3038588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8</a:t>
            </a:fld>
            <a:endParaRPr lang="en-US" dirty="0"/>
          </a:p>
        </p:txBody>
      </p:sp>
    </p:spTree>
    <p:extLst>
      <p:ext uri="{BB962C8B-B14F-4D97-AF65-F5344CB8AC3E}">
        <p14:creationId xmlns:p14="http://schemas.microsoft.com/office/powerpoint/2010/main" val="209783894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raph API exposes OAuth 2.0 permission scopes that are used to control access that an app has to customer directory data. As a developer, you configure your app with the permission scopes appropriate to the access that it requires. Typically you do this through the Azure portal. During sign-in, users or administrators are given an opportunity to consent to allow your app access to their directory data with the permission scopes you configured. For this reason, you should choose permission scopes that provide the least level of privilege needed by your app. See also https://docs.microsoft.com/en-us/azure/active-directory/active-directory-authentication-libraries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28965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a:t>Assigning licenses</a:t>
            </a:r>
          </a:p>
          <a:p>
            <a:r>
              <a:rPr lang="en-US" dirty="0"/>
              <a:t>While obtaining a subscription is all you need to configure paid capabilities, using your Azure AD paid features requires distributing licenses to the right individuals. In general, any user who should have access to or who is managed through an Azure AD paid feature must be assigned a license. A license assignment is a mapping between a user and a purchased service, such as Azure AD Premium, Basic, or Enterprise Mobility Suite.</a:t>
            </a:r>
          </a:p>
          <a:p>
            <a:endParaRPr lang="en-US" dirty="0"/>
          </a:p>
          <a:p>
            <a:r>
              <a:rPr lang="en-US" dirty="0"/>
              <a:t>Managing which users in your directory should have a license is simple. It can be accomplished by assigning to a group to create assignment rules through the Azure AD administration portal or by assigning licenses directly to the right individuals through a portal, PowerShell, or APIs. When assigning licenses to a group, all group members will be assigned a license. If users are added or removed from the group they will be assigned or removed the appropriate license. Group assignment can utilize any group management available to you and is consistent with group-based assignment to applications. Using this approach, you can set up rules such that all users in your directory are automatically assigned, ensure that everyone with the appropriate job title has a license or even delegate the decision to other managers in the organization.</a:t>
            </a:r>
          </a:p>
          <a:p>
            <a:endParaRPr lang="en-US" dirty="0"/>
          </a:p>
          <a:p>
            <a:r>
              <a:rPr lang="en-US" dirty="0"/>
              <a:t>With group-based license assignment, any user missing a usage location will inherit the directory location during assignment. This location can be changed by the administrator at any time. In cases where the automated assignment failed due to error, the user information under that license type will reflect that state.</a:t>
            </a:r>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4983365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Satya says, "you're no longer going to different applications for different data... you're able to traverse the entirety of the graph with these APIs.“  See also https://graph.microsoft.io/en-us/ </a:t>
            </a:r>
          </a:p>
          <a:p>
            <a:endParaRPr lang="en-US" dirty="0"/>
          </a:p>
          <a:p>
            <a:r>
              <a:rPr lang="en-US" dirty="0"/>
              <a:t>No more obtaining separate tokens for different services or calling a different endpoint for each API.</a:t>
            </a:r>
          </a:p>
          <a:p>
            <a:r>
              <a:rPr lang="en-US" dirty="0"/>
              <a:t>Leverage the power of Microsoft Graph, a unified API endpoint, for accessing data, intelligence, and insights coming from the Microsoft clou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950331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atinLnBrk="1"/>
            <a:r>
              <a:rPr lang="en-US" dirty="0">
                <a:effectLst/>
              </a:rPr>
              <a:t>If you have ever worked with the Active Directory Authentication Library (ADAL), you will feel right at home with Microsoft Authentication Library (</a:t>
            </a:r>
            <a:r>
              <a:rPr lang="en-US" b="1" dirty="0">
                <a:effectLst/>
              </a:rPr>
              <a:t>MSAL). </a:t>
            </a:r>
            <a:r>
              <a:rPr lang="en-US" dirty="0">
                <a:effectLst/>
              </a:rPr>
              <a:t>Many of the primitives and concepts that we used in ADAL, have colored the structure of MSAL. MSAL also features a lot of improvements; such as fewer parameters, better multi-tenant support, incremental consent and much more. Much of this is possible due to the new converged authentication endpoint, you can learn more about it here: </a:t>
            </a:r>
            <a:r>
              <a:rPr lang="en-US" dirty="0">
                <a:effectLst/>
                <a:hlinkClick r:id="rId3"/>
              </a:rPr>
              <a:t>http://simonjaeger.com/microsoft-graph-authentication-with-the-converged-model-preview/</a:t>
            </a:r>
            <a:endParaRPr lang="en-US" dirty="0">
              <a:effectLst/>
            </a:endParaRPr>
          </a:p>
          <a:p>
            <a:pPr latinLnBrk="1"/>
            <a:r>
              <a:rPr lang="en-US" dirty="0">
                <a:effectLst/>
              </a:rPr>
              <a:t>Combining MSAL with the Microsoft Graph creates a great development experience. Where you can build a single code base, that serves and integrates with all of the users and their data in the Microsoft space.</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529318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2</a:t>
            </a:fld>
            <a:endParaRPr lang="en-US" dirty="0"/>
          </a:p>
        </p:txBody>
      </p:sp>
    </p:spTree>
    <p:extLst>
      <p:ext uri="{BB962C8B-B14F-4D97-AF65-F5344CB8AC3E}">
        <p14:creationId xmlns:p14="http://schemas.microsoft.com/office/powerpoint/2010/main" val="256632693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3</a:t>
            </a:fld>
            <a:endParaRPr lang="en-US" dirty="0"/>
          </a:p>
        </p:txBody>
      </p:sp>
    </p:spTree>
    <p:extLst>
      <p:ext uri="{BB962C8B-B14F-4D97-AF65-F5344CB8AC3E}">
        <p14:creationId xmlns:p14="http://schemas.microsoft.com/office/powerpoint/2010/main" val="164139660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4</a:t>
            </a:fld>
            <a:endParaRPr lang="en-US" dirty="0"/>
          </a:p>
        </p:txBody>
      </p:sp>
    </p:spTree>
    <p:extLst>
      <p:ext uri="{BB962C8B-B14F-4D97-AF65-F5344CB8AC3E}">
        <p14:creationId xmlns:p14="http://schemas.microsoft.com/office/powerpoint/2010/main" val="268969854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5</a:t>
            </a:fld>
            <a:endParaRPr lang="en-US" dirty="0"/>
          </a:p>
        </p:txBody>
      </p:sp>
    </p:spTree>
    <p:extLst>
      <p:ext uri="{BB962C8B-B14F-4D97-AF65-F5344CB8AC3E}">
        <p14:creationId xmlns:p14="http://schemas.microsoft.com/office/powerpoint/2010/main" val="175195433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6</a:t>
            </a:fld>
            <a:endParaRPr lang="en-US" dirty="0"/>
          </a:p>
        </p:txBody>
      </p:sp>
    </p:spTree>
    <p:extLst>
      <p:ext uri="{BB962C8B-B14F-4D97-AF65-F5344CB8AC3E}">
        <p14:creationId xmlns:p14="http://schemas.microsoft.com/office/powerpoint/2010/main" val="108363081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7</a:t>
            </a:fld>
            <a:endParaRPr lang="en-US" dirty="0"/>
          </a:p>
        </p:txBody>
      </p:sp>
    </p:spTree>
    <p:extLst>
      <p:ext uri="{BB962C8B-B14F-4D97-AF65-F5344CB8AC3E}">
        <p14:creationId xmlns:p14="http://schemas.microsoft.com/office/powerpoint/2010/main" val="34051413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8</a:t>
            </a:fld>
            <a:endParaRPr lang="en-US" dirty="0"/>
          </a:p>
        </p:txBody>
      </p:sp>
    </p:spTree>
    <p:extLst>
      <p:ext uri="{BB962C8B-B14F-4D97-AF65-F5344CB8AC3E}">
        <p14:creationId xmlns:p14="http://schemas.microsoft.com/office/powerpoint/2010/main" val="72398652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5158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defTabSz="914400">
              <a:defRPr/>
            </a:pPr>
            <a:fld id="{8A347BE2-B772-4674-9B1C-5806C8386229}" type="slidenum">
              <a:rPr lang="en-US" smtClean="0">
                <a:solidFill>
                  <a:prstClr val="black"/>
                </a:solidFill>
                <a:latin typeface="Calibri" panose="020F0502020204030204"/>
              </a:rPr>
              <a:pPr defTabSz="914400">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216710063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0</a:t>
            </a:fld>
            <a:endParaRPr lang="en-US" dirty="0"/>
          </a:p>
        </p:txBody>
      </p:sp>
    </p:spTree>
    <p:extLst>
      <p:ext uri="{BB962C8B-B14F-4D97-AF65-F5344CB8AC3E}">
        <p14:creationId xmlns:p14="http://schemas.microsoft.com/office/powerpoint/2010/main" val="181004216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443569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0284017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371628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506105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5</a:t>
            </a:fld>
            <a:endParaRPr lang="en-US" dirty="0"/>
          </a:p>
        </p:txBody>
      </p:sp>
    </p:spTree>
    <p:extLst>
      <p:ext uri="{BB962C8B-B14F-4D97-AF65-F5344CB8AC3E}">
        <p14:creationId xmlns:p14="http://schemas.microsoft.com/office/powerpoint/2010/main" val="58054731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703200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3355423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41800"/>
            <a:ext cx="5486400" cy="4114800"/>
          </a:xfrm>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Build 2012</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577F15-4695-43CD-83B0-974BBDDCBE58}" type="datetime1">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314788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1D4B0C-B40C-4B38-86E4-2AFA7E194751}"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669442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thing after Cloud only accounts we have complete sections on each.  Just briefly go over thi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03906257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Ignite 2015</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815626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6349167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2</a:t>
            </a:fld>
            <a:endParaRPr lang="en-US" dirty="0"/>
          </a:p>
        </p:txBody>
      </p:sp>
    </p:spTree>
    <p:extLst>
      <p:ext uri="{BB962C8B-B14F-4D97-AF65-F5344CB8AC3E}">
        <p14:creationId xmlns:p14="http://schemas.microsoft.com/office/powerpoint/2010/main" val="94496297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3</a:t>
            </a:fld>
            <a:endParaRPr lang="en-US" dirty="0"/>
          </a:p>
        </p:txBody>
      </p:sp>
    </p:spTree>
    <p:extLst>
      <p:ext uri="{BB962C8B-B14F-4D97-AF65-F5344CB8AC3E}">
        <p14:creationId xmlns:p14="http://schemas.microsoft.com/office/powerpoint/2010/main" val="264102950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55392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2</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BDF53F-48D6-4CA2-8B82-3D8E3E6D078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600262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0794042"/>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7</a:t>
            </a:fld>
            <a:endParaRPr lang="en-US" dirty="0"/>
          </a:p>
        </p:txBody>
      </p:sp>
    </p:spTree>
    <p:extLst>
      <p:ext uri="{BB962C8B-B14F-4D97-AF65-F5344CB8AC3E}">
        <p14:creationId xmlns:p14="http://schemas.microsoft.com/office/powerpoint/2010/main" val="135012305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3623488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9</a:t>
            </a:fld>
            <a:endParaRPr lang="en-US" dirty="0"/>
          </a:p>
        </p:txBody>
      </p:sp>
    </p:spTree>
    <p:extLst>
      <p:ext uri="{BB962C8B-B14F-4D97-AF65-F5344CB8AC3E}">
        <p14:creationId xmlns:p14="http://schemas.microsoft.com/office/powerpoint/2010/main" val="30295007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Active Directory provides you with a variety of reports. The data of these reports can be very useful to your applications, such as SIEM systems, audit, and business intelligence tools. The Azure AD reporting APIs provide programmatic access to the data through a set of REST-based APIs. You can call these APIs from a variety of programming languages and tools.</a:t>
            </a:r>
            <a:endParaRPr lang="en-US" sz="900" dirty="0">
              <a:solidFill>
                <a:schemeClr val="bg1"/>
              </a:solidFill>
              <a:latin typeface="Segoe UI Semibold" panose="020B0702040204020203" pitchFamily="34" charset="0"/>
              <a:cs typeface="Segoe UI Semibold" panose="020B07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solidFill>
                <a:schemeClr val="bg1"/>
              </a:solidFill>
              <a:latin typeface="Segoe UI Semibold" panose="020B0702040204020203" pitchFamily="34" charset="0"/>
              <a:cs typeface="Segoe UI Semibold" panose="020B07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latin typeface="Segoe UI Semibold" panose="020B0702040204020203" pitchFamily="34" charset="0"/>
                <a:cs typeface="Segoe UI Semibold" panose="020B0702040204020203" pitchFamily="34" charset="0"/>
              </a:rPr>
              <a:t>Azure AD audit and reporting</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0" dirty="0">
                <a:solidFill>
                  <a:schemeClr val="bg1"/>
                </a:solidFill>
              </a:rPr>
              <a:t>One-click </a:t>
            </a:r>
            <a:r>
              <a:rPr lang="en-US" sz="900" b="1" kern="0" dirty="0">
                <a:solidFill>
                  <a:schemeClr val="bg1"/>
                </a:solidFill>
              </a:rPr>
              <a:t>audit &amp; compliance </a:t>
            </a:r>
            <a:r>
              <a:rPr lang="en-US" sz="900" kern="0" dirty="0">
                <a:solidFill>
                  <a:schemeClr val="bg1"/>
                </a:solidFill>
              </a:rPr>
              <a:t>through portal.azure.co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1" kern="0" dirty="0">
                <a:solidFill>
                  <a:schemeClr val="bg1"/>
                </a:solidFill>
              </a:rPr>
              <a:t>Forensics and investigation:</a:t>
            </a:r>
            <a:r>
              <a:rPr lang="en-US" sz="900" kern="0" dirty="0">
                <a:solidFill>
                  <a:schemeClr val="bg1"/>
                </a:solidFill>
              </a:rPr>
              <a:t> Help admins answer: “who did what, where, and whe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1" kern="0" dirty="0">
                <a:solidFill>
                  <a:schemeClr val="bg1"/>
                </a:solidFill>
              </a:rPr>
              <a:t>Activity reports</a:t>
            </a:r>
            <a:r>
              <a:rPr lang="en-US" sz="900" kern="0" dirty="0">
                <a:solidFill>
                  <a:schemeClr val="bg1"/>
                </a:solidFill>
              </a:rPr>
              <a:t>: Audit, sign ins, SSPR, group activity, app activity, app provisioning, etc.</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1" kern="0" dirty="0">
                <a:solidFill>
                  <a:schemeClr val="bg1"/>
                </a:solidFill>
              </a:rPr>
              <a:t>Security reports</a:t>
            </a:r>
            <a:r>
              <a:rPr lang="en-US" sz="900" kern="0" dirty="0">
                <a:solidFill>
                  <a:schemeClr val="bg1"/>
                </a:solidFill>
              </a:rPr>
              <a:t>: Provides rich mitigation and resolution for security anomalies through Identity protection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0" dirty="0">
              <a:solidFill>
                <a:schemeClr val="bg1"/>
              </a:solidFill>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t>Azure Active Directory Reporting Guide</a:t>
            </a:r>
            <a:endParaRPr lang="en-US" b="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kern="0" dirty="0">
                <a:solidFill>
                  <a:schemeClr val="bg1"/>
                </a:solidFill>
              </a:rPr>
              <a:t>https://docs.microsoft.com/en-us/azure/active-directory/active-directory-reporting-guide for referenc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0" dirty="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0" dirty="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0" dirty="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dirty="0">
              <a:solidFill>
                <a:schemeClr val="bg1"/>
              </a:solidFill>
              <a:latin typeface="Segoe UI Semibold" panose="020B0702040204020203" pitchFamily="34" charset="0"/>
              <a:cs typeface="Segoe UI Semibold" panose="020B0702040204020203" pitchFamily="34" charset="0"/>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Windows Server Management Marketing</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C6A8F85-A389-41D7-9CC0-F9A6E92BFD62}"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2/2018</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8518486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0</a:t>
            </a:fld>
            <a:endParaRPr lang="en-US" dirty="0"/>
          </a:p>
        </p:txBody>
      </p:sp>
    </p:spTree>
    <p:extLst>
      <p:ext uri="{BB962C8B-B14F-4D97-AF65-F5344CB8AC3E}">
        <p14:creationId xmlns:p14="http://schemas.microsoft.com/office/powerpoint/2010/main" val="169092308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1</a:t>
            </a:fld>
            <a:endParaRPr lang="en-US" dirty="0"/>
          </a:p>
        </p:txBody>
      </p:sp>
    </p:spTree>
    <p:extLst>
      <p:ext uri="{BB962C8B-B14F-4D97-AF65-F5344CB8AC3E}">
        <p14:creationId xmlns:p14="http://schemas.microsoft.com/office/powerpoint/2010/main" val="36992923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2</a:t>
            </a:fld>
            <a:endParaRPr lang="en-US" dirty="0"/>
          </a:p>
        </p:txBody>
      </p:sp>
    </p:spTree>
    <p:extLst>
      <p:ext uri="{BB962C8B-B14F-4D97-AF65-F5344CB8AC3E}">
        <p14:creationId xmlns:p14="http://schemas.microsoft.com/office/powerpoint/2010/main" val="150199599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3</a:t>
            </a:fld>
            <a:endParaRPr lang="en-US" dirty="0"/>
          </a:p>
        </p:txBody>
      </p:sp>
    </p:spTree>
    <p:extLst>
      <p:ext uri="{BB962C8B-B14F-4D97-AF65-F5344CB8AC3E}">
        <p14:creationId xmlns:p14="http://schemas.microsoft.com/office/powerpoint/2010/main" val="12169111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4</a:t>
            </a:fld>
            <a:endParaRPr lang="en-US" dirty="0"/>
          </a:p>
        </p:txBody>
      </p:sp>
    </p:spTree>
    <p:extLst>
      <p:ext uri="{BB962C8B-B14F-4D97-AF65-F5344CB8AC3E}">
        <p14:creationId xmlns:p14="http://schemas.microsoft.com/office/powerpoint/2010/main" val="76704194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190344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6</a:t>
            </a:fld>
            <a:endParaRPr lang="en-US" dirty="0"/>
          </a:p>
        </p:txBody>
      </p:sp>
    </p:spTree>
    <p:extLst>
      <p:ext uri="{BB962C8B-B14F-4D97-AF65-F5344CB8AC3E}">
        <p14:creationId xmlns:p14="http://schemas.microsoft.com/office/powerpoint/2010/main" val="301371115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7</a:t>
            </a:fld>
            <a:endParaRPr lang="en-US" dirty="0"/>
          </a:p>
        </p:txBody>
      </p:sp>
    </p:spTree>
    <p:extLst>
      <p:ext uri="{BB962C8B-B14F-4D97-AF65-F5344CB8AC3E}">
        <p14:creationId xmlns:p14="http://schemas.microsoft.com/office/powerpoint/2010/main" val="224924269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8</a:t>
            </a:fld>
            <a:endParaRPr lang="en-US" dirty="0"/>
          </a:p>
        </p:txBody>
      </p:sp>
    </p:spTree>
    <p:extLst>
      <p:ext uri="{BB962C8B-B14F-4D97-AF65-F5344CB8AC3E}">
        <p14:creationId xmlns:p14="http://schemas.microsoft.com/office/powerpoint/2010/main" val="32298099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A common challenge when building cloud applications is how to manage the credentials that need to be in your code for authenticating to cloud services. Keeping these credentials secure is an important task. Ideally, they never appear on developer workstations or get checked into source control. Azure Key Vault provides a way to securely store credentials and other keys and secrets, but your code needs to authenticate to Key Vault to retrieve them. Managed Service Identity (MSI) makes solving this problem simpler by giving Azure services an automatically managed identity in Azure Active Directory (Azure AD). You can use this identity to authenticate to any service that supports Azure AD authentication, including Key Vault, without having any credentials in your cod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EXAMPLE IN PICTURE</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Azure Resource Manager receives a message to enable MSI on a VM.</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Azure Resource Manager creates a Service Principal in Azure AD to represent the identity of the VM. The Service Principal is created in the Azure AD tenant that is trusted by this subscription.</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Azure Resource Manager configures the Service Principal details in the MSI VM Extension of the VM. This step includes configuring client ID and certificate used by the extension to get access tokens from Azure AD.</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Now that the Service Principal identity of the VM is known, it can be granted access to Azure resources. For example, if your code needs to call Azure Resource Manager, then you would assign the VM’s Service Principal the appropriate role using Role-Based Access Control (RBAC) in Azure AD. If your code needs to call Key Vault, then you would grant your code access to the specific secret or key in Key Vault.</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Your code running on the VM requests a token from a local endpoint that is hosted by the MSI VM extension: </a:t>
            </a:r>
            <a:r>
              <a:rPr lang="en-US" sz="900" b="0" i="0" u="none" strike="noStrike" kern="1200" dirty="0">
                <a:solidFill>
                  <a:schemeClr val="tx1"/>
                </a:solidFill>
                <a:effectLst/>
                <a:latin typeface="Segoe UI Light" pitchFamily="34" charset="0"/>
                <a:ea typeface="+mn-ea"/>
                <a:cs typeface="+mn-cs"/>
                <a:hlinkClick r:id="rId3"/>
              </a:rPr>
              <a:t>http://localhost:50342/oauth2/token</a:t>
            </a:r>
            <a:r>
              <a:rPr lang="en-US" sz="900" b="0" i="0" u="none" strike="noStrike" kern="1200" dirty="0">
                <a:solidFill>
                  <a:schemeClr val="tx1"/>
                </a:solidFill>
                <a:effectLst/>
                <a:latin typeface="Segoe UI Light" pitchFamily="34" charset="0"/>
                <a:ea typeface="+mn-ea"/>
                <a:cs typeface="+mn-cs"/>
              </a:rPr>
              <a:t>. The resource parameter specifies the service to which the token is sent. For example, if you want your code to authenticate to Azure Resource Manager, you would use resource=</a:t>
            </a:r>
            <a:r>
              <a:rPr lang="en-US" sz="900" b="0" i="0" u="none" strike="noStrike" kern="1200" dirty="0">
                <a:solidFill>
                  <a:schemeClr val="tx1"/>
                </a:solidFill>
                <a:effectLst/>
                <a:latin typeface="Segoe UI Light" pitchFamily="34" charset="0"/>
                <a:ea typeface="+mn-ea"/>
                <a:cs typeface="+mn-cs"/>
                <a:hlinkClick r:id="rId4"/>
              </a:rPr>
              <a:t>https://management.azure.com/</a:t>
            </a:r>
            <a:r>
              <a:rPr lang="en-US" sz="900" b="0" i="0" u="none" strike="noStrike" kern="1200" dirty="0">
                <a:solidFill>
                  <a:schemeClr val="tx1"/>
                </a:solidFill>
                <a:effectLst/>
                <a:latin typeface="Segoe UI Light" pitchFamily="34" charset="0"/>
                <a:ea typeface="+mn-ea"/>
                <a:cs typeface="+mn-cs"/>
              </a:rPr>
              <a:t>.</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The MSI VM Extension uses its configured client ID and certificate to request an access token from Azure AD. Azure AD returns a JSON Web Token (JWT) access token.</a:t>
            </a:r>
          </a:p>
          <a:p>
            <a:r>
              <a:rPr lang="en-US" sz="900" b="0" i="0" u="none" strike="noStrike" kern="1200" dirty="0">
                <a:solidFill>
                  <a:schemeClr val="tx1"/>
                </a:solidFill>
                <a:effectLst/>
                <a:latin typeface="Segoe UI Light" pitchFamily="34" charset="0"/>
                <a:ea typeface="+mn-ea"/>
                <a:cs typeface="+mn-cs"/>
              </a:rPr>
              <a:t>Your code sends the access token on a call to a service that supports Azure AD authentication.</a:t>
            </a:r>
          </a:p>
          <a:p>
            <a:r>
              <a:rPr lang="en-US" sz="900" b="0" i="0" u="none" strike="noStrike" kern="1200" dirty="0">
                <a:solidFill>
                  <a:schemeClr val="tx1"/>
                </a:solidFill>
                <a:effectLst/>
                <a:latin typeface="Segoe UI Light" pitchFamily="34" charset="0"/>
                <a:ea typeface="+mn-ea"/>
                <a:cs typeface="+mn-cs"/>
              </a:rPr>
              <a:t>Each Azure service that supports Managed Service Identity has its own method for your code to obtain an access token.</a:t>
            </a:r>
          </a:p>
          <a:p>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0002957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raph API exposes OAuth 2.0 permission scopes that are used to control access that an app has to customer directory data. As a developer, you configure your app with the permission scopes appropriate to the access that it requires. Typically you do this through the Azure portal. During sign-in, users or administrators are given an opportunity to consent to allow your app access to their directory data with the permission scopes you configured. For this reason, you should choose permission scopes that provide the least level of privilege needed by your app.</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91081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important to make sure the customer understands all the different planes of administration that are possible, and how the work together or not.  There will be more on RBAC in the Security SAW.  The key point here to note is there are multiple layers of administration and it is important to know who can do what and where.</a:t>
            </a:r>
          </a:p>
          <a:p>
            <a:endParaRPr lang="en-US" dirty="0"/>
          </a:p>
          <a:p>
            <a:pPr rtl="0"/>
            <a:r>
              <a:rPr lang="en-US" b="1" dirty="0"/>
              <a:t>Azure RBAC vs. classic subscription administrators – NOTE – since classic is being deprecated DO NOT USE Co-Administrator accounts any more</a:t>
            </a:r>
          </a:p>
          <a:p>
            <a:pPr rtl="0"/>
            <a:r>
              <a:rPr lang="en-US" i="1" u="sng" dirty="0"/>
              <a:t>Classic subscription </a:t>
            </a:r>
            <a:r>
              <a:rPr lang="en-US" dirty="0"/>
              <a:t>administrators and co-admins have full access to the Azure subscription. They can manage resources using the </a:t>
            </a:r>
            <a:r>
              <a:rPr lang="en-US" dirty="0">
                <a:hlinkClick r:id="rId3"/>
              </a:rPr>
              <a:t>Azure portal</a:t>
            </a:r>
            <a:r>
              <a:rPr lang="en-US" dirty="0"/>
              <a:t> with Azure Resource Manager APIs, or the </a:t>
            </a:r>
            <a:r>
              <a:rPr lang="en-US" dirty="0">
                <a:hlinkClick r:id="rId4"/>
              </a:rPr>
              <a:t>Azure classic portal</a:t>
            </a:r>
            <a:r>
              <a:rPr lang="en-US" dirty="0"/>
              <a:t> and Azure classic deployment model. In the RBAC model, classic administrators are assigned the Owner role at the subscription scope.+ </a:t>
            </a:r>
          </a:p>
          <a:p>
            <a:pPr rtl="0"/>
            <a:r>
              <a:rPr lang="en-US" dirty="0"/>
              <a:t>Only the Azure portal and the new Azure Resource Manager APIs support Azure RBAC. Users and applications that are assigned RBAC roles cannot use the classic management portal and the Azure classic deployment model.</a:t>
            </a:r>
          </a:p>
          <a:p>
            <a:endParaRPr lang="en-US" dirty="0"/>
          </a:p>
          <a:p>
            <a:endParaRPr lang="en-US" dirty="0"/>
          </a:p>
          <a:p>
            <a:r>
              <a:rPr lang="en-US" b="1" dirty="0"/>
              <a:t>ENTERPRISE AGREEMET ROLES</a:t>
            </a:r>
            <a:endParaRPr lang="en-US" b="0" dirty="0"/>
          </a:p>
          <a:p>
            <a:r>
              <a:rPr lang="en-US" b="1" dirty="0">
                <a:effectLst/>
              </a:rPr>
              <a:t>Enterprise Administrator</a:t>
            </a:r>
            <a:r>
              <a:rPr lang="en-US" dirty="0">
                <a:effectLst/>
              </a:rPr>
              <a:t> - Has the rights to add additional Enterprise Administrators, Department Administrators, Departments and even associate accounts to the enrollment. An Enterprise Administrator can view usage and charges across all accounts and subscriptions.</a:t>
            </a:r>
          </a:p>
          <a:p>
            <a:r>
              <a:rPr lang="en-US" b="1" dirty="0">
                <a:effectLst/>
              </a:rPr>
              <a:t>Department Administrator</a:t>
            </a:r>
            <a:r>
              <a:rPr lang="en-US" dirty="0">
                <a:effectLst/>
              </a:rPr>
              <a:t> - Can edit their assigned department details such as name and cost center, manage the department administrators and create accounts under the department within the enrollment and view department charges (if allowed by the Enterprise Administrator).</a:t>
            </a:r>
          </a:p>
          <a:p>
            <a:r>
              <a:rPr lang="en-US" b="1" dirty="0">
                <a:effectLst/>
              </a:rPr>
              <a:t>Account Owner</a:t>
            </a:r>
            <a:r>
              <a:rPr lang="en-US" dirty="0">
                <a:effectLst/>
              </a:rPr>
              <a:t> - Can create subscriptions under the account and manage the subscriptions Service Administrator and Co-Administrators. Usage data for the account can be viewed and charges (if enabled by the Enterprise Administrator).</a:t>
            </a:r>
          </a:p>
          <a:p>
            <a:r>
              <a:rPr lang="en-US" b="1" dirty="0">
                <a:effectLst/>
              </a:rPr>
              <a:t>Service Administrator</a:t>
            </a:r>
            <a:r>
              <a:rPr lang="en-US" dirty="0">
                <a:effectLst/>
              </a:rPr>
              <a:t> - Access and manage subscriptions they are assigned to.</a:t>
            </a:r>
          </a:p>
          <a:p>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7142652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l talk about MSI in a slide lat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360601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6664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want to go straight through these, start on the top left and go across left to right across each row.  If any of the topics do not need to be discussed, or they are not interested in something, you have the option to hop around various sections depending on how much time you have.  The MOST important topics are </a:t>
            </a:r>
          </a:p>
          <a:p>
            <a:pPr marL="228600" indent="-228600">
              <a:buAutoNum type="arabicPeriod"/>
            </a:pPr>
            <a:r>
              <a:rPr lang="en-US" dirty="0"/>
              <a:t>Azure AD.  This is by far the largest section and has the most content.  Concepts such as the trust relationship between subscriptions and O365 and also administration are important to understand well and explain to the customer.</a:t>
            </a:r>
          </a:p>
          <a:p>
            <a:pPr marL="228600" indent="-228600">
              <a:buAutoNum type="arabicPeriod"/>
            </a:pPr>
            <a:r>
              <a:rPr lang="en-US" dirty="0"/>
              <a:t>Azure AD Connect – or do they have or are they planning on doing synchronization and are they at the latest version?</a:t>
            </a:r>
          </a:p>
          <a:p>
            <a:pPr marL="228600" indent="-228600">
              <a:buAutoNum type="arabicPeriod"/>
            </a:pPr>
            <a:r>
              <a:rPr lang="en-US" dirty="0"/>
              <a:t>Is federation in place?  If so what are they using?  If not, then this is an education for them. Conditional Access is sometimes a new topic either way – note that is another block to choose.</a:t>
            </a:r>
          </a:p>
          <a:p>
            <a:pPr marL="0" indent="0">
              <a:buNone/>
            </a:pPr>
            <a:r>
              <a:rPr lang="en-US" b="1" dirty="0"/>
              <a:t>NOTE:</a:t>
            </a:r>
            <a:r>
              <a:rPr lang="en-US" b="0" dirty="0"/>
              <a:t> if there are topics that they own and have well configured and managed, then you don’t necessarily need to dive into the slides, but instead use the Discovery section to ask questions about their current state.  That is why it is recommended to do the discovery first.  Then you may get what you need and determine which sections should or should not </a:t>
            </a:r>
            <a:r>
              <a:rPr lang="en-US" b="0"/>
              <a:t>be presented.</a:t>
            </a:r>
            <a:endParaRPr lang="en-US" b="1" dirty="0"/>
          </a:p>
          <a:p>
            <a:pPr marL="228600" indent="-228600">
              <a:buAutoNum type="arabicPeriod"/>
            </a:pPr>
            <a:endParaRPr lang="en-US" dirty="0"/>
          </a:p>
          <a:p>
            <a:pPr marL="0" indent="0">
              <a:buNone/>
            </a:pPr>
            <a:r>
              <a:rPr lang="en-US" dirty="0"/>
              <a:t>If you click outside the boxes in the white area, the deck will just proceed as normal.  But the Zoom effect is cool, so show and use it </a:t>
            </a:r>
            <a:r>
              <a:rPr lang="en-US" dirty="0">
                <a:sym typeface="Wingdings" panose="05000000000000000000" pitchFamily="2" charset="2"/>
              </a:rPr>
              <a:t>  As you complete each topic, the Zoom will return you back to this menu.</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826769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1EE4526A-2F64-4309-823B-1997B299DDED}"/>
              </a:ext>
            </a:extLst>
          </p:cNvPr>
          <p:cNvSpPr>
            <a:spLocks noGrp="1"/>
          </p:cNvSpPr>
          <p:nvPr>
            <p:ph type="body" idx="1"/>
          </p:nvPr>
        </p:nvSpPr>
        <p:spPr/>
        <p:txBody>
          <a:bodyPr/>
          <a:lstStyle/>
          <a:p>
            <a:r>
              <a:rPr lang="en-US" b="1" dirty="0"/>
              <a:t>NOTE</a:t>
            </a:r>
            <a:endParaRPr lang="en-US" b="0" dirty="0"/>
          </a:p>
          <a:p>
            <a:r>
              <a:rPr lang="en-US" b="0" dirty="0"/>
              <a:t>This will become more important to note when talking about traditional Azure PIM versus the newer Azure PIM for Resources.  The former ONLY deals with Azure AD RBAC i.e. only Azure AD admin roles.  The latter PIM for resources does just in time(JIT) and Just Enough Access (JEA) for Azure resources and the related RBAC roles.  These are two different administration planes and companies need to understand the differences in particular around adhering to “Least Privilege” and “Separation of Duties”</a:t>
            </a:r>
          </a:p>
          <a:p>
            <a:endParaRPr lang="en-US" b="0" dirty="0"/>
          </a:p>
          <a:p>
            <a:r>
              <a:rPr lang="en-US" b="0" dirty="0"/>
              <a:t>PIM is discussed later in the deck.</a:t>
            </a:r>
            <a:endParaRPr lang="en-US" b="1" dirty="0"/>
          </a:p>
        </p:txBody>
      </p:sp>
    </p:spTree>
    <p:extLst>
      <p:ext uri="{BB962C8B-B14F-4D97-AF65-F5344CB8AC3E}">
        <p14:creationId xmlns:p14="http://schemas.microsoft.com/office/powerpoint/2010/main" val="26602410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30789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79821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dirty="0"/>
              <a:t>Azure AD provides the core directory and identity management capabilities behind most of Microsoft’s cloud services, including: </a:t>
            </a:r>
          </a:p>
          <a:p>
            <a:pPr marL="171450" indent="-171450" rtl="0">
              <a:buFont typeface="Arial" panose="020B0604020202020204" pitchFamily="34" charset="0"/>
              <a:buChar char="•"/>
            </a:pPr>
            <a:r>
              <a:rPr lang="en-US" dirty="0"/>
              <a:t>Azure Subscription</a:t>
            </a:r>
          </a:p>
          <a:p>
            <a:pPr marL="171450" indent="-171450" rtl="0">
              <a:buFont typeface="Arial" panose="020B0604020202020204" pitchFamily="34" charset="0"/>
              <a:buChar char="•"/>
            </a:pPr>
            <a:r>
              <a:rPr lang="en-US" dirty="0"/>
              <a:t>Microsoft Office 365</a:t>
            </a:r>
          </a:p>
          <a:p>
            <a:pPr marL="171450" indent="-171450" rtl="0">
              <a:buFont typeface="Arial" panose="020B0604020202020204" pitchFamily="34" charset="0"/>
              <a:buChar char="•"/>
            </a:pPr>
            <a:r>
              <a:rPr lang="en-US" dirty="0"/>
              <a:t>Microsoft Dynamics CRM Online</a:t>
            </a:r>
          </a:p>
          <a:p>
            <a:pPr marL="171450" indent="-171450" rtl="0">
              <a:buFont typeface="Arial" panose="020B0604020202020204" pitchFamily="34" charset="0"/>
              <a:buChar char="•"/>
            </a:pPr>
            <a:r>
              <a:rPr lang="en-US" dirty="0"/>
              <a:t>Microsoft Intune</a:t>
            </a:r>
          </a:p>
          <a:p>
            <a:pPr rtl="0"/>
            <a:endParaRPr lang="en-US" dirty="0"/>
          </a:p>
          <a:p>
            <a:pPr rtl="0"/>
            <a:r>
              <a:rPr lang="en-US" dirty="0"/>
              <a:t>You will get an Azure AD directory when you sign up for any of these Microsoft cloud services. You can create additional directories as needed. For example, you might maintain your first directory as a production directory and then create another directory for testing or staging.</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5770339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52353" indent="0">
              <a:buNone/>
            </a:pPr>
            <a:r>
              <a:rPr lang="en-US" sz="3200" kern="1200" dirty="0">
                <a:solidFill>
                  <a:schemeClr val="tx1"/>
                </a:solidFill>
                <a:latin typeface="Segoe UI Light" pitchFamily="34" charset="0"/>
                <a:ea typeface="+mn-ea"/>
                <a:cs typeface="+mn-cs"/>
              </a:rPr>
              <a:t>Sync tools Include:</a:t>
            </a:r>
          </a:p>
          <a:p>
            <a:pPr lvl="1"/>
            <a:endParaRPr lang="en-US" sz="2400" kern="1200" dirty="0">
              <a:solidFill>
                <a:schemeClr val="tx1"/>
              </a:solidFill>
              <a:latin typeface="Segoe UI Light" pitchFamily="34" charset="0"/>
              <a:ea typeface="+mn-ea"/>
              <a:cs typeface="+mn-cs"/>
            </a:endParaRPr>
          </a:p>
          <a:p>
            <a:pPr marL="342900" lvl="1" indent="-342900">
              <a:buFont typeface="Arial" panose="020B0604020202020204" pitchFamily="34" charset="0"/>
              <a:buChar char="•"/>
            </a:pPr>
            <a:r>
              <a:rPr lang="en-US" sz="900" kern="1200" dirty="0">
                <a:solidFill>
                  <a:schemeClr val="tx1"/>
                </a:solidFill>
                <a:latin typeface="Segoe UI Light" pitchFamily="34" charset="0"/>
                <a:ea typeface="+mn-ea"/>
                <a:cs typeface="+mn-cs"/>
              </a:rPr>
              <a:t>Azure AD Connect: Simple scenarios </a:t>
            </a:r>
          </a:p>
          <a:p>
            <a:pPr marL="342900" lvl="1" indent="-342900">
              <a:buFont typeface="Arial" panose="020B0604020202020204" pitchFamily="34" charset="0"/>
              <a:buChar char="•"/>
            </a:pPr>
            <a:r>
              <a:rPr lang="en-US" sz="900" kern="1200" dirty="0">
                <a:solidFill>
                  <a:schemeClr val="tx1"/>
                </a:solidFill>
                <a:latin typeface="Segoe UI Light" pitchFamily="34" charset="0"/>
                <a:ea typeface="+mn-ea"/>
                <a:cs typeface="+mn-cs"/>
              </a:rPr>
              <a:t>MM and the Azure AD Connector: Complex scenarios</a:t>
            </a:r>
          </a:p>
          <a:p>
            <a:pPr marL="342900" lvl="1" indent="-342900">
              <a:buFont typeface="Arial" panose="020B0604020202020204" pitchFamily="34" charset="0"/>
              <a:buChar char="•"/>
            </a:pPr>
            <a:r>
              <a:rPr lang="en-US" sz="900" kern="1200" dirty="0">
                <a:solidFill>
                  <a:schemeClr val="tx1"/>
                </a:solidFill>
                <a:latin typeface="Segoe UI Light" pitchFamily="34" charset="0"/>
                <a:ea typeface="+mn-ea"/>
                <a:cs typeface="+mn-cs"/>
              </a:rPr>
              <a:t>Previous Sync Tools: AAD Sync and DirSync – OLD – do not use anymore</a:t>
            </a:r>
          </a:p>
          <a:p>
            <a:pPr marL="342900" lvl="1" indent="-342900">
              <a:buFont typeface="Arial" panose="020B0604020202020204" pitchFamily="34" charset="0"/>
              <a:buChar char="•"/>
            </a:pPr>
            <a:endParaRPr lang="en-US" sz="900" kern="1200" dirty="0">
              <a:solidFill>
                <a:schemeClr val="tx1"/>
              </a:solidFill>
              <a:latin typeface="Segoe UI Light" pitchFamily="34" charset="0"/>
              <a:ea typeface="+mn-ea"/>
              <a:cs typeface="+mn-cs"/>
            </a:endParaRPr>
          </a:p>
          <a:p>
            <a:pPr lvl="1"/>
            <a:r>
              <a:rPr lang="en-US" sz="900" kern="1200" spc="-68" dirty="0">
                <a:solidFill>
                  <a:schemeClr val="tx1"/>
                </a:solidFill>
                <a:latin typeface="Segoe UI Light" pitchFamily="34" charset="0"/>
                <a:ea typeface="+mn-ea"/>
                <a:cs typeface="+mn-cs"/>
              </a:rPr>
              <a:t>Consolidated deployment assistant for your identity bridge components</a:t>
            </a:r>
          </a:p>
          <a:p>
            <a:pPr lvl="1"/>
            <a:r>
              <a:rPr lang="en-US" sz="900" kern="1200" spc="-68" dirty="0">
                <a:solidFill>
                  <a:schemeClr val="tx1"/>
                </a:solidFill>
                <a:latin typeface="Segoe UI Light" pitchFamily="34" charset="0"/>
                <a:ea typeface="+mn-ea"/>
                <a:cs typeface="+mn-cs"/>
              </a:rPr>
              <a:t>All currently available sync engines will be replaced by the Sync engine included in the Connect tool</a:t>
            </a:r>
          </a:p>
          <a:p>
            <a:pPr lvl="1"/>
            <a:r>
              <a:rPr lang="en-US" sz="900" kern="1200" spc="-68" dirty="0">
                <a:solidFill>
                  <a:schemeClr val="tx1"/>
                </a:solidFill>
                <a:latin typeface="Segoe UI Light" pitchFamily="34" charset="0"/>
                <a:ea typeface="+mn-ea"/>
                <a:cs typeface="+mn-cs"/>
              </a:rPr>
              <a:t>Assisted deployment of ADFS will be available through Azure Active Directory Connect</a:t>
            </a:r>
          </a:p>
          <a:p>
            <a:pPr lvl="1"/>
            <a:endParaRPr lang="en-US" sz="900" kern="1200" spc="-68" dirty="0">
              <a:solidFill>
                <a:schemeClr val="tx1"/>
              </a:solidFill>
              <a:latin typeface="Segoe UI Light" pitchFamily="34" charset="0"/>
              <a:ea typeface="+mn-ea"/>
              <a:cs typeface="+mn-cs"/>
            </a:endParaRPr>
          </a:p>
          <a:p>
            <a:pPr lvl="0"/>
            <a:r>
              <a:rPr lang="en-US" b="1" dirty="0"/>
              <a:t>Authenticating to Azure AD</a:t>
            </a:r>
          </a:p>
          <a:p>
            <a:pPr lvl="1"/>
            <a:r>
              <a:rPr lang="en-US" dirty="0"/>
              <a:t>Enable password hash synchronization so that the Azure AD password for users is the same as the on-premises AD password</a:t>
            </a:r>
          </a:p>
          <a:p>
            <a:pPr lvl="1"/>
            <a:r>
              <a:rPr lang="en-US" dirty="0"/>
              <a:t>Otherwise, users will have different passwords for AD and Azure AD</a:t>
            </a:r>
          </a:p>
          <a:p>
            <a:pPr lvl="0"/>
            <a:r>
              <a:rPr lang="en-US" b="1" dirty="0"/>
              <a:t>Authenticating to an On-premises identity provider</a:t>
            </a:r>
          </a:p>
          <a:p>
            <a:pPr lvl="1"/>
            <a:r>
              <a:rPr lang="en-US" dirty="0"/>
              <a:t>Azure AD supports the ability to establish an identity federation trust with an on-premises Identity Provider (IdP), such as Active Directory Federation Services (AD FS)</a:t>
            </a:r>
          </a:p>
          <a:p>
            <a:pPr lvl="1"/>
            <a:r>
              <a:rPr lang="en-US" dirty="0"/>
              <a:t>This enables users to have a desktop single sign-on experience when accessing resources that are integrated with Azure AD</a:t>
            </a:r>
          </a:p>
          <a:p>
            <a:pPr marL="0" lvl="1" indent="0">
              <a:buFont typeface="Arial" panose="020B0604020202020204" pitchFamily="34" charset="0"/>
              <a:buNone/>
            </a:pPr>
            <a:endParaRPr lang="en-US" sz="900" kern="1200" dirty="0">
              <a:solidFill>
                <a:schemeClr val="tx1"/>
              </a:solidFill>
              <a:latin typeface="Segoe UI Light" pitchFamily="34" charset="0"/>
              <a:ea typeface="+mn-ea"/>
              <a:cs typeface="+mn-cs"/>
            </a:endParaRP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22/2018</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2122217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Selecting the attribute for the user principal name in Azure AD</a:t>
            </a:r>
          </a:p>
          <a:p>
            <a:r>
              <a:rPr lang="en-US" sz="900" b="0" i="0" u="none" strike="noStrike" kern="1200" dirty="0">
                <a:solidFill>
                  <a:schemeClr val="tx1"/>
                </a:solidFill>
                <a:effectLst/>
                <a:latin typeface="Segoe UI Light" pitchFamily="34" charset="0"/>
                <a:ea typeface="+mn-ea"/>
                <a:cs typeface="+mn-cs"/>
              </a:rPr>
              <a:t>The attribute userPrincipalName is the attribute that users use when they sign in to Azure AD and Office 365. You should verify the domains (also known as UPN suffixes) that are used in Azure AD before the users are synchronized. </a:t>
            </a:r>
          </a:p>
          <a:p>
            <a:r>
              <a:rPr lang="en-US" sz="900" b="0" i="0" u="none" strike="noStrike" kern="1200" dirty="0">
                <a:solidFill>
                  <a:schemeClr val="tx1"/>
                </a:solidFill>
                <a:effectLst/>
                <a:latin typeface="Segoe UI Light" pitchFamily="34" charset="0"/>
                <a:ea typeface="+mn-ea"/>
                <a:cs typeface="+mn-cs"/>
              </a:rPr>
              <a:t>We strongly recommend that you keep the default attribute userPrincipalName. If this attribute is </a:t>
            </a:r>
            <a:r>
              <a:rPr lang="en-US" sz="900" b="0" i="0" u="none" strike="noStrike" kern="1200" dirty="0" err="1">
                <a:solidFill>
                  <a:schemeClr val="tx1"/>
                </a:solidFill>
                <a:effectLst/>
                <a:latin typeface="Segoe UI Light" pitchFamily="34" charset="0"/>
                <a:ea typeface="+mn-ea"/>
                <a:cs typeface="+mn-cs"/>
              </a:rPr>
              <a:t>nonroutable</a:t>
            </a:r>
            <a:r>
              <a:rPr lang="en-US" sz="900" b="0" i="0" u="none" strike="noStrike" kern="1200" dirty="0">
                <a:solidFill>
                  <a:schemeClr val="tx1"/>
                </a:solidFill>
                <a:effectLst/>
                <a:latin typeface="Segoe UI Light" pitchFamily="34" charset="0"/>
                <a:ea typeface="+mn-ea"/>
                <a:cs typeface="+mn-cs"/>
              </a:rPr>
              <a:t> and can't be verified, then it's possible to select another attribute (email, for example) as the attribute that holds the sign-in ID. This is known as the Alternate ID. The Alternate ID attribute value must follow the RFC 822 standard. You can use an Alternate ID with both password SSO and federation SSO as the sign-in solution.</a:t>
            </a:r>
          </a:p>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9299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 double arrow object represents a SYNC server. The purple one is the staging server.</a:t>
            </a:r>
          </a:p>
          <a:p>
            <a:r>
              <a:rPr lang="en-US" dirty="0"/>
              <a:t>At this point if it hasn’t been discussed, find out what type of synchronization is in place or not?  Ask Questions about their current AD environment.  Find out what they have by asking these questions. There is a slide at the end to confirm these questions also.</a:t>
            </a:r>
          </a:p>
          <a:p>
            <a:endParaRPr lang="en-US" dirty="0"/>
          </a:p>
          <a:p>
            <a:r>
              <a:rPr lang="en-US" sz="900" b="0" i="0" u="none" strike="noStrike" kern="1200" dirty="0">
                <a:solidFill>
                  <a:schemeClr val="tx1"/>
                </a:solidFill>
                <a:effectLst/>
                <a:latin typeface="Segoe UI Light" pitchFamily="34" charset="0"/>
                <a:ea typeface="+mn-ea"/>
                <a:cs typeface="+mn-cs"/>
              </a:rPr>
              <a:t>We recommend having a single tenant in Azure AD for an organization. Before you plan to use multiple Azure AD tenants, see the article </a:t>
            </a:r>
            <a:r>
              <a:rPr lang="en-US" sz="900" b="0" i="0" u="none" strike="noStrike" kern="1200" dirty="0">
                <a:solidFill>
                  <a:schemeClr val="tx1"/>
                </a:solidFill>
                <a:effectLst/>
                <a:latin typeface="Segoe UI Light" pitchFamily="34" charset="0"/>
                <a:ea typeface="+mn-ea"/>
                <a:cs typeface="+mn-cs"/>
                <a:hlinkClick r:id="rId3"/>
              </a:rPr>
              <a:t>Administrative units management in Azure AD</a:t>
            </a:r>
            <a:r>
              <a:rPr lang="en-US" sz="900" b="0" i="0" u="none" strike="noStrike" kern="1200" dirty="0">
                <a:solidFill>
                  <a:schemeClr val="tx1"/>
                </a:solidFill>
                <a:effectLst/>
                <a:latin typeface="Segoe UI Light" pitchFamily="34" charset="0"/>
                <a:ea typeface="+mn-ea"/>
                <a:cs typeface="+mn-cs"/>
              </a:rPr>
              <a:t>. It covers common scenarios where you can use a single tenant.</a:t>
            </a:r>
            <a:endParaRPr lang="en-US" dirty="0"/>
          </a:p>
          <a:p>
            <a:endParaRPr lang="en-US" dirty="0"/>
          </a:p>
          <a:p>
            <a:r>
              <a:rPr lang="en-US" dirty="0"/>
              <a:t>Be sure to review https://docs.microsoft.com/en-us/azure/active-directory/connect/active-directory-aadconnect-topologies and even pull it up or share if needed.</a:t>
            </a:r>
          </a:p>
          <a:p>
            <a:endParaRPr lang="en-US" dirty="0"/>
          </a:p>
          <a:p>
            <a:pPr rtl="0"/>
            <a:r>
              <a:rPr lang="en-US" dirty="0"/>
              <a:t>These tasks are unsupported:</a:t>
            </a:r>
          </a:p>
          <a:p>
            <a:pPr marL="171450" indent="-171450" rtl="0">
              <a:buFont typeface="Arial" panose="020B0604020202020204" pitchFamily="34" charset="0"/>
              <a:buChar char="•"/>
            </a:pPr>
            <a:r>
              <a:rPr lang="en-US" dirty="0"/>
              <a:t>Sync the same user to multiple Azure AD tenants.</a:t>
            </a:r>
          </a:p>
          <a:p>
            <a:pPr marL="171450" indent="-171450" rtl="0">
              <a:buFont typeface="Arial" panose="020B0604020202020204" pitchFamily="34" charset="0"/>
              <a:buChar char="•"/>
            </a:pPr>
            <a:r>
              <a:rPr lang="en-US" dirty="0"/>
              <a:t>Make a configuration change so that users in one Azure AD tenant appear as contacts in another Azure AD tenant.</a:t>
            </a:r>
          </a:p>
          <a:p>
            <a:pPr marL="171450" indent="-171450" rtl="0">
              <a:buFont typeface="Arial" panose="020B0604020202020204" pitchFamily="34" charset="0"/>
              <a:buChar char="•"/>
            </a:pPr>
            <a:r>
              <a:rPr lang="en-US" dirty="0"/>
              <a:t>Modify Azure AD Connect sync to connect to multiple Azure AD tenant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326470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for reference and in case this option comes up.  This is a new scenario and an exception.  It is the only 1:many, but still requires multiple sync servers, but each one filters a different part of the single Active Directory domain, to different tenants. An example would be where an org could have Organizational Units (OU)s by businesses or pre-production environments….and they want them to each have ownership of their own Azure AD tenant and corresponding Azure Subscription. </a:t>
            </a:r>
          </a:p>
          <a:p>
            <a:endParaRPr lang="en-US" dirty="0"/>
          </a:p>
          <a:p>
            <a:r>
              <a:rPr lang="en-US" dirty="0"/>
              <a:t>This is rare and should be reviewed in depth on the </a:t>
            </a:r>
            <a:r>
              <a:rPr lang="en-US" b="1" dirty="0"/>
              <a:t>see article</a:t>
            </a:r>
            <a:r>
              <a:rPr lang="en-US" b="0" dirty="0"/>
              <a:t> link!  One real world use case was a government agency that wanted to have their on-premises directory to be split between Azure Commercial and Azure Government.  This scenario solved that problem.</a:t>
            </a:r>
          </a:p>
          <a:p>
            <a:r>
              <a:rPr lang="en-US" sz="900" b="0" i="0" u="none" strike="noStrike" kern="1200" dirty="0">
                <a:solidFill>
                  <a:schemeClr val="tx1"/>
                </a:solidFill>
                <a:effectLst/>
                <a:latin typeface="Segoe UI Light" pitchFamily="34" charset="0"/>
                <a:ea typeface="+mn-ea"/>
                <a:cs typeface="+mn-cs"/>
              </a:rPr>
              <a:t>This topology has the </a:t>
            </a:r>
            <a:r>
              <a:rPr lang="en-US" sz="900" b="1" i="0" u="none" strike="noStrike" kern="1200" dirty="0">
                <a:solidFill>
                  <a:schemeClr val="tx1"/>
                </a:solidFill>
                <a:effectLst/>
                <a:latin typeface="Segoe UI Light" pitchFamily="34" charset="0"/>
                <a:ea typeface="+mn-ea"/>
                <a:cs typeface="+mn-cs"/>
              </a:rPr>
              <a:t>following restrictions </a:t>
            </a:r>
            <a:r>
              <a:rPr lang="en-US" sz="900" b="0" i="0" u="none" strike="noStrike" kern="1200" dirty="0">
                <a:solidFill>
                  <a:schemeClr val="tx1"/>
                </a:solidFill>
                <a:effectLst/>
                <a:latin typeface="Segoe UI Light" pitchFamily="34" charset="0"/>
                <a:ea typeface="+mn-ea"/>
                <a:cs typeface="+mn-cs"/>
              </a:rPr>
              <a:t>on otherwise supported scenarios: </a:t>
            </a:r>
          </a:p>
          <a:p>
            <a:pPr marL="171450"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Only one of the Azure AD tenants can enable an Exchange hybrid with the on-premises Active Directory instance.</a:t>
            </a:r>
          </a:p>
          <a:p>
            <a:pPr marL="171450"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Windows 10 devices can be associated with only one Azure AD tenant.</a:t>
            </a:r>
          </a:p>
          <a:p>
            <a:pPr marL="171450"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The single sign-on (SSO) option for password synchronization and pass-through authentication can be used with only one Azure AD tenant.</a:t>
            </a:r>
          </a:p>
          <a:p>
            <a:r>
              <a:rPr lang="en-US" sz="900" b="0" i="0" u="none" strike="noStrike" kern="1200" dirty="0">
                <a:solidFill>
                  <a:schemeClr val="tx1"/>
                </a:solidFill>
                <a:effectLst/>
                <a:latin typeface="Segoe UI Light" pitchFamily="34" charset="0"/>
                <a:ea typeface="+mn-ea"/>
                <a:cs typeface="+mn-cs"/>
              </a:rPr>
              <a:t>The requirement for a mutually exclusive set of objects also applies to writeback. Some writeback features are not supported with this topology because they assume a single on-premises configuration. These features include: </a:t>
            </a:r>
          </a:p>
          <a:p>
            <a:pPr marL="171450"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Group writeback with default configuration.</a:t>
            </a:r>
          </a:p>
          <a:p>
            <a:pPr marL="171450"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Device writeback.</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0757066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Windows 10 is not in use, skip this or brief over the capabilities.  This is usually not part of the scope of an HCF, but the purpose is to inform of current capabilitie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3553177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AD Premium required.  Mainly information to share if they already have O365 running, or else it is a parallel effort in mo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4212777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dirty="0"/>
              <a:t>Azure AD provides the core directory and identity management capabilities behind most of Microsoft’s cloud services, including: </a:t>
            </a:r>
          </a:p>
          <a:p>
            <a:pPr marL="171450" indent="-171450" rtl="0">
              <a:buFont typeface="Arial" panose="020B0604020202020204" pitchFamily="34" charset="0"/>
              <a:buChar char="•"/>
            </a:pPr>
            <a:r>
              <a:rPr lang="en-US" dirty="0"/>
              <a:t>Azure Subscription</a:t>
            </a:r>
          </a:p>
          <a:p>
            <a:pPr marL="171450" indent="-171450" rtl="0">
              <a:buFont typeface="Arial" panose="020B0604020202020204" pitchFamily="34" charset="0"/>
              <a:buChar char="•"/>
            </a:pPr>
            <a:r>
              <a:rPr lang="en-US" dirty="0"/>
              <a:t>Microsoft Office 365</a:t>
            </a:r>
          </a:p>
          <a:p>
            <a:pPr marL="171450" indent="-171450" rtl="0">
              <a:buFont typeface="Arial" panose="020B0604020202020204" pitchFamily="34" charset="0"/>
              <a:buChar char="•"/>
            </a:pPr>
            <a:r>
              <a:rPr lang="en-US" dirty="0"/>
              <a:t>Microsoft Dynamics CRM Online</a:t>
            </a:r>
          </a:p>
          <a:p>
            <a:pPr marL="171450" indent="-171450" rtl="0">
              <a:buFont typeface="Arial" panose="020B0604020202020204" pitchFamily="34" charset="0"/>
              <a:buChar char="•"/>
            </a:pPr>
            <a:r>
              <a:rPr lang="en-US" dirty="0"/>
              <a:t>Microsoft Intune</a:t>
            </a:r>
          </a:p>
          <a:p>
            <a:pPr rtl="0"/>
            <a:endParaRPr lang="en-US" dirty="0"/>
          </a:p>
          <a:p>
            <a:pPr rtl="0"/>
            <a:r>
              <a:rPr lang="en-US" dirty="0"/>
              <a:t>You will get an Azure AD directory when you sign up for any of these Microsoft cloud services. You can create additional directories as needed. For example, you might maintain your first directory as a production directory and then create another directory for testing or staging.</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1680829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dirty="0"/>
              <a:t>Azure AD provides the core directory and identity management capabilities behind most of Microsoft’s cloud services, including: </a:t>
            </a:r>
          </a:p>
          <a:p>
            <a:pPr marL="171450" indent="-171450" rtl="0">
              <a:buFont typeface="Arial" panose="020B0604020202020204" pitchFamily="34" charset="0"/>
              <a:buChar char="•"/>
            </a:pPr>
            <a:r>
              <a:rPr lang="en-US" dirty="0"/>
              <a:t>Azure Subscription</a:t>
            </a:r>
          </a:p>
          <a:p>
            <a:pPr marL="171450" indent="-171450" rtl="0">
              <a:buFont typeface="Arial" panose="020B0604020202020204" pitchFamily="34" charset="0"/>
              <a:buChar char="•"/>
            </a:pPr>
            <a:r>
              <a:rPr lang="en-US" dirty="0"/>
              <a:t>Microsoft Office 365</a:t>
            </a:r>
          </a:p>
          <a:p>
            <a:pPr marL="171450" indent="-171450" rtl="0">
              <a:buFont typeface="Arial" panose="020B0604020202020204" pitchFamily="34" charset="0"/>
              <a:buChar char="•"/>
            </a:pPr>
            <a:r>
              <a:rPr lang="en-US" dirty="0"/>
              <a:t>Microsoft Dynamics CRM Online</a:t>
            </a:r>
          </a:p>
          <a:p>
            <a:pPr marL="171450" indent="-171450" rtl="0">
              <a:buFont typeface="Arial" panose="020B0604020202020204" pitchFamily="34" charset="0"/>
              <a:buChar char="•"/>
            </a:pPr>
            <a:r>
              <a:rPr lang="en-US" dirty="0"/>
              <a:t>Microsoft Intune</a:t>
            </a:r>
          </a:p>
          <a:p>
            <a:pPr rtl="0"/>
            <a:endParaRPr lang="en-US" dirty="0"/>
          </a:p>
          <a:p>
            <a:pPr rtl="0"/>
            <a:r>
              <a:rPr lang="en-US" dirty="0"/>
              <a:t>You will get an Azure AD directory when you sign up for any of these Microsoft cloud services. You can create additional directories as needed. For example, you might maintain your first directory as a production directory and then create another directory for testing or staging.</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6139230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0" dirty="0">
                <a:gradFill>
                  <a:gsLst>
                    <a:gs pos="1250">
                      <a:schemeClr val="tx2"/>
                    </a:gs>
                    <a:gs pos="99000">
                      <a:schemeClr val="tx2"/>
                    </a:gs>
                  </a:gsLst>
                  <a:lin ang="5400000" scaled="0"/>
                </a:gradFill>
              </a:rPr>
              <a:t>CONSULTANCY NOTE:  At this point if not already known, there should be discovery about what and if Federation exists currently?  Are they using AD FS?  If so what versions?  Looking to upgrade to AD FS 2016?  Using 3</a:t>
            </a:r>
            <a:r>
              <a:rPr lang="en-US" sz="1200" b="0" baseline="30000" dirty="0">
                <a:gradFill>
                  <a:gsLst>
                    <a:gs pos="1250">
                      <a:schemeClr val="tx2"/>
                    </a:gs>
                    <a:gs pos="99000">
                      <a:schemeClr val="tx2"/>
                    </a:gs>
                  </a:gsLst>
                  <a:lin ang="5400000" scaled="0"/>
                </a:gradFill>
              </a:rPr>
              <a:t>rd</a:t>
            </a:r>
            <a:r>
              <a:rPr lang="en-US" sz="1200" b="0" dirty="0">
                <a:gradFill>
                  <a:gsLst>
                    <a:gs pos="1250">
                      <a:schemeClr val="tx2"/>
                    </a:gs>
                    <a:gs pos="99000">
                      <a:schemeClr val="tx2"/>
                    </a:gs>
                  </a:gsLst>
                  <a:lin ang="5400000" scaled="0"/>
                </a:gradFill>
              </a:rPr>
              <a:t> party Federation?</a:t>
            </a:r>
          </a:p>
          <a:p>
            <a:pPr marL="0" indent="0">
              <a:buNone/>
            </a:pPr>
            <a:r>
              <a:rPr lang="en-US" sz="1200" b="1" dirty="0">
                <a:gradFill>
                  <a:gsLst>
                    <a:gs pos="1250">
                      <a:schemeClr val="tx2"/>
                    </a:gs>
                    <a:gs pos="99000">
                      <a:schemeClr val="tx2"/>
                    </a:gs>
                  </a:gsLst>
                  <a:lin ang="5400000" scaled="0"/>
                </a:gradFill>
              </a:rPr>
              <a:t>Provides the following capabilities:</a:t>
            </a:r>
          </a:p>
          <a:p>
            <a:pPr marL="285750" indent="-285750">
              <a:lnSpc>
                <a:spcPct val="100000"/>
              </a:lnSpc>
              <a:spcBef>
                <a:spcPts val="0"/>
              </a:spcBef>
              <a:spcAft>
                <a:spcPts val="600"/>
              </a:spcAft>
            </a:pPr>
            <a:r>
              <a:rPr lang="en-US" sz="900" dirty="0">
                <a:solidFill>
                  <a:schemeClr val="tx1"/>
                </a:solidFill>
              </a:rPr>
              <a:t>All authentication to Azure AD is performed against the on-premises directory via Active Directory Federation Services (AD FS) or another federated identity provider.</a:t>
            </a:r>
          </a:p>
          <a:p>
            <a:pPr marL="285750" indent="-285750">
              <a:lnSpc>
                <a:spcPct val="100000"/>
              </a:lnSpc>
              <a:spcBef>
                <a:spcPts val="0"/>
              </a:spcBef>
              <a:spcAft>
                <a:spcPts val="600"/>
              </a:spcAft>
            </a:pPr>
            <a:r>
              <a:rPr lang="en-US" sz="900" dirty="0">
                <a:solidFill>
                  <a:schemeClr val="tx1"/>
                </a:solidFill>
              </a:rPr>
              <a:t>Works with non-Microsoft identity providers. </a:t>
            </a:r>
          </a:p>
          <a:p>
            <a:pPr marL="285750" indent="-285750">
              <a:lnSpc>
                <a:spcPct val="100000"/>
              </a:lnSpc>
              <a:spcBef>
                <a:spcPts val="0"/>
              </a:spcBef>
              <a:spcAft>
                <a:spcPts val="600"/>
              </a:spcAft>
            </a:pPr>
            <a:r>
              <a:rPr lang="en-US" sz="900" dirty="0">
                <a:solidFill>
                  <a:schemeClr val="tx1"/>
                </a:solidFill>
              </a:rPr>
              <a:t>Password hash sync adds the capability to act as a sign-in backup for federated sign-in (if the federation solution fail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1832054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chemeClr val="tx2"/>
                    </a:gs>
                    <a:gs pos="99000">
                      <a:schemeClr val="tx2"/>
                    </a:gs>
                  </a:gsLst>
                  <a:lin ang="5400000" scaled="0"/>
                </a:gradFill>
              </a:rPr>
              <a:t>The Azure AD Connect Health service allows you to install agents on your AD FS servers that push audit data into Azure AD.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gradFill>
                <a:gsLst>
                  <a:gs pos="1250">
                    <a:schemeClr val="tx2"/>
                  </a:gs>
                  <a:gs pos="99000">
                    <a:schemeClr val="tx2"/>
                  </a:gs>
                </a:gsLst>
                <a:lin ang="5400000" scaled="0"/>
              </a:gradFill>
            </a:endParaRPr>
          </a:p>
          <a:p>
            <a:r>
              <a:rPr lang="en-US" dirty="0"/>
              <a:t>Single lens into “identity” monitoring</a:t>
            </a:r>
          </a:p>
          <a:p>
            <a:pPr marL="285750" lvl="1" indent="-285750">
              <a:lnSpc>
                <a:spcPct val="114000"/>
              </a:lnSpc>
              <a:buFont typeface="Arial" pitchFamily="34" charset="0"/>
              <a:buChar char="•"/>
            </a:pPr>
            <a:r>
              <a:rPr lang="en-US" sz="2000" dirty="0"/>
              <a:t>Monitoring for ADFS and Sync and new AD DS</a:t>
            </a:r>
          </a:p>
          <a:p>
            <a:pPr marL="403152" lvl="2" indent="-285750">
              <a:lnSpc>
                <a:spcPct val="114000"/>
              </a:lnSpc>
              <a:buFont typeface="Arial" pitchFamily="34" charset="0"/>
              <a:buChar char="•"/>
            </a:pPr>
            <a:r>
              <a:rPr kumimoji="0" lang="en-US" sz="5499" b="0" i="0" u="none" strike="noStrike" kern="0" cap="none" spc="0" normalizeH="0" baseline="0" noProof="0" dirty="0">
                <a:ln>
                  <a:noFill/>
                </a:ln>
                <a:solidFill>
                  <a:srgbClr val="FFFFFF"/>
                </a:solidFill>
                <a:effectLst/>
                <a:uLnTx/>
                <a:uFillTx/>
                <a:latin typeface="Segoe UI Light"/>
                <a:ea typeface="+mn-ea"/>
                <a:cs typeface="+mn-cs"/>
              </a:rPr>
              <a:t>103K</a:t>
            </a:r>
            <a:r>
              <a:rPr kumimoji="0" lang="en-US" sz="2000" b="0" i="0" u="none" strike="noStrike" kern="0" cap="none" spc="0" normalizeH="0" baseline="0" noProof="0" dirty="0">
                <a:ln>
                  <a:noFill/>
                </a:ln>
                <a:solidFill>
                  <a:srgbClr val="FFFFFF"/>
                </a:solidFill>
                <a:effectLst/>
                <a:uLnTx/>
                <a:uFillTx/>
                <a:latin typeface="Segoe UI"/>
                <a:ea typeface="+mn-ea"/>
                <a:cs typeface="+mn-cs"/>
              </a:rPr>
              <a:t> </a:t>
            </a:r>
            <a:r>
              <a:rPr kumimoji="0" lang="en-US" sz="1600" b="0" i="0" u="none" strike="noStrike" kern="0" cap="none" spc="0" normalizeH="0" baseline="0" noProof="0" dirty="0">
                <a:ln>
                  <a:noFill/>
                </a:ln>
                <a:solidFill>
                  <a:srgbClr val="FFFFFF"/>
                </a:solidFill>
                <a:effectLst/>
                <a:uLnTx/>
                <a:uFillTx/>
                <a:latin typeface="Segoe UI"/>
                <a:ea typeface="+mn-ea"/>
                <a:cs typeface="+mn-cs"/>
              </a:rPr>
              <a:t>Active Azure AD Connect servers are sending data to Azure AD Connect Health service. This service can scale!</a:t>
            </a:r>
          </a:p>
          <a:p>
            <a:pPr marL="403152" lvl="2" indent="-285750">
              <a:lnSpc>
                <a:spcPct val="114000"/>
              </a:lnSpc>
              <a:buFont typeface="Arial" pitchFamily="34" charset="0"/>
              <a:buChar char="•"/>
            </a:pPr>
            <a:endParaRPr lang="en-US" sz="2000" dirty="0"/>
          </a:p>
          <a:p>
            <a:pPr marL="285750" lvl="1" indent="-285750">
              <a:lnSpc>
                <a:spcPct val="114000"/>
              </a:lnSpc>
              <a:buFont typeface="Arial" pitchFamily="34" charset="0"/>
              <a:buChar char="•"/>
            </a:pPr>
            <a:r>
              <a:rPr lang="en-US" sz="2000" dirty="0"/>
              <a:t>A low noise alerting system with helpful troubleshooting information</a:t>
            </a:r>
          </a:p>
          <a:p>
            <a:pPr marL="285750" lvl="1" indent="-285750">
              <a:lnSpc>
                <a:spcPct val="114000"/>
              </a:lnSpc>
              <a:buFont typeface="Arial" pitchFamily="34" charset="0"/>
              <a:buChar char="•"/>
            </a:pPr>
            <a:r>
              <a:rPr lang="en-US" sz="2000" dirty="0"/>
              <a:t>Reports and operational insights about usage trends</a:t>
            </a:r>
          </a:p>
          <a:p>
            <a:pPr marL="285750" lvl="1" indent="-285750">
              <a:lnSpc>
                <a:spcPct val="114000"/>
              </a:lnSpc>
              <a:buFont typeface="Arial" pitchFamily="34" charset="0"/>
              <a:buChar char="•"/>
            </a:pPr>
            <a:r>
              <a:rPr lang="en-US" sz="2000" dirty="0"/>
              <a:t>An easy-to-onboard, robust, and scalable cloud service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gradFill>
                <a:gsLst>
                  <a:gs pos="1250">
                    <a:schemeClr val="tx2"/>
                  </a:gs>
                  <a:gs pos="99000">
                    <a:schemeClr val="tx2"/>
                  </a:gs>
                </a:gsLst>
                <a:lin ang="5400000" scaled="0"/>
              </a:gradFill>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gradFill>
                <a:gsLst>
                  <a:gs pos="1250">
                    <a:schemeClr val="tx2"/>
                  </a:gs>
                  <a:gs pos="99000">
                    <a:schemeClr val="tx2"/>
                  </a:gs>
                </a:gsLst>
                <a:lin ang="5400000" scaled="0"/>
              </a:gradFill>
            </a:endParaRPr>
          </a:p>
          <a:p>
            <a:pPr lvl="0"/>
            <a:r>
              <a:rPr lang="en-US" b="1" dirty="0"/>
              <a:t>Agent Installation</a:t>
            </a:r>
            <a:endParaRPr lang="en-US" dirty="0"/>
          </a:p>
          <a:p>
            <a:pPr lvl="1"/>
            <a:r>
              <a:rPr lang="en-US" dirty="0"/>
              <a:t>Install agent on each monitored AD FS server</a:t>
            </a:r>
          </a:p>
          <a:p>
            <a:pPr lvl="1"/>
            <a:r>
              <a:rPr lang="en-US" dirty="0"/>
              <a:t>Enable Auditing for the Usage Analytics in AAD Connect Health to work properly.</a:t>
            </a:r>
          </a:p>
          <a:p>
            <a:pPr lvl="1"/>
            <a:r>
              <a:rPr lang="en-US" dirty="0"/>
              <a:t>Ensure that outbound URLs that the agent contacts  are not blocked by firewalls</a:t>
            </a:r>
          </a:p>
          <a:p>
            <a:pPr lvl="0"/>
            <a:r>
              <a:rPr lang="en-US" b="1" dirty="0"/>
              <a:t>Network Connectivity</a:t>
            </a:r>
            <a:endParaRPr lang="en-US" dirty="0"/>
          </a:p>
          <a:p>
            <a:pPr lvl="1"/>
            <a:r>
              <a:rPr lang="en-US" dirty="0"/>
              <a:t>The AAD Connect Health agent will send audit and event log data to Azure AD.</a:t>
            </a:r>
          </a:p>
          <a:p>
            <a:pPr lvl="1"/>
            <a:r>
              <a:rPr lang="en-US" dirty="0"/>
              <a:t>If connectivity isn’t restored before the queue is full, the newer data will overwrite the older data until network connectivity is restored. </a:t>
            </a:r>
          </a:p>
          <a:p>
            <a:pPr lvl="1"/>
            <a:r>
              <a:rPr lang="en-US" dirty="0"/>
              <a:t>Ensure that there’s a big enough buffer on the AD FS Audit channel to prevent the wrapping of data.</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gradFill>
                <a:gsLst>
                  <a:gs pos="1250">
                    <a:schemeClr val="tx2"/>
                  </a:gs>
                  <a:gs pos="99000">
                    <a:schemeClr val="tx2"/>
                  </a:gs>
                </a:gsLst>
                <a:lin ang="5400000" scaled="0"/>
              </a:gra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744478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254202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sure to understand when and why this would/could be used.  Make sure to read and know https://docs.microsoft.com/en-us/azure/active-directory/connect/active-directory-aadconnect-pass-through-authentication</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025895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sure to understand when and why this would/could be used.  Make sure to read and know https://docs.microsoft.com/en-us/azure/active-directory/connect/active-directory-aadconnect-pass-through-authentication</a:t>
            </a:r>
          </a:p>
          <a:p>
            <a:r>
              <a:rPr lang="en-US" dirty="0"/>
              <a:t>http://aka.ms/Identity/PTA</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30657567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30251821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dirty="0"/>
              <a:t>Azure AD provides the core directory and identity management capabilities behind most of Microsoft’s cloud services, including: </a:t>
            </a:r>
          </a:p>
          <a:p>
            <a:pPr marL="171450" indent="-171450" rtl="0">
              <a:buFont typeface="Arial" panose="020B0604020202020204" pitchFamily="34" charset="0"/>
              <a:buChar char="•"/>
            </a:pPr>
            <a:r>
              <a:rPr lang="en-US" dirty="0"/>
              <a:t>Azure Subscription</a:t>
            </a:r>
          </a:p>
          <a:p>
            <a:pPr marL="171450" indent="-171450" rtl="0">
              <a:buFont typeface="Arial" panose="020B0604020202020204" pitchFamily="34" charset="0"/>
              <a:buChar char="•"/>
            </a:pPr>
            <a:r>
              <a:rPr lang="en-US" dirty="0"/>
              <a:t>Microsoft Office 365</a:t>
            </a:r>
          </a:p>
          <a:p>
            <a:pPr marL="171450" indent="-171450" rtl="0">
              <a:buFont typeface="Arial" panose="020B0604020202020204" pitchFamily="34" charset="0"/>
              <a:buChar char="•"/>
            </a:pPr>
            <a:r>
              <a:rPr lang="en-US" dirty="0"/>
              <a:t>Microsoft Dynamics CRM Online</a:t>
            </a:r>
          </a:p>
          <a:p>
            <a:pPr marL="171450" indent="-171450" rtl="0">
              <a:buFont typeface="Arial" panose="020B0604020202020204" pitchFamily="34" charset="0"/>
              <a:buChar char="•"/>
            </a:pPr>
            <a:r>
              <a:rPr lang="en-US" dirty="0"/>
              <a:t>Microsoft Intune</a:t>
            </a:r>
          </a:p>
          <a:p>
            <a:pPr rtl="0"/>
            <a:endParaRPr lang="en-US" dirty="0"/>
          </a:p>
          <a:p>
            <a:pPr rtl="0"/>
            <a:r>
              <a:rPr lang="en-US" dirty="0"/>
              <a:t>You will get an Azure AD directory when you sign up for any of these Microsoft cloud services. You can create additional directories as needed. For example, you might maintain your first directory as a production directory and then create another directory for testing or staging.</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42072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t>Azure AD Application Proxy provides single sign-on (SSO) and secure remote access for web applications hosted on-premises. This can include SharePoint sites, Outlook Web Access, or any other LOB web applications you have. These on-premises web applications are integrated with Azure AD, the same identity and control platform that is used by O365. End users can then access your on-premises applications the same way they access O365 and other SaaS apps integrated with Azure AD. You don't need to change the network infrastructure or require VPN to provide this solution for your user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dirty="0"/>
          </a:p>
          <a:p>
            <a:pPr rtl="0"/>
            <a:r>
              <a:rPr lang="en-US" b="1" dirty="0"/>
              <a:t>Why is Application Proxy a better solution?</a:t>
            </a:r>
          </a:p>
          <a:p>
            <a:pPr rtl="0"/>
            <a:r>
              <a:rPr lang="en-US" dirty="0"/>
              <a:t>Azure AD Application Proxy provides a simple, secure, and cost-effective remote access solution to all your on-premises applications. </a:t>
            </a:r>
          </a:p>
          <a:p>
            <a:pPr rtl="0"/>
            <a:r>
              <a:rPr lang="en-US" dirty="0"/>
              <a:t>Azure AD Application Proxy: </a:t>
            </a:r>
          </a:p>
          <a:p>
            <a:pPr rtl="0"/>
            <a:r>
              <a:rPr lang="en-US" dirty="0"/>
              <a:t>Works in the cloud, so you can save time and money. On-premises solutions require you to set up and maintain DMZs, edge servers, or other complex infrastructures. </a:t>
            </a:r>
          </a:p>
          <a:p>
            <a:pPr rtl="0"/>
            <a:r>
              <a:rPr lang="en-US" dirty="0"/>
              <a:t>Is easier to set up and secure than on-premises solutions because you don't have to open any inbound connections through your firewall. </a:t>
            </a:r>
          </a:p>
          <a:p>
            <a:pPr rtl="0"/>
            <a:r>
              <a:rPr lang="en-US" dirty="0"/>
              <a:t>Offers great security. When you publish your apps using Azure AD Application Proxy, you can take advantage of the rich authorization controls and security analytics in Azure. You get advanced security capabilities for all your existing apps without having to change any app. </a:t>
            </a:r>
          </a:p>
          <a:p>
            <a:pPr rtl="0"/>
            <a:r>
              <a:rPr lang="en-US" dirty="0"/>
              <a:t>Gives your users a consistent authentication experience. Single sign-on gives your end users the ease and simplicity of access to all the apps they need to be productive with one password. </a:t>
            </a:r>
          </a:p>
          <a:p>
            <a:pPr rtl="0"/>
            <a:endParaRPr lang="en-US" dirty="0"/>
          </a:p>
          <a:p>
            <a:pPr rtl="0"/>
            <a:r>
              <a:rPr lang="en-US" dirty="0"/>
              <a:t>With Azure AD Application Proxy you can access different types of internal applications:+ </a:t>
            </a:r>
          </a:p>
          <a:p>
            <a:pPr marL="171450" indent="-171450" rtl="0">
              <a:buFont typeface="Arial" panose="020B0604020202020204" pitchFamily="34" charset="0"/>
              <a:buChar char="•"/>
            </a:pPr>
            <a:r>
              <a:rPr lang="en-US" dirty="0"/>
              <a:t>Web applications that use Integrated Windows Authentication for authentication </a:t>
            </a:r>
          </a:p>
          <a:p>
            <a:pPr marL="171450" indent="-171450" rtl="0">
              <a:buFont typeface="Arial" panose="020B0604020202020204" pitchFamily="34" charset="0"/>
              <a:buChar char="•"/>
            </a:pPr>
            <a:r>
              <a:rPr lang="en-US" dirty="0"/>
              <a:t>Web applications that use form-based access </a:t>
            </a:r>
          </a:p>
          <a:p>
            <a:pPr marL="171450" indent="-171450" rtl="0">
              <a:buFont typeface="Arial" panose="020B0604020202020204" pitchFamily="34" charset="0"/>
              <a:buChar char="•"/>
            </a:pPr>
            <a:r>
              <a:rPr lang="en-US" dirty="0"/>
              <a:t>Web APIs that you want to expose to rich applications on different devices </a:t>
            </a:r>
          </a:p>
          <a:p>
            <a:pPr marL="171450" indent="-171450" rtl="0">
              <a:buFont typeface="Arial" panose="020B0604020202020204" pitchFamily="34" charset="0"/>
              <a:buChar char="•"/>
            </a:pPr>
            <a:r>
              <a:rPr lang="en-US" dirty="0"/>
              <a:t>Applications hosted behind a Remote Desktop Gateway </a:t>
            </a:r>
          </a:p>
          <a:p>
            <a:pPr rtl="0"/>
            <a:endParaRPr lang="en-US"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dirty="0"/>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Application Proxy is a feature that is available only if you upgraded to the Premium or Basic edition of Azure Active Directory.</a:t>
            </a:r>
            <a:endParaRPr lang="en-US" sz="900" kern="1200" dirty="0">
              <a:solidFill>
                <a:schemeClr val="tx1"/>
              </a:solidFill>
              <a:latin typeface="Segoe UI Light"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latin typeface="Segoe UI Light" pitchFamily="34" charset="0"/>
                <a:ea typeface="+mn-ea"/>
                <a:cs typeface="Segoe UI" panose="020B0502040204020203" pitchFamily="34" charset="0"/>
              </a:rPr>
              <a:t>A connector that auto connects to the cloud servic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latin typeface="Segoe UI Light" pitchFamily="34" charset="0"/>
                <a:ea typeface="+mn-ea"/>
                <a:cs typeface="Segoe UI" panose="020B0502040204020203" pitchFamily="34" charset="0"/>
              </a:rPr>
              <a:t>Multiple connectors can be deployed for redundancy, scale, multiple sites, and different resource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latin typeface="Segoe UI Light" pitchFamily="34" charset="0"/>
                <a:ea typeface="+mn-ea"/>
                <a:cs typeface="Segoe UI" panose="020B0502040204020203" pitchFamily="34" charset="0"/>
              </a:rPr>
              <a:t>Connectors are deployed usually on corpnet next to resource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latin typeface="Segoe UI Light" pitchFamily="34" charset="0"/>
                <a:ea typeface="+mn-ea"/>
                <a:cs typeface="Segoe UI" panose="020B0502040204020203" pitchFamily="34" charset="0"/>
              </a:rPr>
              <a:t>Users connect to the cloud service that routs their traffic to the resources via the connector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1200" dirty="0">
              <a:solidFill>
                <a:schemeClr val="tx1"/>
              </a:solidFill>
              <a:latin typeface="Segoe UI Light"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1200" dirty="0">
              <a:solidFill>
                <a:schemeClr val="tx1"/>
              </a:solidFill>
              <a:latin typeface="Segoe UI Light" pitchFamily="34" charset="0"/>
              <a:ea typeface="+mn-ea"/>
              <a:cs typeface="Segoe UI" panose="020B0502040204020203" pitchFamily="34" charset="0"/>
            </a:endParaRPr>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8762240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41123381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2000" y="1200150"/>
            <a:ext cx="3668713" cy="2063750"/>
          </a:xfrm>
        </p:spPr>
      </p:sp>
      <p:sp>
        <p:nvSpPr>
          <p:cNvPr id="3" name="Notes Placeholder 2"/>
          <p:cNvSpPr>
            <a:spLocks noGrp="1"/>
          </p:cNvSpPr>
          <p:nvPr>
            <p:ph type="body" idx="1"/>
          </p:nvPr>
        </p:nvSpPr>
        <p:spPr/>
        <p:txBody>
          <a:bodyPr/>
          <a:lstStyle/>
          <a:p>
            <a:pPr marL="0" indent="0">
              <a:spcBef>
                <a:spcPts val="0"/>
              </a:spcBef>
              <a:spcAft>
                <a:spcPts val="1350"/>
              </a:spcAft>
              <a:buNone/>
            </a:pPr>
            <a:endParaRPr lang="en-US" dirty="0"/>
          </a:p>
        </p:txBody>
      </p:sp>
      <p:sp>
        <p:nvSpPr>
          <p:cNvPr id="4" name="Header Placeholder 3"/>
          <p:cNvSpPr>
            <a:spLocks noGrp="1"/>
          </p:cNvSpPr>
          <p:nvPr>
            <p:ph type="hdr" sz="quarter" idx="10"/>
          </p:nvPr>
        </p:nvSpPr>
        <p:spPr/>
        <p:txBody>
          <a:bodyPr/>
          <a:lstStyle/>
          <a:p>
            <a:pPr marL="0" marR="0" lvl="0" indent="0" defTabSz="96661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rPr>
              <a:t>Microsoft Confidential NDA Only</a:t>
            </a:r>
          </a:p>
        </p:txBody>
      </p:sp>
      <p:sp>
        <p:nvSpPr>
          <p:cNvPr id="5" name="Footer Placeholder 4"/>
          <p:cNvSpPr>
            <a:spLocks noGrp="1"/>
          </p:cNvSpPr>
          <p:nvPr>
            <p:ph type="ftr" sz="quarter" idx="11"/>
          </p:nvPr>
        </p:nvSpPr>
        <p:spPr/>
        <p:txBody>
          <a:bodyPr/>
          <a:lstStyle/>
          <a:p>
            <a:pPr marL="0" marR="0" lvl="0" indent="0" defTabSz="9861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marL="0" marR="0" lvl="0" indent="0" defTabSz="9861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66612" eaLnBrk="1" fontAlgn="auto" latinLnBrk="0" hangingPunct="1">
              <a:lnSpc>
                <a:spcPct val="100000"/>
              </a:lnSpc>
              <a:spcBef>
                <a:spcPts val="0"/>
              </a:spcBef>
              <a:spcAft>
                <a:spcPts val="0"/>
              </a:spcAft>
              <a:buClrTx/>
              <a:buSzTx/>
              <a:buFontTx/>
              <a:buNone/>
              <a:tabLst/>
              <a:defRPr/>
            </a:pPr>
            <a:fld id="{7381B078-E73F-4C08-B2CF-8A477D8F52FD}" type="datetime1">
              <a:rPr kumimoji="0" lang="en-US" sz="1800" b="0" i="0" u="none" strike="noStrike" kern="0" cap="none" spc="0" normalizeH="0" baseline="0" noProof="0">
                <a:ln>
                  <a:noFill/>
                </a:ln>
                <a:solidFill>
                  <a:prstClr val="black"/>
                </a:solidFill>
                <a:effectLst/>
                <a:uLnTx/>
                <a:uFillTx/>
                <a:latin typeface="Calibri" panose="020F0502020204030204"/>
              </a:rPr>
              <a:pPr marL="0" marR="0" lvl="0" indent="0" defTabSz="966612" eaLnBrk="1" fontAlgn="auto" latinLnBrk="0" hangingPunct="1">
                <a:lnSpc>
                  <a:spcPct val="100000"/>
                </a:lnSpc>
                <a:spcBef>
                  <a:spcPts val="0"/>
                </a:spcBef>
                <a:spcAft>
                  <a:spcPts val="0"/>
                </a:spcAft>
                <a:buClrTx/>
                <a:buSzTx/>
                <a:buFontTx/>
                <a:buNone/>
                <a:tabLst/>
                <a:defRPr/>
              </a:pPr>
              <a:t>3/22/2018</a:t>
            </a:fld>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7" name="Slide Number Placeholder 6"/>
          <p:cNvSpPr>
            <a:spLocks noGrp="1"/>
          </p:cNvSpPr>
          <p:nvPr>
            <p:ph type="sldNum" sz="quarter" idx="13"/>
          </p:nvPr>
        </p:nvSpPr>
        <p:spPr/>
        <p:txBody>
          <a:bodyPr/>
          <a:lstStyle/>
          <a:p>
            <a:pPr marL="0" marR="0" lvl="0" indent="0" defTabSz="966612"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rPr>
              <a:pPr marL="0" marR="0" lvl="0" indent="0" defTabSz="966612"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10344197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dirty="0"/>
              <a:t>Azure AD provides the core directory and identity management capabilities behind most of Microsoft’s cloud services, including: </a:t>
            </a:r>
          </a:p>
          <a:p>
            <a:pPr marL="171450" indent="-171450" rtl="0">
              <a:buFont typeface="Arial" panose="020B0604020202020204" pitchFamily="34" charset="0"/>
              <a:buChar char="•"/>
            </a:pPr>
            <a:r>
              <a:rPr lang="en-US" dirty="0"/>
              <a:t>Azure Subscription</a:t>
            </a:r>
          </a:p>
          <a:p>
            <a:pPr marL="171450" indent="-171450" rtl="0">
              <a:buFont typeface="Arial" panose="020B0604020202020204" pitchFamily="34" charset="0"/>
              <a:buChar char="•"/>
            </a:pPr>
            <a:r>
              <a:rPr lang="en-US" dirty="0"/>
              <a:t>Microsoft Office 365</a:t>
            </a:r>
          </a:p>
          <a:p>
            <a:pPr marL="171450" indent="-171450" rtl="0">
              <a:buFont typeface="Arial" panose="020B0604020202020204" pitchFamily="34" charset="0"/>
              <a:buChar char="•"/>
            </a:pPr>
            <a:r>
              <a:rPr lang="en-US" dirty="0"/>
              <a:t>Microsoft Dynamics CRM Online</a:t>
            </a:r>
          </a:p>
          <a:p>
            <a:pPr marL="171450" indent="-171450" rtl="0">
              <a:buFont typeface="Arial" panose="020B0604020202020204" pitchFamily="34" charset="0"/>
              <a:buChar char="•"/>
            </a:pPr>
            <a:r>
              <a:rPr lang="en-US" dirty="0"/>
              <a:t>Microsoft Intune</a:t>
            </a:r>
          </a:p>
          <a:p>
            <a:pPr rtl="0"/>
            <a:endParaRPr lang="en-US" dirty="0"/>
          </a:p>
          <a:p>
            <a:pPr rtl="0"/>
            <a:r>
              <a:rPr lang="en-US" dirty="0"/>
              <a:t>You will get an Azure AD directory when you sign up for any of these Microsoft cloud services. You can create additional directories as needed. For example, you might maintain your first directory as a production directory and then create another directory for testing or staging.</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3109891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assign users in your organization to different administrative roles in Azure AD. These role assignments control which tasks, such as adding or removing users or changing service settings, the users are able to perform on Azure AD, Office 365 and other Microsoft Online Services and connected applications. </a:t>
            </a:r>
          </a:p>
          <a:p>
            <a:endParaRPr lang="en-US" dirty="0"/>
          </a:p>
          <a:p>
            <a:pPr rtl="0"/>
            <a:r>
              <a:rPr lang="en-US" dirty="0"/>
              <a:t>Azure AD Privileged Identity Management (PIM) manages policies for privileged access for users in Azure AD. PIM assigns users to one or more roles in Azure AD, and you can assign someone to be permanently in the role, or eligible for the role. When a user is permanently assigned to a role, or activates an eligible role assignment, then they can manage Azure Active Directory, Office 365, and other applications with the permissions assigned to their roles.</a:t>
            </a:r>
          </a:p>
          <a:p>
            <a:pPr rtl="0"/>
            <a:endParaRPr lang="en-US" dirty="0"/>
          </a:p>
          <a:p>
            <a:pPr defTabSz="932597">
              <a:defRPr/>
            </a:pPr>
            <a:r>
              <a:rPr lang="en-AU" sz="3600" kern="0" dirty="0">
                <a:solidFill>
                  <a:schemeClr val="tx2"/>
                </a:solidFill>
                <a:latin typeface="Segoe UI Light" pitchFamily="34" charset="0"/>
                <a:ea typeface="+mn-ea"/>
                <a:cs typeface="Segoe UI Light" panose="020B0502040204020203" pitchFamily="34" charset="0"/>
              </a:rPr>
              <a:t>Azure AD Privileged Identity Management helps you: </a:t>
            </a:r>
          </a:p>
          <a:p>
            <a:pPr marL="285750" lvl="1" indent="-285750" defTabSz="932594">
              <a:lnSpc>
                <a:spcPct val="114000"/>
              </a:lnSpc>
              <a:spcBef>
                <a:spcPct val="20000"/>
              </a:spcBef>
              <a:buSzPct val="90000"/>
              <a:buFont typeface="Arial" pitchFamily="34" charset="0"/>
              <a:buChar char="•"/>
              <a:defRPr/>
            </a:pPr>
            <a:r>
              <a:rPr lang="en-AU" sz="2000" dirty="0">
                <a:gradFill>
                  <a:gsLst>
                    <a:gs pos="1250">
                      <a:schemeClr val="tx1"/>
                    </a:gs>
                    <a:gs pos="100000">
                      <a:schemeClr val="tx1"/>
                    </a:gs>
                  </a:gsLst>
                  <a:lin ang="5400000" scaled="0"/>
                </a:gradFill>
              </a:rPr>
              <a:t>See which users are Azure AD administrators</a:t>
            </a:r>
          </a:p>
          <a:p>
            <a:pPr marL="285750" lvl="1" indent="-285750" defTabSz="932594">
              <a:lnSpc>
                <a:spcPct val="114000"/>
              </a:lnSpc>
              <a:spcBef>
                <a:spcPct val="20000"/>
              </a:spcBef>
              <a:buSzPct val="90000"/>
              <a:buFont typeface="Arial" pitchFamily="34" charset="0"/>
              <a:buChar char="•"/>
              <a:defRPr/>
            </a:pPr>
            <a:r>
              <a:rPr lang="en-AU" sz="2000" dirty="0">
                <a:gradFill>
                  <a:gsLst>
                    <a:gs pos="1250">
                      <a:schemeClr val="tx1"/>
                    </a:gs>
                    <a:gs pos="100000">
                      <a:schemeClr val="tx1"/>
                    </a:gs>
                  </a:gsLst>
                  <a:lin ang="5400000" scaled="0"/>
                </a:gradFill>
              </a:rPr>
              <a:t>Enable on-demand, "just in time“ (JIT) and “just enough” (JEA) administrative access</a:t>
            </a:r>
          </a:p>
          <a:p>
            <a:pPr marL="285750" lvl="1" indent="-285750" defTabSz="932594">
              <a:lnSpc>
                <a:spcPct val="114000"/>
              </a:lnSpc>
              <a:spcBef>
                <a:spcPct val="20000"/>
              </a:spcBef>
              <a:buSzPct val="90000"/>
              <a:buFont typeface="Arial" pitchFamily="34" charset="0"/>
              <a:buChar char="•"/>
              <a:defRPr/>
            </a:pPr>
            <a:r>
              <a:rPr lang="en-AU" sz="2000" dirty="0">
                <a:gradFill>
                  <a:gsLst>
                    <a:gs pos="1250">
                      <a:schemeClr val="tx1"/>
                    </a:gs>
                    <a:gs pos="100000">
                      <a:schemeClr val="tx1"/>
                    </a:gs>
                  </a:gsLst>
                  <a:lin ang="5400000" scaled="0"/>
                </a:gradFill>
              </a:rPr>
              <a:t>Get reports about administrator access history and changes in administrator assignments</a:t>
            </a:r>
          </a:p>
          <a:p>
            <a:pPr marL="285750" lvl="1" indent="-285750" defTabSz="932594">
              <a:lnSpc>
                <a:spcPct val="114000"/>
              </a:lnSpc>
              <a:spcBef>
                <a:spcPct val="20000"/>
              </a:spcBef>
              <a:buSzPct val="90000"/>
              <a:buFont typeface="Arial" pitchFamily="34" charset="0"/>
              <a:buChar char="•"/>
              <a:defRPr/>
            </a:pPr>
            <a:r>
              <a:rPr lang="en-AU" sz="2000" dirty="0">
                <a:gradFill>
                  <a:gsLst>
                    <a:gs pos="1250">
                      <a:schemeClr val="tx1"/>
                    </a:gs>
                    <a:gs pos="100000">
                      <a:schemeClr val="tx1"/>
                    </a:gs>
                  </a:gsLst>
                  <a:lin ang="5400000" scaled="0"/>
                </a:gradFill>
              </a:rPr>
              <a:t>Get alerts about access to a privileged role</a:t>
            </a:r>
          </a:p>
          <a:p>
            <a:pPr marL="285750" lvl="1" indent="-285750" defTabSz="932594">
              <a:lnSpc>
                <a:spcPct val="114000"/>
              </a:lnSpc>
              <a:spcBef>
                <a:spcPct val="20000"/>
              </a:spcBef>
              <a:buSzPct val="90000"/>
              <a:buFont typeface="Arial" pitchFamily="34" charset="0"/>
              <a:buChar char="•"/>
              <a:defRPr/>
            </a:pPr>
            <a:r>
              <a:rPr lang="en-AU" sz="2000" dirty="0">
                <a:gradFill>
                  <a:gsLst>
                    <a:gs pos="1250">
                      <a:schemeClr val="tx1"/>
                    </a:gs>
                    <a:gs pos="100000">
                      <a:schemeClr val="tx1"/>
                    </a:gs>
                  </a:gsLst>
                  <a:lin ang="5400000" scaled="0"/>
                </a:gradFill>
              </a:rPr>
              <a:t>Conditional MFA</a:t>
            </a:r>
          </a:p>
          <a:p>
            <a:pPr rtl="0"/>
            <a:endParaRPr lang="en-US" dirty="0"/>
          </a:p>
          <a:p>
            <a:pPr rtl="0"/>
            <a:endParaRPr lang="en-US" dirty="0"/>
          </a:p>
          <a:p>
            <a:pPr rtl="0"/>
            <a:r>
              <a:rPr lang="en-US" dirty="0"/>
              <a:t>There's no difference in the access given to someone with a permanent versus an eligible role assignment. The only difference is that some people don't need that access all the time. They are made eligible for the role, and can turn it on and off whenever they need to.</a:t>
            </a:r>
          </a:p>
          <a:p>
            <a:pPr rtl="0"/>
            <a:endParaRPr lang="en-US" dirty="0"/>
          </a:p>
          <a:p>
            <a:pPr rtl="0"/>
            <a:r>
              <a:rPr lang="en-US" b="1" dirty="0"/>
              <a:t>Roles managed in PIM</a:t>
            </a:r>
          </a:p>
          <a:p>
            <a:pPr rtl="0"/>
            <a:r>
              <a:rPr lang="en-US" dirty="0"/>
              <a:t>Privileged Identity Management lets you assign users to common administrator roles, including:</a:t>
            </a:r>
          </a:p>
          <a:p>
            <a:pPr marL="171450" indent="-171450" rtl="0">
              <a:buFont typeface="Arial" panose="020B0604020202020204" pitchFamily="34" charset="0"/>
              <a:buChar char="•"/>
            </a:pPr>
            <a:r>
              <a:rPr lang="en-US" b="1" dirty="0"/>
              <a:t>Global administrator</a:t>
            </a:r>
            <a:r>
              <a:rPr lang="en-US" dirty="0"/>
              <a:t> (also known as Company administrator) has access to all administrative features. You can have more than one global admin in your organization. The person who signs up to purchase Office 365 automatically becomes a global admin.</a:t>
            </a:r>
          </a:p>
          <a:p>
            <a:pPr marL="171450" indent="-171450" rtl="0">
              <a:buFont typeface="Arial" panose="020B0604020202020204" pitchFamily="34" charset="0"/>
              <a:buChar char="•"/>
            </a:pPr>
            <a:r>
              <a:rPr lang="en-US" b="1" dirty="0"/>
              <a:t>Privileged role administrator</a:t>
            </a:r>
            <a:r>
              <a:rPr lang="en-US" dirty="0"/>
              <a:t> manages Azure AD PIM and updates role assignments for other users. </a:t>
            </a:r>
          </a:p>
          <a:p>
            <a:pPr marL="171450" indent="-171450" rtl="0">
              <a:buFont typeface="Arial" panose="020B0604020202020204" pitchFamily="34" charset="0"/>
              <a:buChar char="•"/>
            </a:pPr>
            <a:r>
              <a:rPr lang="en-US" b="1" dirty="0"/>
              <a:t>Billing administrator</a:t>
            </a:r>
            <a:r>
              <a:rPr lang="en-US" dirty="0"/>
              <a:t> makes purchases, manages subscriptions, manages support tickets, and monitors service health.</a:t>
            </a:r>
          </a:p>
          <a:p>
            <a:pPr marL="171450" indent="-171450" rtl="0">
              <a:buFont typeface="Arial" panose="020B0604020202020204" pitchFamily="34" charset="0"/>
              <a:buChar char="•"/>
            </a:pPr>
            <a:r>
              <a:rPr lang="en-US" b="1" dirty="0"/>
              <a:t>Password administrator</a:t>
            </a:r>
            <a:r>
              <a:rPr lang="en-US" dirty="0"/>
              <a:t> resets passwords, manages service requests, and monitors service health. Password admins are limited to resetting passwords for users.</a:t>
            </a:r>
          </a:p>
          <a:p>
            <a:pPr marL="171450" indent="-171450" rtl="0">
              <a:buFont typeface="Arial" panose="020B0604020202020204" pitchFamily="34" charset="0"/>
              <a:buChar char="•"/>
            </a:pPr>
            <a:r>
              <a:rPr lang="en-US" b="1" dirty="0"/>
              <a:t>Service administrator</a:t>
            </a:r>
            <a:r>
              <a:rPr lang="en-US" dirty="0"/>
              <a:t> manages service requests and monitors service health.</a:t>
            </a:r>
          </a:p>
          <a:p>
            <a:pPr marL="171450" indent="-171450" rtl="0">
              <a:buFont typeface="Arial" panose="020B0604020202020204" pitchFamily="34" charset="0"/>
              <a:buChar char="•"/>
            </a:pPr>
            <a:r>
              <a:rPr lang="en-US" b="1" dirty="0"/>
              <a:t>User management administrator</a:t>
            </a:r>
            <a:r>
              <a:rPr lang="en-US" dirty="0"/>
              <a:t> resets passwords, monitors service health, and manages user accounts, user groups, and service requests. The user management admin can’t delete a global admin, create other admin roles, or reset passwords for billing, global, and service admins.</a:t>
            </a:r>
          </a:p>
          <a:p>
            <a:pPr marL="171450" indent="-171450" rtl="0">
              <a:buFont typeface="Arial" panose="020B0604020202020204" pitchFamily="34" charset="0"/>
              <a:buChar char="•"/>
            </a:pPr>
            <a:r>
              <a:rPr lang="en-US" b="1" dirty="0"/>
              <a:t>Exchange administrator</a:t>
            </a:r>
            <a:r>
              <a:rPr lang="en-US" dirty="0"/>
              <a:t> has administrative access to Exchange Online through the Exchange admin center (EAC), and can perform almost any task in Exchange Online.</a:t>
            </a:r>
          </a:p>
          <a:p>
            <a:pPr marL="171450" indent="-171450" rtl="0">
              <a:buFont typeface="Arial" panose="020B0604020202020204" pitchFamily="34" charset="0"/>
              <a:buChar char="•"/>
            </a:pPr>
            <a:r>
              <a:rPr lang="en-US" b="1" dirty="0"/>
              <a:t>SharePoint administrator</a:t>
            </a:r>
            <a:r>
              <a:rPr lang="en-US" dirty="0"/>
              <a:t> has administrative access to SharePoint Online through the SharePoint Online admin center, and can perform almost any task in SharePoint Online.</a:t>
            </a:r>
          </a:p>
          <a:p>
            <a:pPr marL="171450" indent="-171450" rtl="0">
              <a:buFont typeface="Arial" panose="020B0604020202020204" pitchFamily="34" charset="0"/>
              <a:buChar char="•"/>
            </a:pPr>
            <a:r>
              <a:rPr lang="en-US" b="1" dirty="0"/>
              <a:t>Skype for Business administrator</a:t>
            </a:r>
            <a:r>
              <a:rPr lang="en-US" dirty="0"/>
              <a:t> has administrative access to Skype for Business through the Skype for Business admin center, and can perform almost any task in Skype for Business Online.</a:t>
            </a:r>
          </a:p>
          <a:p>
            <a:pPr marL="0" indent="0" rtl="0">
              <a:buFont typeface="Arial" panose="020B0604020202020204" pitchFamily="34" charset="0"/>
              <a:buNone/>
            </a:pPr>
            <a:endParaRPr lang="en-US" dirty="0"/>
          </a:p>
          <a:p>
            <a:pPr marL="0" indent="0" rtl="0">
              <a:buFont typeface="Arial" panose="020B0604020202020204" pitchFamily="34" charset="0"/>
              <a:buNone/>
            </a:pPr>
            <a:r>
              <a:rPr lang="en-US" b="1" dirty="0"/>
              <a:t>Note</a:t>
            </a:r>
          </a:p>
          <a:p>
            <a:pPr marL="0" indent="0" rtl="0">
              <a:buFont typeface="Arial" panose="020B0604020202020204" pitchFamily="34" charset="0"/>
              <a:buNone/>
            </a:pPr>
            <a:r>
              <a:rPr lang="en-US" dirty="0"/>
              <a:t>If you are using Office 365, then before assigning the service admin role to a user, first assign the user administrative permissions to a service, such as Exchange Online.</a:t>
            </a:r>
          </a:p>
          <a:p>
            <a:pPr marL="0" indent="0" rtl="0">
              <a:buFont typeface="Arial" panose="020B0604020202020204" pitchFamily="34" charset="0"/>
              <a:buNone/>
            </a:pPr>
            <a:endParaRPr lang="en-US" dirty="0"/>
          </a:p>
          <a:p>
            <a:pPr rtl="0"/>
            <a:r>
              <a:rPr lang="en-US" b="1" dirty="0"/>
              <a:t>Roles not managed in PIM</a:t>
            </a:r>
          </a:p>
          <a:p>
            <a:pPr rtl="0"/>
            <a:r>
              <a:rPr lang="en-US" dirty="0"/>
              <a:t>Roles within Exchange Online or SharePoint Online, except for those mentioned above, are not represented in Azure AD and so are not visible in PIM. For more information on changing fine-grained role assignments in these Office 365 services, see </a:t>
            </a:r>
            <a:r>
              <a:rPr lang="en-US" dirty="0">
                <a:hlinkClick r:id="rId3"/>
              </a:rPr>
              <a:t>Permissions in Office 365</a:t>
            </a:r>
            <a:r>
              <a:rPr lang="en-US" dirty="0"/>
              <a:t>.+ </a:t>
            </a:r>
          </a:p>
          <a:p>
            <a:pPr rtl="0"/>
            <a:r>
              <a:rPr lang="en-US" dirty="0"/>
              <a:t>Azure subscriptions and resource groups are also not represented in Azure AD. To manage Azure subscriptions, see </a:t>
            </a:r>
            <a:r>
              <a:rPr lang="en-US" dirty="0">
                <a:hlinkClick r:id="rId4"/>
              </a:rPr>
              <a:t>How to add or change Azure administrator roles</a:t>
            </a:r>
            <a:r>
              <a:rPr lang="en-US" dirty="0"/>
              <a:t> and for more information on Azure RBAC see </a:t>
            </a:r>
            <a:r>
              <a:rPr lang="en-US" dirty="0">
                <a:hlinkClick r:id="rId5"/>
              </a:rPr>
              <a:t>Azure Role-Based Access Control</a:t>
            </a:r>
            <a:r>
              <a:rPr lang="en-US" dirty="0"/>
              <a:t>.</a:t>
            </a:r>
          </a:p>
          <a:p>
            <a:pPr marL="0" indent="0" rtl="0">
              <a:buFont typeface="Arial" panose="020B0604020202020204" pitchFamily="34" charset="0"/>
              <a:buNone/>
            </a:pPr>
            <a:endParaRPr lang="en-US" dirty="0"/>
          </a:p>
          <a:p>
            <a:pPr marL="0" indent="0" rtl="0">
              <a:buFont typeface="Arial" panose="020B0604020202020204" pitchFamily="34" charset="0"/>
              <a:buNone/>
            </a:pPr>
            <a:endParaRPr lang="en-US" dirty="0"/>
          </a:p>
          <a:p>
            <a:pPr marL="171450" indent="-171450" rtl="0">
              <a:buFont typeface="Arial" panose="020B0604020202020204" pitchFamily="34" charset="0"/>
              <a:buChar char="•"/>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15153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73973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45823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076338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With Azure Active Directory Privileged Identity Management (PIM), you can now manage, control, and monitor access to Azure Resources (Preview) within your organization. This includes Subscriptions, Resource Groups, and even Virtual Machines. Any resource within the Azure portal that leverages the Azure Role Based Access Control (RBAC) functionality can take advantage of all the great security and lifecycle management capabilities Azure AD PIM has to offer, and some great new features we plan to bring to Azure AD roles soon.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26221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962243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rtl="0"/>
            <a:r>
              <a:rPr lang="en-US" dirty="0"/>
              <a:t>With Azure Active Directory Identity Protection, in your environment, you can use the same protection systems Microsoft uses to secure identities. </a:t>
            </a:r>
          </a:p>
          <a:p>
            <a:pPr rtl="0"/>
            <a:r>
              <a:rPr lang="en-US" dirty="0"/>
              <a:t>The vast majority of security breaches take place when attackers gain access to an environment by stealing a user’s identity. Over the years, attackers have become increasingly effective in leveraging third party breaches and using sophisticated phishing attacks. As soon as an attacker gains access to even low privileged user accounts, it is relatively easy for them to gain access to important company resources through lateral movement.</a:t>
            </a:r>
          </a:p>
          <a:p>
            <a:pPr rtl="0"/>
            <a:r>
              <a:rPr lang="en-US" dirty="0"/>
              <a:t>As a consequence of this, you need to: </a:t>
            </a:r>
          </a:p>
          <a:p>
            <a:pPr rtl="0"/>
            <a:r>
              <a:rPr lang="en-US" dirty="0"/>
              <a:t>Protect all identities regardless of their privilege level</a:t>
            </a:r>
          </a:p>
          <a:p>
            <a:pPr rtl="0"/>
            <a:r>
              <a:rPr lang="en-US" dirty="0"/>
              <a:t>Proactively prevent compromised identities from being abused</a:t>
            </a:r>
          </a:p>
          <a:p>
            <a:pPr rtl="0"/>
            <a:endParaRPr lang="en-US" dirty="0"/>
          </a:p>
          <a:p>
            <a:pPr rtl="0"/>
            <a:r>
              <a:rPr lang="en-US" dirty="0"/>
              <a:t>Discovering compromised identities is no easy task. Azure Active Directory uses adaptive machine learning algorithms and heuristics to detect anomalies and suspicious incidents that indicate potentially compromised identities. Using this data, Identity Protection generates reports and alerts that enable you to evaluate the detected issues and take appropriate mitigation or remediation actions.+ </a:t>
            </a:r>
          </a:p>
          <a:p>
            <a:pPr rtl="0"/>
            <a:r>
              <a:rPr lang="en-US" dirty="0"/>
              <a:t>Azure Active Directory Identity Protection is more than a monitoring and reporting tool. To protect your organization's identities, you can configure risk-based policies that automatically respond to detected issues when a specified risk level has been reached. These policies, in addition to other conditional access controls provided by Azure Active Directory and EMS, can either automatically block or initiate adaptive remediation actions including password resets and multi-factor authentication enforcement.</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A2B2ED8-C573-45EF-BF68-CEC19505703A}"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3"/>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41158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d more details</a:t>
            </a:r>
            <a:r>
              <a:rPr lang="en-US" baseline="0" dirty="0"/>
              <a:t> </a:t>
            </a:r>
            <a:r>
              <a:rPr lang="en-US" dirty="0"/>
              <a:t>about</a:t>
            </a:r>
            <a:r>
              <a:rPr lang="en-US" baseline="0" dirty="0"/>
              <a:t> risk events, vulnerabilities, policies and notifications by accessing the links in the slide!</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FF7E2D7-BF66-47BD-88CE-13B59B34D01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434497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dentity Protection notifies all the global administrators about compromised users by sending an </a:t>
            </a:r>
            <a:r>
              <a:rPr lang="en-US" b="1" dirty="0"/>
              <a:t>Email Alert</a:t>
            </a:r>
            <a:r>
              <a:rPr lang="en-US" dirty="0"/>
              <a:t>. In addition, it automatically sends a </a:t>
            </a:r>
            <a:r>
              <a:rPr lang="en-US" b="1" dirty="0"/>
              <a:t>Weekly Digest Email </a:t>
            </a:r>
            <a:r>
              <a:rPr lang="en-US" dirty="0"/>
              <a:t>with a summary of the users flagged for risk, risk events</a:t>
            </a:r>
            <a:r>
              <a:rPr lang="en-US" baseline="0" dirty="0"/>
              <a:t> </a:t>
            </a:r>
            <a:r>
              <a:rPr lang="en-US" dirty="0"/>
              <a:t>and vulnerabilities.</a:t>
            </a:r>
          </a:p>
          <a:p>
            <a:endParaRPr lang="en-US" b="1" dirty="0"/>
          </a:p>
          <a:p>
            <a:r>
              <a:rPr lang="en-US" b="1" dirty="0"/>
              <a:t>Users flagged for risk</a:t>
            </a:r>
          </a:p>
          <a:p>
            <a:r>
              <a:rPr lang="en-US" dirty="0"/>
              <a:t>Users in a directory whose credentials might be compromised based on observed patterns of behavior or discovering their user name and password on the “dark web.”</a:t>
            </a:r>
          </a:p>
          <a:p>
            <a:endParaRPr lang="en-US" b="1" dirty="0">
              <a:effectLst/>
            </a:endParaRPr>
          </a:p>
          <a:p>
            <a:pPr marL="0" indent="0">
              <a:buFont typeface="Arial" panose="020B0604020202020204" pitchFamily="34" charset="0"/>
              <a:buNone/>
            </a:pPr>
            <a:r>
              <a:rPr lang="en-US" b="1" dirty="0">
                <a:effectLst/>
              </a:rPr>
              <a:t>Risk events –</a:t>
            </a:r>
            <a:r>
              <a:rPr lang="en-US" dirty="0">
                <a:effectLst/>
              </a:rPr>
              <a:t> these are events that Identity Protection has flagged as high risk and indicate that an identity may have been compromised. Currently, Identity Protection flags six types of risk events:</a:t>
            </a:r>
            <a:endParaRPr lang="en-US" b="1" dirty="0">
              <a:effectLst/>
            </a:endParaRPr>
          </a:p>
          <a:p>
            <a:pPr marL="628650" lvl="1" indent="-171450">
              <a:buFont typeface="Arial" panose="020B0604020202020204" pitchFamily="34" charset="0"/>
              <a:buChar char="•"/>
            </a:pPr>
            <a:r>
              <a:rPr lang="en-US" dirty="0">
                <a:effectLst/>
              </a:rPr>
              <a:t>Users with leaked credentials</a:t>
            </a:r>
          </a:p>
          <a:p>
            <a:pPr marL="628650" lvl="1" indent="-171450">
              <a:buFont typeface="Arial" panose="020B0604020202020204" pitchFamily="34" charset="0"/>
              <a:buChar char="•"/>
            </a:pPr>
            <a:r>
              <a:rPr lang="en-US" dirty="0">
                <a:effectLst/>
              </a:rPr>
              <a:t>Irregular sign-in activity</a:t>
            </a:r>
          </a:p>
          <a:p>
            <a:pPr marL="628650" lvl="1" indent="-171450">
              <a:buFont typeface="Arial" panose="020B0604020202020204" pitchFamily="34" charset="0"/>
              <a:buChar char="•"/>
            </a:pPr>
            <a:r>
              <a:rPr lang="en-US" dirty="0">
                <a:effectLst/>
              </a:rPr>
              <a:t>Sign-ins from possibly infected devices</a:t>
            </a:r>
          </a:p>
          <a:p>
            <a:pPr marL="628650" lvl="1" indent="-171450">
              <a:buFont typeface="Arial" panose="020B0604020202020204" pitchFamily="34" charset="0"/>
              <a:buChar char="•"/>
            </a:pPr>
            <a:r>
              <a:rPr lang="en-US" dirty="0">
                <a:effectLst/>
              </a:rPr>
              <a:t>Sign-ins from unfamiliar locations</a:t>
            </a:r>
          </a:p>
          <a:p>
            <a:pPr marL="628650" lvl="1" indent="-171450">
              <a:buFont typeface="Arial" panose="020B0604020202020204" pitchFamily="34" charset="0"/>
              <a:buChar char="•"/>
            </a:pPr>
            <a:r>
              <a:rPr lang="en-US" dirty="0">
                <a:effectLst/>
              </a:rPr>
              <a:t>Sign-ins from IP addresses with suspicious activity</a:t>
            </a:r>
          </a:p>
          <a:p>
            <a:pPr marL="628650" lvl="1" indent="-171450">
              <a:buFont typeface="Arial" panose="020B0604020202020204" pitchFamily="34" charset="0"/>
              <a:buChar char="•"/>
            </a:pPr>
            <a:r>
              <a:rPr lang="en-US" dirty="0">
                <a:effectLst/>
              </a:rPr>
              <a:t>Sign-ins from impossible travel</a:t>
            </a:r>
          </a:p>
          <a:p>
            <a:r>
              <a:rPr lang="en-US" dirty="0">
                <a:effectLst/>
              </a:rPr>
              <a:t>Some of this information has been available previously through the </a:t>
            </a:r>
            <a:r>
              <a:rPr lang="en-US" b="1" dirty="0">
                <a:effectLst/>
              </a:rPr>
              <a:t>Azure AD Anomalous Activity </a:t>
            </a:r>
            <a:r>
              <a:rPr lang="en-US" dirty="0">
                <a:effectLst/>
              </a:rPr>
              <a:t>reports in the Azure Management Portal. Microsoft is continually investing in world class detection and continuously improving the detection accuracy of existing risk events. There are new risk event types added on an ongoing basis. To learn more about the risk events, you can read the following documentation: https://azure.microsoft.com/en-us/documentation/articles/active-directory-identityprotection/?rnd=1#detection-and-risk.</a:t>
            </a:r>
            <a:br>
              <a:rPr lang="en-US" b="1" dirty="0">
                <a:effectLst/>
              </a:rPr>
            </a:br>
            <a:endParaRPr lang="en-US" dirty="0">
              <a:effectLst/>
            </a:endParaRPr>
          </a:p>
          <a:p>
            <a:r>
              <a:rPr lang="en-US" b="1" dirty="0">
                <a:effectLst/>
              </a:rPr>
              <a:t>Vulnerabilities – </a:t>
            </a:r>
            <a:r>
              <a:rPr lang="en-US" dirty="0">
                <a:effectLst/>
              </a:rPr>
              <a:t>These are weaknesses in your environment that can be exploited by an attacker. It is recommended that you address these vulnerabilities to improve the security posture of your organization and prevent attackers from exploiting these vulnerabilities. Identity Protection detects the following vulnerabilities:</a:t>
            </a:r>
            <a:endParaRPr lang="en-US" b="1" dirty="0">
              <a:effectLst/>
            </a:endParaRPr>
          </a:p>
          <a:p>
            <a:pPr marL="628650" lvl="1" indent="-171450">
              <a:buFont typeface="Arial" panose="020B0604020202020204" pitchFamily="34" charset="0"/>
              <a:buChar char="•"/>
            </a:pPr>
            <a:r>
              <a:rPr lang="en-US" dirty="0">
                <a:effectLst/>
              </a:rPr>
              <a:t>Users not registered for multi-factor authentication</a:t>
            </a:r>
          </a:p>
          <a:p>
            <a:pPr marL="628650" lvl="1" indent="-171450">
              <a:buFont typeface="Arial" panose="020B0604020202020204" pitchFamily="34" charset="0"/>
              <a:buChar char="•"/>
            </a:pPr>
            <a:r>
              <a:rPr lang="en-US" dirty="0">
                <a:effectLst/>
              </a:rPr>
              <a:t>Unmanaged apps discovered in last 7 days from </a:t>
            </a:r>
            <a:r>
              <a:rPr lang="en-US" b="1" dirty="0">
                <a:effectLst/>
                <a:hlinkClick r:id="rId3"/>
              </a:rPr>
              <a:t>Cloud App Discovery</a:t>
            </a:r>
            <a:endParaRPr lang="en-US" dirty="0">
              <a:effectLst/>
            </a:endParaRPr>
          </a:p>
          <a:p>
            <a:pPr marL="628650" lvl="1" indent="-171450">
              <a:buFont typeface="Arial" panose="020B0604020202020204" pitchFamily="34" charset="0"/>
              <a:buChar char="•"/>
            </a:pPr>
            <a:r>
              <a:rPr lang="en-US" b="1" dirty="0">
                <a:effectLst/>
              </a:rPr>
              <a:t>All security alerts from </a:t>
            </a:r>
            <a:r>
              <a:rPr lang="en-US" b="1" dirty="0">
                <a:effectLst/>
                <a:hlinkClick r:id="rId4"/>
              </a:rPr>
              <a:t>Privileged Identity Management</a:t>
            </a:r>
            <a:endParaRPr lang="en-US" dirty="0">
              <a:effectLs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FF7E2D7-BF66-47BD-88CE-13B59B34D01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875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2000" y="1200150"/>
            <a:ext cx="3668713" cy="2063750"/>
          </a:xfrm>
        </p:spPr>
      </p:sp>
      <p:sp>
        <p:nvSpPr>
          <p:cNvPr id="3" name="Notes Placeholder 2"/>
          <p:cNvSpPr>
            <a:spLocks noGrp="1"/>
          </p:cNvSpPr>
          <p:nvPr>
            <p:ph type="body" idx="1"/>
          </p:nvPr>
        </p:nvSpPr>
        <p:spPr/>
        <p:txBody>
          <a:bodyPr/>
          <a:lstStyle/>
          <a:p>
            <a:pPr marL="0" indent="0">
              <a:spcBef>
                <a:spcPts val="0"/>
              </a:spcBef>
              <a:spcAft>
                <a:spcPts val="1350"/>
              </a:spcAft>
              <a:buNone/>
            </a:pPr>
            <a:endParaRPr lang="en-US" dirty="0"/>
          </a:p>
        </p:txBody>
      </p:sp>
      <p:sp>
        <p:nvSpPr>
          <p:cNvPr id="4" name="Header Placeholder 3"/>
          <p:cNvSpPr>
            <a:spLocks noGrp="1"/>
          </p:cNvSpPr>
          <p:nvPr>
            <p:ph type="hdr" sz="quarter" idx="10"/>
          </p:nvPr>
        </p:nvSpPr>
        <p:spPr/>
        <p:txBody>
          <a:bodyPr/>
          <a:lstStyle/>
          <a:p>
            <a:pPr marL="0" marR="0" lvl="0" indent="0" defTabSz="96661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rPr>
              <a:t>Microsoft Confidential NDA Only</a:t>
            </a:r>
          </a:p>
        </p:txBody>
      </p:sp>
      <p:sp>
        <p:nvSpPr>
          <p:cNvPr id="5" name="Footer Placeholder 4"/>
          <p:cNvSpPr>
            <a:spLocks noGrp="1"/>
          </p:cNvSpPr>
          <p:nvPr>
            <p:ph type="ftr" sz="quarter" idx="11"/>
          </p:nvPr>
        </p:nvSpPr>
        <p:spPr/>
        <p:txBody>
          <a:bodyPr/>
          <a:lstStyle/>
          <a:p>
            <a:pPr marL="0" marR="0" lvl="0" indent="0" defTabSz="9861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marL="0" marR="0" lvl="0" indent="0" defTabSz="9861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66612" eaLnBrk="1" fontAlgn="auto" latinLnBrk="0" hangingPunct="1">
              <a:lnSpc>
                <a:spcPct val="100000"/>
              </a:lnSpc>
              <a:spcBef>
                <a:spcPts val="0"/>
              </a:spcBef>
              <a:spcAft>
                <a:spcPts val="0"/>
              </a:spcAft>
              <a:buClrTx/>
              <a:buSzTx/>
              <a:buFontTx/>
              <a:buNone/>
              <a:tabLst/>
              <a:defRPr/>
            </a:pPr>
            <a:fld id="{7381B078-E73F-4C08-B2CF-8A477D8F52FD}" type="datetime1">
              <a:rPr kumimoji="0" lang="en-US" sz="1800" b="0" i="0" u="none" strike="noStrike" kern="0" cap="none" spc="0" normalizeH="0" baseline="0" noProof="0">
                <a:ln>
                  <a:noFill/>
                </a:ln>
                <a:solidFill>
                  <a:prstClr val="black"/>
                </a:solidFill>
                <a:effectLst/>
                <a:uLnTx/>
                <a:uFillTx/>
                <a:latin typeface="Calibri" panose="020F0502020204030204"/>
              </a:rPr>
              <a:pPr marL="0" marR="0" lvl="0" indent="0" defTabSz="966612" eaLnBrk="1" fontAlgn="auto" latinLnBrk="0" hangingPunct="1">
                <a:lnSpc>
                  <a:spcPct val="100000"/>
                </a:lnSpc>
                <a:spcBef>
                  <a:spcPts val="0"/>
                </a:spcBef>
                <a:spcAft>
                  <a:spcPts val="0"/>
                </a:spcAft>
                <a:buClrTx/>
                <a:buSzTx/>
                <a:buFontTx/>
                <a:buNone/>
                <a:tabLst/>
                <a:defRPr/>
              </a:pPr>
              <a:t>3/22/2018</a:t>
            </a:fld>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7" name="Slide Number Placeholder 6"/>
          <p:cNvSpPr>
            <a:spLocks noGrp="1"/>
          </p:cNvSpPr>
          <p:nvPr>
            <p:ph type="sldNum" sz="quarter" idx="13"/>
          </p:nvPr>
        </p:nvSpPr>
        <p:spPr/>
        <p:txBody>
          <a:bodyPr/>
          <a:lstStyle/>
          <a:p>
            <a:pPr marL="0" marR="0" lvl="0" indent="0" defTabSz="966612"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rPr>
              <a:pPr marL="0" marR="0" lvl="0" indent="0" defTabSz="966612"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3726477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dirty="0"/>
              <a:t>Azure AD provides the core directory and identity management capabilities behind most of Microsoft’s cloud services, including: </a:t>
            </a:r>
          </a:p>
          <a:p>
            <a:pPr marL="171450" indent="-171450" rtl="0">
              <a:buFont typeface="Arial" panose="020B0604020202020204" pitchFamily="34" charset="0"/>
              <a:buChar char="•"/>
            </a:pPr>
            <a:r>
              <a:rPr lang="en-US" dirty="0"/>
              <a:t>Azure Subscription</a:t>
            </a:r>
          </a:p>
          <a:p>
            <a:pPr marL="171450" indent="-171450" rtl="0">
              <a:buFont typeface="Arial" panose="020B0604020202020204" pitchFamily="34" charset="0"/>
              <a:buChar char="•"/>
            </a:pPr>
            <a:r>
              <a:rPr lang="en-US" dirty="0"/>
              <a:t>Microsoft Office 365</a:t>
            </a:r>
          </a:p>
          <a:p>
            <a:pPr marL="171450" indent="-171450" rtl="0">
              <a:buFont typeface="Arial" panose="020B0604020202020204" pitchFamily="34" charset="0"/>
              <a:buChar char="•"/>
            </a:pPr>
            <a:r>
              <a:rPr lang="en-US" dirty="0"/>
              <a:t>Microsoft Dynamics CRM Online</a:t>
            </a:r>
          </a:p>
          <a:p>
            <a:pPr marL="171450" indent="-171450" rtl="0">
              <a:buFont typeface="Arial" panose="020B0604020202020204" pitchFamily="34" charset="0"/>
              <a:buChar char="•"/>
            </a:pPr>
            <a:r>
              <a:rPr lang="en-US" dirty="0"/>
              <a:t>Microsoft Intune</a:t>
            </a:r>
          </a:p>
          <a:p>
            <a:pPr rtl="0"/>
            <a:endParaRPr lang="en-US" dirty="0"/>
          </a:p>
          <a:p>
            <a:pPr rtl="0"/>
            <a:r>
              <a:rPr lang="en-US" dirty="0"/>
              <a:t>You will get an Azure AD directory when you sign up for any of these Microsoft cloud services. You can create additional directories as needed. For example, you might maintain your first directory as a production directory and then create another directory for testing or staging.</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44549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ulti-Factor Authentication (MFA) is Microsoft's two-step verification solution. Azure MFA helps safeguard access to data and applications while meeting user demand for a simple sign-in process. It delivers strong authentication via a range of verification methods, including phone call, text message, or mobile app verification.</a:t>
            </a:r>
          </a:p>
          <a:p>
            <a:endParaRPr lang="en-US" dirty="0"/>
          </a:p>
          <a:p>
            <a:pPr marL="171450" indent="-171450" rtl="0">
              <a:buFont typeface="Arial" panose="020B0604020202020204" pitchFamily="34" charset="0"/>
              <a:buChar char="•"/>
            </a:pPr>
            <a:r>
              <a:rPr lang="en-US" b="1" dirty="0"/>
              <a:t>Easy to Use</a:t>
            </a:r>
            <a:r>
              <a:rPr lang="en-US" dirty="0"/>
              <a:t> - Azure Multi-Factor Authentication is simple to set up and use. The extra protection that comes with Azure Multi-Factor Authentication allows users to manage their own devices. Best of all, in many instances it can be set up with just a few simple clicks.</a:t>
            </a:r>
          </a:p>
          <a:p>
            <a:pPr marL="171450" indent="-171450" rtl="0">
              <a:buFont typeface="Arial" panose="020B0604020202020204" pitchFamily="34" charset="0"/>
              <a:buChar char="•"/>
            </a:pPr>
            <a:r>
              <a:rPr lang="en-US" b="1" dirty="0"/>
              <a:t>Scalable</a:t>
            </a:r>
            <a:r>
              <a:rPr lang="en-US" dirty="0"/>
              <a:t> - Azure Multi-Factor Authentication uses the power of the cloud and integrates with your on-premises AD and custom apps. This protection is even extended to your high-volume, mission-critical scenarios.</a:t>
            </a:r>
          </a:p>
          <a:p>
            <a:pPr marL="171450" indent="-171450" rtl="0">
              <a:buFont typeface="Arial" panose="020B0604020202020204" pitchFamily="34" charset="0"/>
              <a:buChar char="•"/>
            </a:pPr>
            <a:r>
              <a:rPr lang="en-US" b="1" dirty="0"/>
              <a:t>Always Protected</a:t>
            </a:r>
            <a:r>
              <a:rPr lang="en-US" dirty="0"/>
              <a:t> - Azure Multi-Factor Authentication provides strong authentication using the highest industry standards.</a:t>
            </a:r>
          </a:p>
          <a:p>
            <a:pPr marL="171450" indent="-171450" rtl="0">
              <a:buFont typeface="Arial" panose="020B0604020202020204" pitchFamily="34" charset="0"/>
              <a:buChar char="•"/>
            </a:pPr>
            <a:r>
              <a:rPr lang="en-US" b="1" dirty="0"/>
              <a:t>Reliable</a:t>
            </a:r>
            <a:r>
              <a:rPr lang="en-US" dirty="0"/>
              <a:t> - We guarantee 99.9% availability of Azure Multi-Factor Authentication. The service is considered unavailable when it is unable to receive or process verification requests for the two-step verification.</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34804068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071735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Read this to learn more detail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s://docs.microsoft.com/en-us/azure/multi-factor-authentication/multi-factor-authentication-how-it-works#methods-available-for-two-step-verific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24653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2</a:t>
            </a: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7D7CF-1DAD-47F1-BB48-5088D3BD3085}"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548313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dirty="0"/>
              <a:t>Azure AD provides the core directory and identity management capabilities behind most of Microsoft’s cloud services, including: </a:t>
            </a:r>
          </a:p>
          <a:p>
            <a:pPr marL="171450" indent="-171450" rtl="0">
              <a:buFont typeface="Arial" panose="020B0604020202020204" pitchFamily="34" charset="0"/>
              <a:buChar char="•"/>
            </a:pPr>
            <a:r>
              <a:rPr lang="en-US" dirty="0"/>
              <a:t>Azure Subscription</a:t>
            </a:r>
          </a:p>
          <a:p>
            <a:pPr marL="171450" indent="-171450" rtl="0">
              <a:buFont typeface="Arial" panose="020B0604020202020204" pitchFamily="34" charset="0"/>
              <a:buChar char="•"/>
            </a:pPr>
            <a:r>
              <a:rPr lang="en-US" dirty="0"/>
              <a:t>Microsoft Office 365</a:t>
            </a:r>
          </a:p>
          <a:p>
            <a:pPr marL="171450" indent="-171450" rtl="0">
              <a:buFont typeface="Arial" panose="020B0604020202020204" pitchFamily="34" charset="0"/>
              <a:buChar char="•"/>
            </a:pPr>
            <a:r>
              <a:rPr lang="en-US" dirty="0"/>
              <a:t>Microsoft Dynamics CRM Online</a:t>
            </a:r>
          </a:p>
          <a:p>
            <a:pPr marL="171450" indent="-171450" rtl="0">
              <a:buFont typeface="Arial" panose="020B0604020202020204" pitchFamily="34" charset="0"/>
              <a:buChar char="•"/>
            </a:pPr>
            <a:r>
              <a:rPr lang="en-US" dirty="0"/>
              <a:t>Microsoft Intune</a:t>
            </a:r>
          </a:p>
          <a:p>
            <a:pPr rtl="0"/>
            <a:endParaRPr lang="en-US" dirty="0"/>
          </a:p>
          <a:p>
            <a:pPr rtl="0"/>
            <a:r>
              <a:rPr lang="en-US" dirty="0"/>
              <a:t>You will get an Azure AD directory when you sign up for any of these Microsoft cloud services. You can create additional directories as needed. For example, you might maintain your first directory as a production directory and then create another directory for testing or staging.</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369070559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https://aka.ms/azure/conditionalaccess</a:t>
            </a:r>
          </a:p>
          <a:p>
            <a:endParaRPr lang="en-US" dirty="0">
              <a:effectLst/>
            </a:endParaRPr>
          </a:p>
          <a:p>
            <a:r>
              <a:rPr lang="en-US" dirty="0"/>
              <a:t>Conditional access is a capability of Azure Active Directory that enables you to enforce controls on the access to apps in your environment based on specific conditions. With controls, you can either tie additional requirements to the access or you can block it. The implementation of conditional access is based on policies. A policy-based approach simplifies your configuration experience because it follows the way you think about your access requirements. </a:t>
            </a:r>
          </a:p>
          <a:p>
            <a:endParaRPr lang="en-US" dirty="0">
              <a:effectLst/>
            </a:endParaRPr>
          </a:p>
          <a:p>
            <a:r>
              <a:rPr lang="en-US" sz="900" b="0" i="0" u="none" strike="noStrike" kern="1200" dirty="0">
                <a:solidFill>
                  <a:schemeClr val="tx1"/>
                </a:solidFill>
                <a:effectLst/>
                <a:latin typeface="Segoe UI Light" pitchFamily="34" charset="0"/>
                <a:ea typeface="+mn-ea"/>
                <a:cs typeface="+mn-cs"/>
              </a:rPr>
              <a:t>In a conditional access policy, controls define what it is that should happen when a condition statement has been satisfied.</a:t>
            </a:r>
            <a:br>
              <a:rPr lang="en-US" sz="900" b="0" i="0" u="none" strike="noStrike" kern="1200" dirty="0">
                <a:solidFill>
                  <a:schemeClr val="tx1"/>
                </a:solidFill>
                <a:effectLst/>
                <a:latin typeface="Segoe UI Light" pitchFamily="34" charset="0"/>
                <a:ea typeface="+mn-ea"/>
                <a:cs typeface="+mn-cs"/>
              </a:rPr>
            </a:br>
            <a:r>
              <a:rPr lang="en-US" sz="900" b="0" i="0" u="none" strike="noStrike" kern="1200" dirty="0">
                <a:solidFill>
                  <a:schemeClr val="tx1"/>
                </a:solidFill>
                <a:effectLst/>
                <a:latin typeface="Segoe UI Light" pitchFamily="34" charset="0"/>
                <a:ea typeface="+mn-ea"/>
                <a:cs typeface="+mn-cs"/>
              </a:rPr>
              <a:t>With controls, you can either block access or allow access with additional requirements. When you configure a policy that allows access, you need to select at least one requirement. </a:t>
            </a:r>
          </a:p>
          <a:p>
            <a:r>
              <a:rPr lang="en-US" sz="900" b="0" i="0" u="none" strike="noStrike" kern="1200" dirty="0">
                <a:solidFill>
                  <a:schemeClr val="tx1"/>
                </a:solidFill>
                <a:effectLst/>
                <a:latin typeface="Segoe UI Light" pitchFamily="34" charset="0"/>
                <a:ea typeface="+mn-ea"/>
                <a:cs typeface="+mn-cs"/>
              </a:rPr>
              <a:t>There are two types of controls: </a:t>
            </a:r>
          </a:p>
          <a:p>
            <a:r>
              <a:rPr lang="en-US" sz="900" b="1" i="0" u="none" strike="noStrike" kern="1200" dirty="0">
                <a:solidFill>
                  <a:schemeClr val="tx1"/>
                </a:solidFill>
                <a:effectLst/>
                <a:latin typeface="Segoe UI Light" pitchFamily="34" charset="0"/>
                <a:ea typeface="+mn-ea"/>
                <a:cs typeface="+mn-cs"/>
              </a:rPr>
              <a:t>Grant controls</a:t>
            </a:r>
            <a:r>
              <a:rPr lang="en-US" sz="900" b="0" i="0" u="none" strike="noStrike" kern="1200" dirty="0">
                <a:solidFill>
                  <a:schemeClr val="tx1"/>
                </a:solidFill>
                <a:effectLst/>
                <a:latin typeface="Segoe UI Light" pitchFamily="34" charset="0"/>
                <a:ea typeface="+mn-ea"/>
                <a:cs typeface="+mn-cs"/>
              </a:rPr>
              <a:t> - Grant controls govern whether or not a user can complete authentication and reach the resource that they’re attempting to sign-in to. If you have multiple controls selected, you can configure whether all of them are required when your policy is processed. The current implementation of Azure Active Directory enables you to configure the following grant control requirements:</a:t>
            </a:r>
          </a:p>
          <a:p>
            <a:r>
              <a:rPr lang="en-US" sz="900" b="1" i="0" u="none" strike="noStrike" kern="1200" dirty="0">
                <a:solidFill>
                  <a:schemeClr val="tx1"/>
                </a:solidFill>
                <a:effectLst/>
                <a:latin typeface="Segoe UI Light" pitchFamily="34" charset="0"/>
                <a:ea typeface="+mn-ea"/>
                <a:cs typeface="+mn-cs"/>
              </a:rPr>
              <a:t>Session controls</a:t>
            </a:r>
            <a:r>
              <a:rPr lang="en-US" sz="900" b="0" i="0" u="none" strike="noStrike" kern="1200" dirty="0">
                <a:solidFill>
                  <a:schemeClr val="tx1"/>
                </a:solidFill>
                <a:effectLst/>
                <a:latin typeface="Segoe UI Light" pitchFamily="34" charset="0"/>
                <a:ea typeface="+mn-ea"/>
                <a:cs typeface="+mn-cs"/>
              </a:rPr>
              <a:t> - Session controls enable limiting experience within a cloud app. The session controls are enforced by cloud apps and rely on additional information provided by Azure AD to the app about the session.</a:t>
            </a:r>
          </a:p>
          <a:p>
            <a:endParaRPr lang="en-US" dirty="0">
              <a:effectLst/>
            </a:endParaRPr>
          </a:p>
          <a:p>
            <a:endParaRPr lang="en-US" baseline="0" dirty="0">
              <a:effectLst/>
            </a:endParaRPr>
          </a:p>
          <a:p>
            <a:endParaRPr lang="en-US" baseline="0" dirty="0">
              <a:effectLst/>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39610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dirty="0"/>
              <a:t>Azure AD provides the core directory and identity management capabilities behind most of Microsoft’s cloud services, including: </a:t>
            </a:r>
          </a:p>
          <a:p>
            <a:pPr marL="171450" indent="-171450" rtl="0">
              <a:buFont typeface="Arial" panose="020B0604020202020204" pitchFamily="34" charset="0"/>
              <a:buChar char="•"/>
            </a:pPr>
            <a:r>
              <a:rPr lang="en-US" dirty="0"/>
              <a:t>Azure Subscription</a:t>
            </a:r>
          </a:p>
          <a:p>
            <a:pPr marL="171450" indent="-171450" rtl="0">
              <a:buFont typeface="Arial" panose="020B0604020202020204" pitchFamily="34" charset="0"/>
              <a:buChar char="•"/>
            </a:pPr>
            <a:r>
              <a:rPr lang="en-US" dirty="0"/>
              <a:t>Microsoft Office 365</a:t>
            </a:r>
          </a:p>
          <a:p>
            <a:pPr marL="171450" indent="-171450" rtl="0">
              <a:buFont typeface="Arial" panose="020B0604020202020204" pitchFamily="34" charset="0"/>
              <a:buChar char="•"/>
            </a:pPr>
            <a:r>
              <a:rPr lang="en-US" dirty="0"/>
              <a:t>Microsoft Dynamics CRM Online</a:t>
            </a:r>
          </a:p>
          <a:p>
            <a:pPr marL="171450" indent="-171450" rtl="0">
              <a:buFont typeface="Arial" panose="020B0604020202020204" pitchFamily="34" charset="0"/>
              <a:buChar char="•"/>
            </a:pPr>
            <a:r>
              <a:rPr lang="en-US" dirty="0"/>
              <a:t>Microsoft Intune</a:t>
            </a:r>
          </a:p>
          <a:p>
            <a:pPr rtl="0"/>
            <a:endParaRPr lang="en-US" dirty="0"/>
          </a:p>
          <a:p>
            <a:pPr rtl="0"/>
            <a:r>
              <a:rPr lang="en-US" dirty="0"/>
              <a:t>You will get an Azure AD directory when you sign up for any of these Microsoft cloud services. You can create additional directories as needed. For example, you might maintain your first directory as a production directory and then create another directory for testing or staging.</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680192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67497591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Windows Server Management Marketing</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6A8F85-A389-41D7-9CC0-F9A6E92BFD6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0306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See also https://aka.ms/Azure/AD </a:t>
            </a:r>
          </a:p>
          <a:p>
            <a:endParaRPr lang="en-US" dirty="0"/>
          </a:p>
          <a:p>
            <a:r>
              <a:rPr lang="en-US" dirty="0"/>
              <a:t>Your organization can use Azure AD to improve employee productivity, streamline IT processes, improve security and cut costs in many ways:+ </a:t>
            </a:r>
          </a:p>
          <a:p>
            <a:pPr marL="171450" indent="-171450">
              <a:buFont typeface="Arial" panose="020B0604020202020204" pitchFamily="34" charset="0"/>
              <a:buChar char="•"/>
            </a:pPr>
            <a:r>
              <a:rPr lang="en-US" dirty="0"/>
              <a:t>Quickly adopt cloud services, providing employees and partners with an easy single-sign on experience powered by Azure AD’s fully automated SaaS app access management and provisioning services capabilities</a:t>
            </a:r>
          </a:p>
          <a:p>
            <a:pPr marL="171450" indent="-171450">
              <a:buFont typeface="Arial" panose="020B0604020202020204" pitchFamily="34" charset="0"/>
              <a:buChar char="•"/>
            </a:pPr>
            <a:r>
              <a:rPr lang="en-US" dirty="0"/>
              <a:t>Empower employees with access to world-class cloud apps and self-service capabilities from wherever they need to work on the devices they love to use</a:t>
            </a:r>
          </a:p>
          <a:p>
            <a:pPr marL="171450" indent="-171450">
              <a:buFont typeface="Arial" panose="020B0604020202020204" pitchFamily="34" charset="0"/>
              <a:buChar char="•"/>
            </a:pPr>
            <a:r>
              <a:rPr lang="en-US" dirty="0"/>
              <a:t>Easily and securely manage employee and vendor access to your corporate social media accounts</a:t>
            </a:r>
          </a:p>
          <a:p>
            <a:pPr marL="171450" indent="-171450">
              <a:buFont typeface="Arial" panose="020B0604020202020204" pitchFamily="34" charset="0"/>
              <a:buChar char="•"/>
            </a:pPr>
            <a:r>
              <a:rPr lang="en-US" dirty="0"/>
              <a:t>Improve application security with Azure AD multifactor authentication and conditional access</a:t>
            </a:r>
          </a:p>
          <a:p>
            <a:pPr marL="171450" indent="-171450">
              <a:buFont typeface="Arial" panose="020B0604020202020204" pitchFamily="34" charset="0"/>
              <a:buChar char="•"/>
            </a:pPr>
            <a:r>
              <a:rPr lang="en-US" dirty="0"/>
              <a:t>Implement consistent, self-service application access management, empowering business owners to move quickly while cutting IT costs and overheads</a:t>
            </a:r>
          </a:p>
          <a:p>
            <a:pPr marL="171450" indent="-171450">
              <a:buFont typeface="Arial" panose="020B0604020202020204" pitchFamily="34" charset="0"/>
              <a:buChar char="•"/>
            </a:pPr>
            <a:r>
              <a:rPr lang="en-US" dirty="0"/>
              <a:t>Monitor application usage and protect your business from advanced threats with security reporting and monitoring</a:t>
            </a:r>
          </a:p>
          <a:p>
            <a:pPr marL="171450" indent="-171450">
              <a:buFont typeface="Arial" panose="020B0604020202020204" pitchFamily="34" charset="0"/>
              <a:buChar char="•"/>
            </a:pPr>
            <a:r>
              <a:rPr lang="en-US" dirty="0"/>
              <a:t>Secure mobile (remote) access to on-premises applications</a:t>
            </a:r>
          </a:p>
          <a:p>
            <a:pPr marL="0" indent="0">
              <a:buFont typeface="Arial" panose="020B0604020202020204" pitchFamily="34" charset="0"/>
              <a:buNone/>
            </a:pPr>
            <a:endParaRPr lang="en-US" dirty="0"/>
          </a:p>
          <a:p>
            <a:pPr marL="0" indent="0">
              <a:buFont typeface="Arial" panose="020B0604020202020204" pitchFamily="34" charset="0"/>
              <a:buNone/>
            </a:pPr>
            <a:r>
              <a:rPr lang="en-US" b="1" dirty="0"/>
              <a:t>Azure AD service limits and restrictions</a:t>
            </a:r>
            <a:endParaRPr lang="en-US" b="0" dirty="0"/>
          </a:p>
          <a:p>
            <a:pPr marL="0" indent="0">
              <a:buFont typeface="Arial" panose="020B0604020202020204" pitchFamily="34" charset="0"/>
              <a:buNone/>
            </a:pPr>
            <a:r>
              <a:rPr lang="en-US" b="0" dirty="0"/>
              <a:t>Review this doc https://docs.microsoft.com/en-us/azure/active-directory/active-directory-service-limits-restrictions</a:t>
            </a:r>
          </a:p>
          <a:p>
            <a:pPr marL="0" indent="0">
              <a:buFont typeface="Arial" panose="020B0604020202020204" pitchFamily="34" charset="0"/>
              <a:buNone/>
            </a:pPr>
            <a:r>
              <a:rPr lang="en-US" b="0" dirty="0"/>
              <a:t>Usually these limits are not constraining for most organizations</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EMS Overview</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0FB251C-2018-4F4B-973B-3D329B90E57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4"/>
          <p:cNvSpPr>
            <a:spLocks noGrp="1"/>
          </p:cNvSpPr>
          <p:nvPr>
            <p:ph type="ftr" sz="quarter" idx="4"/>
          </p:nvPr>
        </p:nvSpPr>
        <p:spPr>
          <a:xfrm>
            <a:off x="0" y="8686800"/>
            <a:ext cx="5920740" cy="355964"/>
          </a:xfrm>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Surfac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4712932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ots of ways to sign in using Azure AD</a:t>
            </a:r>
          </a:p>
          <a:p>
            <a:endParaRPr lang="en-US" dirty="0"/>
          </a:p>
          <a:p>
            <a:pPr marL="0" indent="0">
              <a:buNone/>
            </a:pPr>
            <a:r>
              <a:rPr lang="en-US" sz="900" b="1" dirty="0"/>
              <a:t>Office365</a:t>
            </a:r>
          </a:p>
          <a:p>
            <a:pPr marL="0" indent="0">
              <a:buNone/>
            </a:pPr>
            <a:r>
              <a:rPr lang="en-US" sz="900" dirty="0">
                <a:solidFill>
                  <a:srgbClr val="00B0F0"/>
                </a:solidFill>
              </a:rPr>
              <a:t>https://portal.office365.com/myapps</a:t>
            </a:r>
          </a:p>
          <a:p>
            <a:endParaRPr lang="en-US" sz="900" dirty="0"/>
          </a:p>
          <a:p>
            <a:pPr marL="0" indent="0">
              <a:buNone/>
            </a:pPr>
            <a:r>
              <a:rPr lang="en-US" sz="900" b="1" dirty="0"/>
              <a:t>Azure AD Access Panel</a:t>
            </a:r>
          </a:p>
          <a:p>
            <a:pPr marL="0" indent="0">
              <a:buNone/>
            </a:pPr>
            <a:r>
              <a:rPr lang="en-US" sz="900" dirty="0">
                <a:solidFill>
                  <a:srgbClr val="00B0F0"/>
                </a:solidFill>
              </a:rPr>
              <a:t>https://myapps.microsoft.com</a:t>
            </a:r>
          </a:p>
          <a:p>
            <a:endParaRPr lang="en-US" sz="900" dirty="0"/>
          </a:p>
          <a:p>
            <a:pPr marL="0" indent="0">
              <a:buNone/>
            </a:pPr>
            <a:r>
              <a:rPr lang="en-US" sz="900" b="1" dirty="0"/>
              <a:t>App Sign-on links</a:t>
            </a:r>
          </a:p>
          <a:p>
            <a:pPr marL="0" indent="0">
              <a:buNone/>
            </a:pPr>
            <a:r>
              <a:rPr lang="en-US" sz="900" dirty="0">
                <a:solidFill>
                  <a:srgbClr val="00B0F0"/>
                </a:solidFill>
              </a:rPr>
              <a:t>https://myapps.microsoft.com/signin/ServiceNow/0919fd624056415183f77cfd3fade8e3</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Windows Server Management Marketing</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6A8F85-A389-41D7-9CC0-F9A6E92BFD62}" type="datetime1">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47823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dirty="0"/>
              <a:t>Azure AD provides the core directory and identity management capabilities behind most of Microsoft’s cloud services, including: </a:t>
            </a:r>
          </a:p>
          <a:p>
            <a:pPr marL="171450" indent="-171450" rtl="0">
              <a:buFont typeface="Arial" panose="020B0604020202020204" pitchFamily="34" charset="0"/>
              <a:buChar char="•"/>
            </a:pPr>
            <a:r>
              <a:rPr lang="en-US" dirty="0"/>
              <a:t>Azure Subscription</a:t>
            </a:r>
          </a:p>
          <a:p>
            <a:pPr marL="171450" indent="-171450" rtl="0">
              <a:buFont typeface="Arial" panose="020B0604020202020204" pitchFamily="34" charset="0"/>
              <a:buChar char="•"/>
            </a:pPr>
            <a:r>
              <a:rPr lang="en-US" dirty="0"/>
              <a:t>Microsoft Office 365</a:t>
            </a:r>
          </a:p>
          <a:p>
            <a:pPr marL="171450" indent="-171450" rtl="0">
              <a:buFont typeface="Arial" panose="020B0604020202020204" pitchFamily="34" charset="0"/>
              <a:buChar char="•"/>
            </a:pPr>
            <a:r>
              <a:rPr lang="en-US" dirty="0"/>
              <a:t>Microsoft Dynamics CRM Online</a:t>
            </a:r>
          </a:p>
          <a:p>
            <a:pPr marL="171450" indent="-171450" rtl="0">
              <a:buFont typeface="Arial" panose="020B0604020202020204" pitchFamily="34" charset="0"/>
              <a:buChar char="•"/>
            </a:pPr>
            <a:r>
              <a:rPr lang="en-US" dirty="0"/>
              <a:t>Microsoft Intune</a:t>
            </a:r>
          </a:p>
          <a:p>
            <a:pPr rtl="0"/>
            <a:endParaRPr lang="en-US" dirty="0"/>
          </a:p>
          <a:p>
            <a:pPr rtl="0"/>
            <a:r>
              <a:rPr lang="en-US" dirty="0"/>
              <a:t>You will get an Azure AD directory when you sign up for any of these Microsoft cloud services. You can create additional directories as needed. For example, you might maintain your first directory as a production directory and then create another directory for testing or staging.</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2308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t>Azure AD Domain Services </a:t>
            </a:r>
            <a:r>
              <a:rPr lang="en-US" dirty="0"/>
              <a:t>provides managed domain services such as domain join, group policy, LDAP, Kerberos/NTLM authentication that are fully compatible with Windows Server Active Directory. You can consume these domain services without the need for you to deploy, manage, and patch domain controllers in the cloud. Azure AD Domain Services integrates with your existing Azure AD tenant, thus making it possible for users to log in using their corporate credentials. Additionally, you can use existing groups and user accounts to secure access to resources, thus ensuring a smoother 'lift-and-shift' of on-premises resources to Azure Infrastructure Services.+ </a:t>
            </a:r>
          </a:p>
          <a:p>
            <a:pPr rtl="0"/>
            <a:r>
              <a:rPr lang="en-US" dirty="0"/>
              <a:t>Azure AD Domain Services functionality works seamlessly regardless of whether your Azure AD tenant is cloud-only or synced with your on-premises Active Directory.</a:t>
            </a:r>
          </a:p>
          <a:p>
            <a:pPr rtl="0"/>
            <a:endParaRPr lang="en-US" dirty="0"/>
          </a:p>
          <a:p>
            <a:pPr rtl="0"/>
            <a:r>
              <a:rPr lang="en-US" dirty="0"/>
              <a:t>http://aka.ms/Azure/ADD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solidFill>
                <a:schemeClr val="tx2"/>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91239532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33029833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53653505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26367331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dirty="0"/>
              <a:t>Azure AD provides the core directory and identity management capabilities behind most of Microsoft’s cloud services, including: </a:t>
            </a:r>
          </a:p>
          <a:p>
            <a:pPr marL="171450" indent="-171450" rtl="0">
              <a:buFont typeface="Arial" panose="020B0604020202020204" pitchFamily="34" charset="0"/>
              <a:buChar char="•"/>
            </a:pPr>
            <a:r>
              <a:rPr lang="en-US" dirty="0"/>
              <a:t>Azure Subscription</a:t>
            </a:r>
          </a:p>
          <a:p>
            <a:pPr marL="171450" indent="-171450" rtl="0">
              <a:buFont typeface="Arial" panose="020B0604020202020204" pitchFamily="34" charset="0"/>
              <a:buChar char="•"/>
            </a:pPr>
            <a:r>
              <a:rPr lang="en-US" dirty="0"/>
              <a:t>Microsoft Office 365</a:t>
            </a:r>
          </a:p>
          <a:p>
            <a:pPr marL="171450" indent="-171450" rtl="0">
              <a:buFont typeface="Arial" panose="020B0604020202020204" pitchFamily="34" charset="0"/>
              <a:buChar char="•"/>
            </a:pPr>
            <a:r>
              <a:rPr lang="en-US" dirty="0"/>
              <a:t>Microsoft Dynamics CRM Online</a:t>
            </a:r>
          </a:p>
          <a:p>
            <a:pPr marL="171450" indent="-171450" rtl="0">
              <a:buFont typeface="Arial" panose="020B0604020202020204" pitchFamily="34" charset="0"/>
              <a:buChar char="•"/>
            </a:pPr>
            <a:r>
              <a:rPr lang="en-US" dirty="0"/>
              <a:t>Microsoft Intune</a:t>
            </a:r>
          </a:p>
          <a:p>
            <a:pPr rtl="0"/>
            <a:endParaRPr lang="en-US" dirty="0"/>
          </a:p>
          <a:p>
            <a:pPr rtl="0"/>
            <a:r>
              <a:rPr lang="en-US" dirty="0"/>
              <a:t>You will get an Azure AD directory when you sign up for any of these Microsoft cloud services. You can create additional directories as needed. For example, you might maintain your first directory as a production directory and then create another directory for testing or staging.</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368726590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GUIDANCE:  </a:t>
            </a:r>
            <a:r>
              <a:rPr lang="en-US" dirty="0"/>
              <a:t>while onsite and delivering this Solution Alignment Workshop, at some point there are two possibilities here.</a:t>
            </a:r>
          </a:p>
          <a:p>
            <a:pPr marL="228600" indent="-228600">
              <a:buAutoNum type="arabicPeriod"/>
            </a:pPr>
            <a:r>
              <a:rPr lang="en-US" dirty="0"/>
              <a:t>For the customer to diagram what their Identity Environment looks like.  If they do, ask permission to take a picture if possible.  Some customers will not allow this.  If not, you can redraw it in OneNote. NOTE: there should be a “rough” idea from the subscriptions conversation how many subscriptions there are or will be.</a:t>
            </a:r>
          </a:p>
          <a:p>
            <a:pPr marL="228600" indent="-228600">
              <a:buAutoNum type="arabicPeriod"/>
            </a:pPr>
            <a:r>
              <a:rPr lang="en-US" dirty="0"/>
              <a:t>On the flip side, this is a chance to help the customer see how that an Azure AD tenant should be common to all subscriptions within the same environment e.g. Production. In some cases ALL environments will be based on a single forest model, synchronized to Azure AD.  Therefore, 1 or more Azure subscriptions would have a trust relationship with that single Azure AD tenant.  Likewise, this should exist also for Office 365 or any other online subscriptions that may exist e.g. Dynamics CRM, Intune, SaaS apps.</a:t>
            </a:r>
          </a:p>
          <a:p>
            <a:pPr marL="228600" indent="-228600">
              <a:buAutoNum type="arabicPeriod"/>
            </a:pPr>
            <a:endParaRPr lang="en-US" dirty="0"/>
          </a:p>
          <a:p>
            <a:pPr marL="0" indent="0">
              <a:buNone/>
            </a:pPr>
            <a:r>
              <a:rPr lang="en-US" dirty="0"/>
              <a:t>To get a better understanding of the above comments, if not clear, see AZRA where examples will be diagrammed for your understanding.</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25319961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t>Guidance</a:t>
            </a:r>
          </a:p>
          <a:p>
            <a:pPr rtl="0"/>
            <a:r>
              <a:rPr lang="en-US" dirty="0"/>
              <a:t>Based on what is outlined in the SOW, confirm understanding of the current state and if work needs to be done to move towards one of these examples based on the </a:t>
            </a:r>
            <a:r>
              <a:rPr lang="en-US"/>
              <a:t>in-scope requirements of the SOW.</a:t>
            </a:r>
            <a:endParaRPr lang="en-US" dirty="0"/>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Read </a:t>
            </a:r>
            <a:r>
              <a:rPr lang="en-US" sz="900" dirty="0">
                <a:hlinkClick r:id="rId3"/>
              </a:rPr>
              <a:t>aka.ms/identity/architectures</a:t>
            </a:r>
            <a:r>
              <a:rPr lang="en-US" sz="900" dirty="0"/>
              <a:t> for the rest of the examples in the diagram above.</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2749972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dirty="0"/>
              <a:t>Azure AD provides the core directory and identity management capabilities behind most of Microsoft’s cloud services, including: </a:t>
            </a:r>
          </a:p>
          <a:p>
            <a:pPr marL="171450" indent="-171450" rtl="0">
              <a:buFont typeface="Arial" panose="020B0604020202020204" pitchFamily="34" charset="0"/>
              <a:buChar char="•"/>
            </a:pPr>
            <a:r>
              <a:rPr lang="en-US" dirty="0"/>
              <a:t>Azure Subscription</a:t>
            </a:r>
          </a:p>
          <a:p>
            <a:pPr marL="171450" indent="-171450" rtl="0">
              <a:buFont typeface="Arial" panose="020B0604020202020204" pitchFamily="34" charset="0"/>
              <a:buChar char="•"/>
            </a:pPr>
            <a:r>
              <a:rPr lang="en-US" dirty="0"/>
              <a:t>Microsoft Office 365</a:t>
            </a:r>
          </a:p>
          <a:p>
            <a:pPr marL="171450" indent="-171450" rtl="0">
              <a:buFont typeface="Arial" panose="020B0604020202020204" pitchFamily="34" charset="0"/>
              <a:buChar char="•"/>
            </a:pPr>
            <a:r>
              <a:rPr lang="en-US" dirty="0"/>
              <a:t>Microsoft Dynamics CRM Online</a:t>
            </a:r>
          </a:p>
          <a:p>
            <a:pPr marL="171450" indent="-171450" rtl="0">
              <a:buFont typeface="Arial" panose="020B0604020202020204" pitchFamily="34" charset="0"/>
              <a:buChar char="•"/>
            </a:pPr>
            <a:r>
              <a:rPr lang="en-US" dirty="0"/>
              <a:t>Microsoft Intune</a:t>
            </a:r>
          </a:p>
          <a:p>
            <a:pPr rtl="0"/>
            <a:endParaRPr lang="en-US" dirty="0"/>
          </a:p>
          <a:p>
            <a:pPr rtl="0"/>
            <a:r>
              <a:rPr lang="en-US" dirty="0"/>
              <a:t>You will get an Azure AD directory when you sign up for any of these Microsoft cloud services. You can create additional directories as needed. For example, you might maintain your first directory as a production directory and then create another directory for testing or staging.</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8747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13082621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tx2"/>
                </a:solidFill>
              </a:rPr>
              <a:t>Cloud identity service &amp; directory</a:t>
            </a:r>
          </a:p>
          <a:p>
            <a:pPr marL="342846" lvl="1" indent="-342846"/>
            <a:r>
              <a:rPr lang="en-US" dirty="0"/>
              <a:t>Scales to 100s of millions of users per tenant</a:t>
            </a:r>
          </a:p>
          <a:p>
            <a:pPr marL="342846" lvl="1" indent="-342846"/>
            <a:r>
              <a:rPr lang="en-US" dirty="0"/>
              <a:t>Secure and reliable Azure AD infrastructure</a:t>
            </a:r>
          </a:p>
          <a:p>
            <a:pPr marL="342846" lvl="1" indent="-342846"/>
            <a:r>
              <a:rPr lang="en-US" dirty="0"/>
              <a:t>User experience</a:t>
            </a:r>
          </a:p>
          <a:p>
            <a:pPr marL="342846" lvl="1" indent="-342846"/>
            <a:r>
              <a:rPr lang="en-US" dirty="0"/>
              <a:t>Self-service</a:t>
            </a:r>
          </a:p>
          <a:p>
            <a:pPr marL="342846" lvl="1" indent="-342846"/>
            <a:r>
              <a:rPr lang="en-US" dirty="0"/>
              <a:t>Seamless</a:t>
            </a:r>
          </a:p>
          <a:p>
            <a:pPr marL="342846" lvl="1" indent="-342846"/>
            <a:r>
              <a:rPr lang="en-US" dirty="0"/>
              <a:t>Cost-effective</a:t>
            </a:r>
          </a:p>
          <a:p>
            <a:pPr marL="342846" lvl="1" indent="-342846"/>
            <a:r>
              <a:rPr lang="en-US" dirty="0"/>
              <a:t>Low TCO compared to build-your-own and competition</a:t>
            </a:r>
          </a:p>
          <a:p>
            <a:pPr marL="0" indent="0">
              <a:buNone/>
            </a:pPr>
            <a:r>
              <a:rPr lang="en-US" dirty="0">
                <a:solidFill>
                  <a:schemeClr val="tx2"/>
                </a:solidFill>
              </a:rPr>
              <a:t>Developer-focused</a:t>
            </a:r>
          </a:p>
          <a:p>
            <a:pPr marL="342846" lvl="1" indent="-342846"/>
            <a:r>
              <a:rPr lang="en-US" dirty="0"/>
              <a:t>Consumer- and citizen-facing mobile and web apps</a:t>
            </a:r>
          </a:p>
          <a:p>
            <a:pPr marL="342846" lvl="1" indent="-342846"/>
            <a:r>
              <a:rPr lang="en-US" dirty="0"/>
              <a:t>Faster speed-to-market</a:t>
            </a:r>
          </a:p>
          <a:p>
            <a:pPr marL="342846" lvl="1" indent="-342846"/>
            <a:r>
              <a:rPr lang="en-US" dirty="0"/>
              <a:t>Open standard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782969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AD business-to-business (B2B) collaboration capabilities enable any organization using Azure AD to work safely and securely with users from any other organization – small or large; with Azure AD or without; in fact, with an IT organization or without. </a:t>
            </a:r>
          </a:p>
          <a:p>
            <a:endParaRPr lang="en-US" dirty="0"/>
          </a:p>
          <a:p>
            <a:pPr rtl="0"/>
            <a:r>
              <a:rPr lang="en-US" dirty="0"/>
              <a:t>Organizations using Azure AD can provide access to documents, resources, and applications to their partners, all while maintaining complete control over corporate data. Developers can use the Azure AD business-to-business APIs to write applications that bring two organizations together in a secure way that is also seamless and intuitive for end users to navigate.+ </a:t>
            </a:r>
          </a:p>
          <a:p>
            <a:pPr rtl="0"/>
            <a:r>
              <a:rPr lang="en-US" dirty="0"/>
              <a:t>A whopping </a:t>
            </a:r>
            <a:r>
              <a:rPr lang="en-US" b="1" dirty="0"/>
              <a:t>97%</a:t>
            </a:r>
            <a:r>
              <a:rPr lang="en-US" dirty="0"/>
              <a:t> of our customers have told us Azure AD B2B collaboration is very important to them.</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2018 3:34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80405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35485844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411965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NSULTANT NOTES</a:t>
            </a:r>
            <a:r>
              <a:rPr lang="en-US" b="0" dirty="0"/>
              <a:t>:</a:t>
            </a:r>
          </a:p>
          <a:p>
            <a:r>
              <a:rPr lang="en-US" b="0" dirty="0"/>
              <a:t>Hopefully by the time you are done with the presentation, you have gathered all this information.</a:t>
            </a:r>
          </a:p>
          <a:p>
            <a:r>
              <a:rPr lang="en-US" b="0" dirty="0"/>
              <a:t>At this point you should </a:t>
            </a:r>
          </a:p>
          <a:p>
            <a:pPr marL="228600" indent="-228600">
              <a:buFont typeface="+mj-lt"/>
              <a:buAutoNum type="arabicPeriod"/>
            </a:pPr>
            <a:r>
              <a:rPr lang="en-US" b="0" dirty="0"/>
              <a:t>Review your notes with the customers</a:t>
            </a:r>
          </a:p>
          <a:p>
            <a:pPr marL="228600" indent="-228600">
              <a:buFont typeface="+mj-lt"/>
              <a:buAutoNum type="arabicPeriod"/>
            </a:pPr>
            <a:r>
              <a:rPr lang="en-US" b="0" dirty="0"/>
              <a:t>Commit to unanswered questions that you will follow up on</a:t>
            </a:r>
          </a:p>
          <a:p>
            <a:pPr marL="228600" indent="-228600">
              <a:buFont typeface="+mj-lt"/>
              <a:buAutoNum type="arabicPeriod"/>
            </a:pPr>
            <a:r>
              <a:rPr lang="en-US" b="0" dirty="0"/>
              <a:t>Get answers to any questions about their identity plans that were not gathered by now</a:t>
            </a:r>
          </a:p>
          <a:p>
            <a:pPr marL="228600" indent="-228600">
              <a:buFont typeface="+mj-lt"/>
              <a:buAutoNum type="arabicPeriod"/>
            </a:pPr>
            <a:r>
              <a:rPr lang="en-US" b="0" dirty="0"/>
              <a:t>After the presentation, follow up in an email to the group that attended this session with answers and to-dos for the customer and yourself</a:t>
            </a:r>
          </a:p>
          <a:p>
            <a:pPr marL="228600" indent="-228600">
              <a:buFont typeface="+mj-lt"/>
              <a:buAutoNum type="arabicPeriod"/>
            </a:pP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2/2018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24566415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17D118-1690-458F-B4D2-F9DA5D6F50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139224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418965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3/22/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280715718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385840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407841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1"/>
            <a:r>
              <a:rPr lang="en-US" sz="2000" kern="1200" dirty="0">
                <a:solidFill>
                  <a:schemeClr val="tx1"/>
                </a:solidFill>
                <a:latin typeface="Segoe UI Light" pitchFamily="34" charset="0"/>
                <a:ea typeface="+mn-ea"/>
                <a:cs typeface="+mn-cs"/>
              </a:rPr>
              <a:t>The existence of an Azure AD directory is a </a:t>
            </a:r>
            <a:r>
              <a:rPr lang="en-US" sz="2000" b="1" kern="1200" dirty="0">
                <a:solidFill>
                  <a:schemeClr val="tx1"/>
                </a:solidFill>
                <a:latin typeface="Segoe UI Light" pitchFamily="34" charset="0"/>
                <a:ea typeface="+mn-ea"/>
                <a:cs typeface="+mn-cs"/>
              </a:rPr>
              <a:t>requirement</a:t>
            </a:r>
            <a:r>
              <a:rPr lang="en-US" sz="2000" kern="1200" dirty="0">
                <a:solidFill>
                  <a:schemeClr val="tx1"/>
                </a:solidFill>
                <a:latin typeface="Segoe UI Light" pitchFamily="34" charset="0"/>
                <a:ea typeface="+mn-ea"/>
                <a:cs typeface="+mn-cs"/>
              </a:rPr>
              <a:t> for an Azure subscription</a:t>
            </a:r>
          </a:p>
          <a:p>
            <a:pPr lvl="1"/>
            <a:r>
              <a:rPr lang="en-US" sz="2000" kern="1200" dirty="0">
                <a:solidFill>
                  <a:schemeClr val="tx1"/>
                </a:solidFill>
                <a:latin typeface="Segoe UI Light" pitchFamily="34" charset="0"/>
                <a:ea typeface="+mn-ea"/>
                <a:cs typeface="+mn-cs"/>
              </a:rPr>
              <a:t>The main reason why a customer may have multiple tenants would be that they match to multiple pre-production environments e.g. Dev, Test, QA, Prod</a:t>
            </a:r>
          </a:p>
          <a:p>
            <a:pPr lvl="2"/>
            <a:r>
              <a:rPr lang="en-US" sz="2000" kern="1200" dirty="0">
                <a:solidFill>
                  <a:schemeClr val="tx1"/>
                </a:solidFill>
                <a:latin typeface="Segoe UI Light" pitchFamily="34" charset="0"/>
                <a:ea typeface="+mn-ea"/>
                <a:cs typeface="+mn-cs"/>
              </a:rPr>
              <a:t>Sometimes customers come in with AD Forests that match these.  In these cases it may be good to continue this pattern with parallel tests for Dev, Test, QA, Prod.  But the ideal situation is to head towards domain consolidation.  But even with multiple domains, it is possible to sync those into one tenant.  See Azure AD Connect section and the topologies.</a:t>
            </a:r>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0516460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803890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7141151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762899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035306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5333605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132211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7964709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9238116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9241180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43791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595824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1628206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2629461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5032276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8648562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1638407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3101764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0131526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7283829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8428437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191454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92" y="-992"/>
            <a:ext cx="12436475" cy="6995517"/>
          </a:xfrm>
          <a:prstGeom prst="rect">
            <a:avLst/>
          </a:prstGeom>
        </p:spPr>
      </p:pic>
      <p:sp>
        <p:nvSpPr>
          <p:cNvPr id="22" name="Rectangle 21"/>
          <p:cNvSpPr/>
          <p:nvPr userDrawn="1"/>
        </p:nvSpPr>
        <p:spPr bwMode="auto">
          <a:xfrm>
            <a:off x="272986" y="2125663"/>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66168" y="2125677"/>
            <a:ext cx="7314889" cy="1828800"/>
          </a:xfrm>
          <a:noFill/>
        </p:spPr>
        <p:txBody>
          <a:bodyPr lIns="146304" tIns="91440" rIns="146304" bIns="91440" anchor="t" anchorCtr="0"/>
          <a:lstStyle>
            <a:lvl1pPr>
              <a:defRPr sz="6400" spc="-100" baseline="0">
                <a:gradFill>
                  <a:gsLst>
                    <a:gs pos="16162">
                      <a:schemeClr val="tx1"/>
                    </a:gs>
                    <a:gs pos="43000">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366168" y="3954457"/>
            <a:ext cx="7314889" cy="1737360"/>
          </a:xfrm>
        </p:spPr>
        <p:txBody>
          <a:bodyPr tIns="109728" bIns="109728">
            <a:noAutofit/>
          </a:bodyPr>
          <a:lstStyle>
            <a:lvl1pPr marL="0" indent="0">
              <a:spcBef>
                <a:spcPts val="0"/>
              </a:spcBef>
              <a:buNone/>
              <a:defRPr sz="3733">
                <a:gradFill>
                  <a:gsLst>
                    <a:gs pos="16162">
                      <a:schemeClr val="tx1"/>
                    </a:gs>
                    <a:gs pos="43000">
                      <a:schemeClr val="tx1"/>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609578" y="6240429"/>
            <a:ext cx="1284074" cy="274320"/>
          </a:xfrm>
          <a:prstGeom prst="rect">
            <a:avLst/>
          </a:prstGeom>
        </p:spPr>
      </p:pic>
    </p:spTree>
    <p:extLst>
      <p:ext uri="{BB962C8B-B14F-4D97-AF65-F5344CB8AC3E}">
        <p14:creationId xmlns:p14="http://schemas.microsoft.com/office/powerpoint/2010/main" val="1053954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6168" y="1212850"/>
            <a:ext cx="11702553" cy="2443746"/>
          </a:xfrm>
          <a:prstGeom prst="rect">
            <a:avLst/>
          </a:prstGeom>
        </p:spPr>
        <p:txBody>
          <a:bodyPr/>
          <a:lstStyle>
            <a:lvl1pPr marL="217856" indent="-21785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13270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037481"/>
          </a:xfrm>
        </p:spPr>
        <p:txBody>
          <a:bodyPr wrap="square">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6168" y="1212850"/>
            <a:ext cx="11702553" cy="2443746"/>
          </a:xfrm>
          <a:prstGeom prst="rect">
            <a:avLst/>
          </a:prstGeom>
        </p:spPr>
        <p:txBody>
          <a:bodyPr/>
          <a:lstStyle>
            <a:lvl1pPr marL="217856" indent="-21785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6022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20567"/>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050675"/>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0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21" y="6209084"/>
            <a:ext cx="1456232" cy="310896"/>
          </a:xfrm>
          <a:prstGeom prst="rect">
            <a:avLst/>
          </a:prstGeom>
        </p:spPr>
      </p:pic>
    </p:spTree>
    <p:extLst>
      <p:ext uri="{BB962C8B-B14F-4D97-AF65-F5344CB8AC3E}">
        <p14:creationId xmlns:p14="http://schemas.microsoft.com/office/powerpoint/2010/main" val="332235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867777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065003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62" indent="0">
              <a:buFont typeface="Wingdings" panose="05000000000000000000" pitchFamily="2" charset="2"/>
              <a:buNone/>
              <a:defRPr sz="2400" b="0"/>
            </a:lvl2pPr>
            <a:lvl3pPr marL="450805" indent="0">
              <a:buFont typeface="Wingdings" panose="05000000000000000000" pitchFamily="2" charset="2"/>
              <a:buNone/>
              <a:tabLst/>
              <a:defRPr sz="2200" b="0"/>
            </a:lvl3pPr>
            <a:lvl4pPr marL="652397" indent="0">
              <a:buFont typeface="Wingdings" panose="05000000000000000000" pitchFamily="2" charset="2"/>
              <a:buNone/>
              <a:defRPr sz="2200" b="0"/>
            </a:lvl4pPr>
            <a:lvl5pPr marL="853990"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1287"/>
            <a:ext cx="54856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62"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0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97"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9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17" marR="0" lvl="1" indent="-457154" algn="l" defTabSz="932649" rtl="0" eaLnBrk="1" fontAlgn="auto" latinLnBrk="0" hangingPunct="1">
              <a:lnSpc>
                <a:spcPct val="90000"/>
              </a:lnSpc>
              <a:spcBef>
                <a:spcPct val="20000"/>
              </a:spcBef>
              <a:spcAft>
                <a:spcPts val="0"/>
              </a:spcAft>
              <a:buClrTx/>
              <a:buSzPct val="90000"/>
              <a:tabLst/>
            </a:pPr>
            <a:r>
              <a:rPr lang="en-US" dirty="0"/>
              <a:t>Second level</a:t>
            </a:r>
          </a:p>
          <a:p>
            <a:pPr marL="907959" marR="0" lvl="2" indent="-457154" algn="l" defTabSz="932649" rtl="0" eaLnBrk="1" fontAlgn="auto" latinLnBrk="0" hangingPunct="1">
              <a:lnSpc>
                <a:spcPct val="90000"/>
              </a:lnSpc>
              <a:spcBef>
                <a:spcPct val="20000"/>
              </a:spcBef>
              <a:spcAft>
                <a:spcPts val="0"/>
              </a:spcAft>
              <a:buClrTx/>
              <a:buSzPct val="90000"/>
              <a:tabLst/>
            </a:pPr>
            <a:r>
              <a:rPr lang="en-US" dirty="0"/>
              <a:t>Third level</a:t>
            </a:r>
          </a:p>
          <a:p>
            <a:pPr marL="1109551" marR="0" lvl="3" indent="-457154" algn="l" defTabSz="932649" rtl="0" eaLnBrk="1" fontAlgn="auto" latinLnBrk="0" hangingPunct="1">
              <a:lnSpc>
                <a:spcPct val="90000"/>
              </a:lnSpc>
              <a:spcBef>
                <a:spcPct val="20000"/>
              </a:spcBef>
              <a:spcAft>
                <a:spcPts val="0"/>
              </a:spcAft>
              <a:buClrTx/>
              <a:buSzPct val="90000"/>
              <a:tabLst/>
            </a:pPr>
            <a:r>
              <a:rPr lang="en-US" dirty="0"/>
              <a:t>Fourth level</a:t>
            </a:r>
          </a:p>
          <a:p>
            <a:pPr marL="1311144" marR="0" lvl="4" indent="-457154" algn="l" defTabSz="932649"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6302292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latin typeface="+mn-lt"/>
              </a:defRPr>
            </a:lvl1pPr>
            <a:lvl2pPr marL="426995" indent="-171433">
              <a:buFont typeface="Wingdings" panose="05000000000000000000" pitchFamily="2" charset="2"/>
              <a:buChar char=""/>
              <a:defRPr sz="2400" b="0"/>
            </a:lvl2pPr>
            <a:lvl3pPr marL="639699" indent="-188894">
              <a:buFont typeface="Wingdings" panose="05000000000000000000" pitchFamily="2" charset="2"/>
              <a:buChar char=""/>
              <a:tabLst/>
              <a:defRPr sz="2200" b="0"/>
            </a:lvl3pPr>
            <a:lvl4pPr marL="828592" indent="-176195">
              <a:buFont typeface="Wingdings" panose="05000000000000000000" pitchFamily="2" charset="2"/>
              <a:buChar char=""/>
              <a:defRPr sz="2200" b="0"/>
            </a:lvl4pPr>
            <a:lvl5pPr marL="1023836" indent="-169846">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1287"/>
            <a:ext cx="5485699" cy="2123658"/>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28" indent="-342866">
              <a:defRPr lang="en-US" sz="2400" b="0" kern="1200" spc="0" baseline="0" dirty="0">
                <a:gradFill>
                  <a:gsLst>
                    <a:gs pos="1250">
                      <a:schemeClr val="tx1"/>
                    </a:gs>
                    <a:gs pos="100000">
                      <a:schemeClr val="tx1"/>
                    </a:gs>
                  </a:gsLst>
                  <a:lin ang="5400000" scaled="0"/>
                </a:gradFill>
                <a:latin typeface="+mn-lt"/>
                <a:ea typeface="+mn-ea"/>
                <a:cs typeface="+mn-cs"/>
              </a:defRPr>
            </a:lvl2pPr>
            <a:lvl3pPr marL="793671" indent="-342866">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262" indent="-342866">
              <a:defRPr lang="en-US" sz="2200" b="0" kern="1200" spc="0" baseline="0" dirty="0">
                <a:gradFill>
                  <a:gsLst>
                    <a:gs pos="1250">
                      <a:schemeClr val="tx1"/>
                    </a:gs>
                    <a:gs pos="100000">
                      <a:schemeClr val="tx1"/>
                    </a:gs>
                  </a:gsLst>
                  <a:lin ang="5400000" scaled="0"/>
                </a:gradFill>
                <a:latin typeface="+mn-lt"/>
                <a:ea typeface="+mn-ea"/>
                <a:cs typeface="+mn-cs"/>
              </a:defRPr>
            </a:lvl4pPr>
            <a:lvl5pPr marL="1196855" indent="-342866">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6995" marR="0" lvl="1" indent="-171433"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699" marR="0" lvl="2" indent="-188894"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592" marR="0" lvl="3" indent="-176195"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836" marR="0" lvl="4" indent="-169846"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279889003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343515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8" y="1212850"/>
            <a:ext cx="11702553" cy="1868204"/>
          </a:xfrm>
        </p:spPr>
        <p:txBody>
          <a:bodyPr lIns="164592" rIns="164592"/>
          <a:lstStyle>
            <a:lvl1pPr marL="0" indent="0">
              <a:buNone/>
              <a:defRPr sz="3600">
                <a:gradFill>
                  <a:gsLst>
                    <a:gs pos="1250">
                      <a:schemeClr val="tx2"/>
                    </a:gs>
                    <a:gs pos="99000">
                      <a:schemeClr val="tx2"/>
                    </a:gs>
                  </a:gsLst>
                  <a:lin ang="5400000" scaled="0"/>
                </a:gradFill>
              </a:defRPr>
            </a:lvl1pPr>
            <a:lvl2pPr marL="0" indent="0">
              <a:buFontTx/>
              <a:buNone/>
              <a:defRPr sz="1800"/>
            </a:lvl2pPr>
            <a:lvl3pPr marL="228564" indent="0">
              <a:buNone/>
              <a:defRPr sz="1800"/>
            </a:lvl3pPr>
            <a:lvl4pPr marL="457127" indent="0">
              <a:buNone/>
              <a:defRPr sz="1600"/>
            </a:lvl4pPr>
            <a:lvl5pPr marL="685691"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273462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03" y="1434069"/>
            <a:ext cx="54857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649"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7444" y="4868863"/>
            <a:ext cx="5945207"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7" tIns="146285" rIns="182857" bIns="146285"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7444" y="1434069"/>
            <a:ext cx="5942843"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649"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8874"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03" y="3260725"/>
            <a:ext cx="54857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7444" y="4868863"/>
            <a:ext cx="5942842"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384774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50370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4813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89476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98978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378750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316" y="295275"/>
            <a:ext cx="7042334" cy="917575"/>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5120317" y="4868863"/>
            <a:ext cx="7041557" cy="1828800"/>
          </a:xfrm>
        </p:spPr>
        <p:txBody>
          <a:bodyPr wrap="square">
            <a:noAutofit/>
          </a:bodyPr>
          <a:lstStyle>
            <a:lvl1pPr marL="0" indent="0">
              <a:spcBef>
                <a:spcPts val="1800"/>
              </a:spcBef>
              <a:buNone/>
              <a:defRPr sz="2000">
                <a:latin typeface="+mn-lt"/>
              </a:defRPr>
            </a:lvl1pPr>
            <a:lvl2pPr marL="228577" indent="0">
              <a:buNone/>
              <a:defRPr/>
            </a:lvl2pPr>
            <a:lvl3pPr marL="457154" indent="0">
              <a:buNone/>
              <a:defRPr/>
            </a:lvl3pPr>
            <a:lvl4pPr marL="685731" indent="0">
              <a:buNone/>
              <a:defRPr/>
            </a:lvl4pPr>
            <a:lvl5pPr marL="914309"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067" cy="6995160"/>
          </a:xfrm>
          <a:prstGeom prst="rect">
            <a:avLst/>
          </a:prstGeom>
        </p:spPr>
      </p:pic>
    </p:spTree>
    <p:extLst>
      <p:ext uri="{BB962C8B-B14F-4D97-AF65-F5344CB8AC3E}">
        <p14:creationId xmlns:p14="http://schemas.microsoft.com/office/powerpoint/2010/main" val="304537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74291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439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2266774"/>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8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8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044432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0"/>
          </p:nvPr>
        </p:nvSpPr>
        <p:spPr>
          <a:xfrm>
            <a:off x="366168" y="1212850"/>
            <a:ext cx="11702553" cy="1868204"/>
          </a:xfrm>
        </p:spPr>
        <p:txBody>
          <a:bodyPr lIns="164592" rIns="164592"/>
          <a:lstStyle>
            <a:lvl1pPr marL="0" indent="0">
              <a:buNone/>
              <a:defRPr sz="3600">
                <a:gradFill>
                  <a:gsLst>
                    <a:gs pos="1250">
                      <a:schemeClr val="tx1"/>
                    </a:gs>
                    <a:gs pos="99000">
                      <a:schemeClr val="tx1"/>
                    </a:gs>
                  </a:gsLst>
                  <a:lin ang="5400000" scaled="0"/>
                </a:gradFill>
              </a:defRPr>
            </a:lvl1pPr>
            <a:lvl2pPr marL="0" indent="0">
              <a:buFontTx/>
              <a:buNone/>
              <a:defRPr sz="1800"/>
            </a:lvl2pPr>
            <a:lvl3pPr marL="228564" indent="0">
              <a:buNone/>
              <a:defRPr sz="1800"/>
            </a:lvl3pPr>
            <a:lvl4pPr marL="457127" indent="0">
              <a:buNone/>
              <a:defRPr sz="1600"/>
            </a:lvl4pPr>
            <a:lvl5pPr marL="685691"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086573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3954" y="479425"/>
            <a:ext cx="1436130" cy="306604"/>
          </a:xfrm>
          <a:prstGeom prst="rect">
            <a:avLst/>
          </a:prstGeom>
        </p:spPr>
      </p:pic>
    </p:spTree>
    <p:extLst>
      <p:ext uri="{BB962C8B-B14F-4D97-AF65-F5344CB8AC3E}">
        <p14:creationId xmlns:p14="http://schemas.microsoft.com/office/powerpoint/2010/main" val="3995497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0518921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1935915"/>
          </a:xfrm>
        </p:spPr>
        <p:txBody>
          <a:bodyPr wrap="square">
            <a:spAutoFit/>
          </a:bodyPr>
          <a:lstStyle>
            <a:lvl1pPr>
              <a:defRPr sz="3600">
                <a:gradFill>
                  <a:gsLst>
                    <a:gs pos="1250">
                      <a:schemeClr val="tx2"/>
                    </a:gs>
                    <a:gs pos="99000">
                      <a:schemeClr val="tx2"/>
                    </a:gs>
                  </a:gsLst>
                  <a:lin ang="5400000" scaled="0"/>
                </a:gradFill>
              </a:defRPr>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445142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1935915"/>
          </a:xfrm>
        </p:spPr>
        <p:txBody>
          <a:bodyPr wrap="square">
            <a:spAutoFit/>
          </a:bodyPr>
          <a:lstStyle>
            <a:lvl1pPr>
              <a:defRPr sz="36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74608852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1935915"/>
          </a:xfrm>
        </p:spPr>
        <p:txBody>
          <a:bodyPr wrap="square">
            <a:spAutoFit/>
          </a:bodyPr>
          <a:lstStyle>
            <a:lvl1pPr>
              <a:defRPr sz="36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
        <p:nvSpPr>
          <p:cNvPr id="5" name="TextBox 7"/>
          <p:cNvSpPr txBox="1"/>
          <p:nvPr userDrawn="1"/>
        </p:nvSpPr>
        <p:spPr bwMode="white">
          <a:xfrm>
            <a:off x="8470438"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480189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66229282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444" y="1744662"/>
            <a:ext cx="12313444" cy="1403461"/>
          </a:xfrm>
          <a:noFill/>
        </p:spPr>
        <p:txBody>
          <a:bodyPr wrap="square" tIns="91440" bIns="91440" anchor="t" anchorCtr="0">
            <a:spAutoFit/>
          </a:bodyPr>
          <a:lstStyle>
            <a:lvl1pPr algn="ct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965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84919" y="6321407"/>
            <a:ext cx="11702553" cy="501660"/>
          </a:xfrm>
          <a:prstGeom prst="rect">
            <a:avLst/>
          </a:prstGeom>
          <a:noFill/>
          <a:ln w="12700">
            <a:noFill/>
            <a:miter lim="800000"/>
            <a:headEnd type="none" w="sm" len="sm"/>
            <a:tailEnd type="none" w="sm" len="sm"/>
          </a:ln>
          <a:effectLst/>
        </p:spPr>
        <p:txBody>
          <a:bodyPr vert="horz" wrap="square" lIns="243830" tIns="195064" rIns="243830" bIns="195064" numCol="1" anchor="t" anchorCtr="0" compatLnSpc="1">
            <a:prstTxWarp prst="textNoShape">
              <a:avLst/>
            </a:prstTxWarp>
            <a:spAutoFit/>
          </a:bodyPr>
          <a:lstStyle/>
          <a:p>
            <a:pPr defTabSz="932142" eaLnBrk="0" hangingPunct="0"/>
            <a:r>
              <a:rPr lang="en-US" sz="700" dirty="0">
                <a:gradFill>
                  <a:gsLst>
                    <a:gs pos="0">
                      <a:schemeClr val="tx1"/>
                    </a:gs>
                    <a:gs pos="100000">
                      <a:schemeClr val="tx1"/>
                    </a:gs>
                  </a:gsLst>
                  <a:lin ang="5400000" scaled="0"/>
                </a:gradFill>
                <a:cs typeface="Segoe UI" pitchFamily="34" charset="0"/>
              </a:rPr>
              <a:t>© 2017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7168470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4.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66168" y="1212855"/>
            <a:ext cx="11702553" cy="26551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348515"/>
      </p:ext>
    </p:extLst>
  </p:cSld>
  <p:clrMap bg1="lt1" tx1="dk1" bg2="lt2" tx2="dk2" accent1="accent1" accent2="accent2" accent3="accent3" accent4="accent4" accent5="accent5" accent6="accent6" hlink="hlink" folHlink="folHlink"/>
  <p:sldLayoutIdLst>
    <p:sldLayoutId id="2147484618" r:id="rId1"/>
    <p:sldLayoutId id="2147484620" r:id="rId2"/>
    <p:sldLayoutId id="2147484621" r:id="rId3"/>
    <p:sldLayoutId id="2147484622" r:id="rId4"/>
    <p:sldLayoutId id="2147484623" r:id="rId5"/>
    <p:sldLayoutId id="2147484648" r:id="rId6"/>
    <p:sldLayoutId id="2147484628" r:id="rId7"/>
    <p:sldLayoutId id="2147484631" r:id="rId8"/>
    <p:sldLayoutId id="2147484640" r:id="rId9"/>
    <p:sldLayoutId id="2147484650" r:id="rId10"/>
  </p:sldLayoutIdLst>
  <p:transition>
    <p:fade/>
  </p:transition>
  <p:txStyles>
    <p:title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31">
          <p15:clr>
            <a:srgbClr val="5ACBF0"/>
          </p15:clr>
        </p15:guide>
        <p15:guide id="3" pos="999">
          <p15:clr>
            <a:srgbClr val="5ACBF0"/>
          </p15:clr>
        </p15:guide>
        <p15:guide id="4" pos="1767">
          <p15:clr>
            <a:srgbClr val="5ACBF0"/>
          </p15:clr>
        </p15:guide>
        <p15:guide id="5" pos="2535">
          <p15:clr>
            <a:srgbClr val="5ACBF0"/>
          </p15:clr>
        </p15:guide>
        <p15:guide id="6" pos="3303">
          <p15:clr>
            <a:srgbClr val="5ACBF0"/>
          </p15:clr>
        </p15:guide>
        <p15:guide id="8" pos="4070">
          <p15:clr>
            <a:srgbClr val="5ACBF0"/>
          </p15:clr>
        </p15:guide>
        <p15:guide id="9" pos="4838">
          <p15:clr>
            <a:srgbClr val="5ACBF0"/>
          </p15:clr>
        </p15:guide>
        <p15:guide id="11" pos="5606">
          <p15:clr>
            <a:srgbClr val="5ACBF0"/>
          </p15:clr>
        </p15:guide>
        <p15:guide id="12" pos="6374">
          <p15:clr>
            <a:srgbClr val="5ACBF0"/>
          </p15:clr>
        </p15:guide>
        <p15:guide id="14" pos="7142">
          <p15:clr>
            <a:srgbClr val="5ACBF0"/>
          </p15:clr>
        </p15:guide>
        <p15:guide id="15" pos="7602">
          <p15:clr>
            <a:srgbClr val="5ACBF0"/>
          </p15:clr>
        </p15:guide>
        <p15:guide id="16" pos="384">
          <p15:clr>
            <a:srgbClr val="C35EA4"/>
          </p15:clr>
        </p15:guide>
        <p15:guide id="17" pos="7449">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66168" y="1212855"/>
            <a:ext cx="11702553" cy="20374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6" r:id="rId1"/>
    <p:sldLayoutId id="2147484130" r:id="rId2"/>
    <p:sldLayoutId id="2147484290" r:id="rId3"/>
  </p:sldLayoutIdLst>
  <p:transition>
    <p:fade/>
  </p:transition>
  <p:txStyles>
    <p:title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231" userDrawn="1">
          <p15:clr>
            <a:srgbClr val="5ACBF0"/>
          </p15:clr>
        </p15:guide>
        <p15:guide id="3" pos="999" userDrawn="1">
          <p15:clr>
            <a:srgbClr val="5ACBF0"/>
          </p15:clr>
        </p15:guide>
        <p15:guide id="4" pos="1767" userDrawn="1">
          <p15:clr>
            <a:srgbClr val="5ACBF0"/>
          </p15:clr>
        </p15:guide>
        <p15:guide id="5" pos="2535" userDrawn="1">
          <p15:clr>
            <a:srgbClr val="5ACBF0"/>
          </p15:clr>
        </p15:guide>
        <p15:guide id="6" pos="3303" userDrawn="1">
          <p15:clr>
            <a:srgbClr val="5ACBF0"/>
          </p15:clr>
        </p15:guide>
        <p15:guide id="8" pos="4070" userDrawn="1">
          <p15:clr>
            <a:srgbClr val="5ACBF0"/>
          </p15:clr>
        </p15:guide>
        <p15:guide id="9" pos="4838" userDrawn="1">
          <p15:clr>
            <a:srgbClr val="5ACBF0"/>
          </p15:clr>
        </p15:guide>
        <p15:guide id="11" pos="5606" userDrawn="1">
          <p15:clr>
            <a:srgbClr val="5ACBF0"/>
          </p15:clr>
        </p15:guide>
        <p15:guide id="12" pos="6374" userDrawn="1">
          <p15:clr>
            <a:srgbClr val="5ACBF0"/>
          </p15:clr>
        </p15:guide>
        <p15:guide id="14" pos="7142" userDrawn="1">
          <p15:clr>
            <a:srgbClr val="5ACBF0"/>
          </p15:clr>
        </p15:guide>
        <p15:guide id="15" pos="7602" userDrawn="1">
          <p15:clr>
            <a:srgbClr val="5ACBF0"/>
          </p15:clr>
        </p15:guide>
        <p15:guide id="16" pos="384" userDrawn="1">
          <p15:clr>
            <a:srgbClr val="C35EA4"/>
          </p15:clr>
        </p15:guide>
        <p15:guide id="17" pos="7449"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2927849221"/>
      </p:ext>
    </p:extLst>
  </p:cSld>
  <p:clrMap bg1="dk1" tx1="lt1" bg2="dk2" tx2="lt2" accent1="accent1" accent2="accent2" accent3="accent3" accent4="accent4" accent5="accent5" accent6="accent6" hlink="hlink" folHlink="folHlink"/>
  <p:sldLayoutIdLst>
    <p:sldLayoutId id="2147484652" r:id="rId1"/>
    <p:sldLayoutId id="2147484653" r:id="rId2"/>
    <p:sldLayoutId id="2147484654" r:id="rId3"/>
    <p:sldLayoutId id="2147484655" r:id="rId4"/>
    <p:sldLayoutId id="2147484656" r:id="rId5"/>
    <p:sldLayoutId id="2147484657" r:id="rId6"/>
    <p:sldLayoutId id="2147484658" r:id="rId7"/>
    <p:sldLayoutId id="2147484659" r:id="rId8"/>
    <p:sldLayoutId id="2147484660" r:id="rId9"/>
    <p:sldLayoutId id="2147484661" r:id="rId10"/>
    <p:sldLayoutId id="2147484662" r:id="rId11"/>
    <p:sldLayoutId id="2147484663" r:id="rId12"/>
    <p:sldLayoutId id="2147484664" r:id="rId13"/>
    <p:sldLayoutId id="2147484665" r:id="rId14"/>
    <p:sldLayoutId id="2147484666" r:id="rId15"/>
    <p:sldLayoutId id="2147484667" r:id="rId16"/>
    <p:sldLayoutId id="2147484668" r:id="rId17"/>
    <p:sldLayoutId id="2147484669" r:id="rId18"/>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3.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93.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92.emf"/><Relationship Id="rId5" Type="http://schemas.openxmlformats.org/officeDocument/2006/relationships/oleObject" Target="../embeddings/oleObject1.bin"/><Relationship Id="rId4" Type="http://schemas.openxmlformats.org/officeDocument/2006/relationships/notesSlide" Target="../notesSlides/notesSlide104.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9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92.emf"/><Relationship Id="rId5" Type="http://schemas.openxmlformats.org/officeDocument/2006/relationships/oleObject" Target="../embeddings/oleObject2.bin"/><Relationship Id="rId4" Type="http://schemas.openxmlformats.org/officeDocument/2006/relationships/notesSlide" Target="../notesSlides/notesSlide105.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9.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0.xml"/></Relationships>
</file>

<file path=ppt/slides/_rels/slide109.xml.rels><?xml version="1.0" encoding="UTF-8" standalone="yes"?>
<Relationships xmlns="http://schemas.openxmlformats.org/package/2006/relationships"><Relationship Id="rId3" Type="http://schemas.openxmlformats.org/officeDocument/2006/relationships/hyperlink" Target="http://aka.ms/Azure/ADAL" TargetMode="External"/><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aka.ms/azure/ad/licensing"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195.png"/><Relationship Id="rId5" Type="http://schemas.openxmlformats.org/officeDocument/2006/relationships/hyperlink" Target="https://graph.microsoft.io/en-us/graph-explorer" TargetMode="External"/><Relationship Id="rId4" Type="http://schemas.openxmlformats.org/officeDocument/2006/relationships/hyperlink" Target="http://aka.ms/MSGraph" TargetMode="External"/></Relationships>
</file>

<file path=ppt/slides/_rels/slide111.xml.rels><?xml version="1.0" encoding="UTF-8" standalone="yes"?>
<Relationships xmlns="http://schemas.openxmlformats.org/package/2006/relationships"><Relationship Id="rId3" Type="http://schemas.openxmlformats.org/officeDocument/2006/relationships/hyperlink" Target="http://aka.ms/Azure/MSAL" TargetMode="External"/><Relationship Id="rId2" Type="http://schemas.openxmlformats.org/officeDocument/2006/relationships/notesSlide" Target="../notesSlides/notesSlide111.xml"/><Relationship Id="rId1" Type="http://schemas.openxmlformats.org/officeDocument/2006/relationships/slideLayout" Target="../slideLayouts/slideLayout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hyperlink" Target="https://azure.microsoft.com/documentation/articles/active-directory-aadconnect-dirsync-upgrade-get-started/" TargetMode="External"/><Relationship Id="rId2" Type="http://schemas.openxmlformats.org/officeDocument/2006/relationships/notesSlide" Target="../notesSlides/notesSlide113.xml"/><Relationship Id="rId1" Type="http://schemas.openxmlformats.org/officeDocument/2006/relationships/slideLayout" Target="../slideLayouts/slideLayout2.xml"/><Relationship Id="rId4" Type="http://schemas.openxmlformats.org/officeDocument/2006/relationships/hyperlink" Target="https://azure.microsoft.com/en-us/documentation/articles/active-directory-aadconnect-upgrade-previous-version/" TargetMode="Externa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15.xml"/><Relationship Id="rId1" Type="http://schemas.openxmlformats.org/officeDocument/2006/relationships/slideLayout" Target="../slideLayouts/slideLayout6.xml"/><Relationship Id="rId6" Type="http://schemas.openxmlformats.org/officeDocument/2006/relationships/image" Target="../media/image199.emf"/><Relationship Id="rId5" Type="http://schemas.openxmlformats.org/officeDocument/2006/relationships/image" Target="../media/image198.emf"/><Relationship Id="rId4" Type="http://schemas.openxmlformats.org/officeDocument/2006/relationships/image" Target="../media/image197.emf"/></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3" Type="http://schemas.openxmlformats.org/officeDocument/2006/relationships/image" Target="../media/image197.emf"/><Relationship Id="rId2" Type="http://schemas.openxmlformats.org/officeDocument/2006/relationships/notesSlide" Target="../notesSlides/notesSlide117.xml"/><Relationship Id="rId1" Type="http://schemas.openxmlformats.org/officeDocument/2006/relationships/slideLayout" Target="../slideLayouts/slideLayout6.xml"/><Relationship Id="rId6" Type="http://schemas.openxmlformats.org/officeDocument/2006/relationships/image" Target="../media/image199.emf"/><Relationship Id="rId5" Type="http://schemas.openxmlformats.org/officeDocument/2006/relationships/image" Target="../media/image200.emf"/><Relationship Id="rId4" Type="http://schemas.openxmlformats.org/officeDocument/2006/relationships/image" Target="../media/image198.emf"/></Relationships>
</file>

<file path=ppt/slides/_rels/slide118.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18.xml"/><Relationship Id="rId1" Type="http://schemas.openxmlformats.org/officeDocument/2006/relationships/slideLayout" Target="../slideLayouts/slideLayout6.xml"/><Relationship Id="rId5" Type="http://schemas.openxmlformats.org/officeDocument/2006/relationships/image" Target="../media/image203.png"/><Relationship Id="rId4" Type="http://schemas.openxmlformats.org/officeDocument/2006/relationships/image" Target="../media/image202.png"/></Relationships>
</file>

<file path=ppt/slides/_rels/slide119.xml.rels><?xml version="1.0" encoding="UTF-8" standalone="yes"?>
<Relationships xmlns="http://schemas.openxmlformats.org/package/2006/relationships"><Relationship Id="rId3" Type="http://schemas.openxmlformats.org/officeDocument/2006/relationships/hyperlink" Target="http://myapps.microsoft.com/" TargetMode="External"/><Relationship Id="rId2" Type="http://schemas.openxmlformats.org/officeDocument/2006/relationships/notesSlide" Target="../notesSlides/notesSlide11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image" Target="../media/image58.jpg"/><Relationship Id="rId7"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61.png"/><Relationship Id="rId5" Type="http://schemas.openxmlformats.org/officeDocument/2006/relationships/image" Target="../media/image60.jpg"/><Relationship Id="rId10" Type="http://schemas.openxmlformats.org/officeDocument/2006/relationships/hyperlink" Target="http://aka.ms/Azure/Protocols" TargetMode="External"/><Relationship Id="rId4" Type="http://schemas.openxmlformats.org/officeDocument/2006/relationships/image" Target="../media/image59.png"/><Relationship Id="rId9" Type="http://schemas.openxmlformats.org/officeDocument/2006/relationships/hyperlink" Target="http://aka.ms/Azure/Authentication" TargetMode="Externa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8.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22.xml"/><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23.xml"/><Relationship Id="rId1" Type="http://schemas.openxmlformats.org/officeDocument/2006/relationships/slideLayout" Target="../slideLayouts/slideLayout5.xml"/><Relationship Id="rId4" Type="http://schemas.openxmlformats.org/officeDocument/2006/relationships/image" Target="../media/image206.png"/></Relationships>
</file>

<file path=ppt/slides/_rels/slide124.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24.xml"/><Relationship Id="rId1" Type="http://schemas.openxmlformats.org/officeDocument/2006/relationships/slideLayout" Target="../slideLayouts/slideLayout5.xml"/><Relationship Id="rId5" Type="http://schemas.openxmlformats.org/officeDocument/2006/relationships/image" Target="../media/image209.png"/><Relationship Id="rId4" Type="http://schemas.openxmlformats.org/officeDocument/2006/relationships/image" Target="../media/image208.png"/></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8.xml"/></Relationships>
</file>

<file path=ppt/slides/_rels/slide12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26.xml"/><Relationship Id="rId1" Type="http://schemas.openxmlformats.org/officeDocument/2006/relationships/slideLayout" Target="../slideLayouts/slideLayout5.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5.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5.xml"/></Relationships>
</file>

<file path=ppt/slides/_rels/slide129.xml.rels><?xml version="1.0" encoding="UTF-8" standalone="yes"?>
<Relationships xmlns="http://schemas.openxmlformats.org/package/2006/relationships"><Relationship Id="rId8" Type="http://schemas.openxmlformats.org/officeDocument/2006/relationships/image" Target="../media/image216.png"/><Relationship Id="rId13" Type="http://schemas.openxmlformats.org/officeDocument/2006/relationships/image" Target="../media/image221.png"/><Relationship Id="rId3" Type="http://schemas.openxmlformats.org/officeDocument/2006/relationships/image" Target="../media/image211.png"/><Relationship Id="rId7" Type="http://schemas.openxmlformats.org/officeDocument/2006/relationships/image" Target="../media/image215.png"/><Relationship Id="rId12" Type="http://schemas.openxmlformats.org/officeDocument/2006/relationships/image" Target="../media/image220.png"/><Relationship Id="rId2" Type="http://schemas.openxmlformats.org/officeDocument/2006/relationships/notesSlide" Target="../notesSlides/notesSlide129.xml"/><Relationship Id="rId1" Type="http://schemas.openxmlformats.org/officeDocument/2006/relationships/slideLayout" Target="../slideLayouts/slideLayout5.xml"/><Relationship Id="rId6" Type="http://schemas.openxmlformats.org/officeDocument/2006/relationships/image" Target="../media/image214.png"/><Relationship Id="rId11" Type="http://schemas.openxmlformats.org/officeDocument/2006/relationships/image" Target="../media/image219.png"/><Relationship Id="rId5" Type="http://schemas.openxmlformats.org/officeDocument/2006/relationships/image" Target="../media/image213.png"/><Relationship Id="rId10" Type="http://schemas.openxmlformats.org/officeDocument/2006/relationships/image" Target="../media/image218.png"/><Relationship Id="rId4" Type="http://schemas.openxmlformats.org/officeDocument/2006/relationships/image" Target="../media/image212.png"/><Relationship Id="rId9" Type="http://schemas.openxmlformats.org/officeDocument/2006/relationships/image" Target="../media/image217.png"/><Relationship Id="rId14" Type="http://schemas.openxmlformats.org/officeDocument/2006/relationships/hyperlink" Target="https://azure.microsoft.com/documentation/articles/active-directory-scim-provisioning/"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5.xml"/></Relationships>
</file>

<file path=ppt/slides/_rels/slide131.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31.xml"/><Relationship Id="rId1" Type="http://schemas.openxmlformats.org/officeDocument/2006/relationships/slideLayout" Target="../slideLayouts/slideLayout5.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2.xml"/></Relationships>
</file>

<file path=ppt/slides/_rels/slide133.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33.xml"/><Relationship Id="rId1" Type="http://schemas.openxmlformats.org/officeDocument/2006/relationships/slideLayout" Target="../slideLayouts/slideLayout5.xml"/></Relationships>
</file>

<file path=ppt/slides/_rels/slide134.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34.xml"/><Relationship Id="rId1" Type="http://schemas.openxmlformats.org/officeDocument/2006/relationships/slideLayout" Target="../slideLayouts/slideLayout5.xml"/></Relationships>
</file>

<file path=ppt/slides/_rels/slide135.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35.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hyperlink" Target="https://azure.microsoft.com/marketplace/active-directory/" TargetMode="External"/><Relationship Id="rId2" Type="http://schemas.openxmlformats.org/officeDocument/2006/relationships/notesSlide" Target="../notesSlides/notesSlide136.xml"/><Relationship Id="rId1" Type="http://schemas.openxmlformats.org/officeDocument/2006/relationships/slideLayout" Target="../slideLayouts/slideLayout5.xml"/><Relationship Id="rId6" Type="http://schemas.openxmlformats.org/officeDocument/2006/relationships/hyperlink" Target="https://azure.microsoft.com/documentation/articles/active-directory-saas-tutorial-list/" TargetMode="External"/><Relationship Id="rId5" Type="http://schemas.openxmlformats.org/officeDocument/2006/relationships/hyperlink" Target="https://aadappgallery.azurewebsites.net/Default.aspx?Microsoft_Integrated_Synchronization=on&amp;User_Integrated=on&amp;Microsoft_Integrated_FedSSO=on" TargetMode="External"/><Relationship Id="rId4" Type="http://schemas.openxmlformats.org/officeDocument/2006/relationships/hyperlink" Target="https://aadappgallery.azurewebsites.net/" TargetMode="Externa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8.xml"/></Relationships>
</file>

<file path=ppt/slides/_rels/slide138.xml.rels><?xml version="1.0" encoding="UTF-8" standalone="yes"?>
<Relationships xmlns="http://schemas.openxmlformats.org/package/2006/relationships"><Relationship Id="rId3" Type="http://schemas.openxmlformats.org/officeDocument/2006/relationships/hyperlink" Target="https://azure.microsoft.com/en-us/documentation/articles/active-directory-saas-custom-apps/" TargetMode="External"/><Relationship Id="rId2" Type="http://schemas.openxmlformats.org/officeDocument/2006/relationships/notesSlide" Target="../notesSlides/notesSlide138.xml"/><Relationship Id="rId1" Type="http://schemas.openxmlformats.org/officeDocument/2006/relationships/slideLayout" Target="../slideLayouts/slideLayout5.xml"/><Relationship Id="rId5" Type="http://schemas.openxmlformats.org/officeDocument/2006/relationships/hyperlink" Target="http://aka.ms/aadapprequest" TargetMode="External"/><Relationship Id="rId4" Type="http://schemas.openxmlformats.org/officeDocument/2006/relationships/hyperlink" Target="https://azure.microsoft.com/en-us/documentation/articles/active-directory-authentication-scenarios/"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225.emf"/><Relationship Id="rId7" Type="http://schemas.openxmlformats.org/officeDocument/2006/relationships/image" Target="../media/image229.emf"/><Relationship Id="rId2" Type="http://schemas.openxmlformats.org/officeDocument/2006/relationships/notesSlide" Target="../notesSlides/notesSlide139.xml"/><Relationship Id="rId1" Type="http://schemas.openxmlformats.org/officeDocument/2006/relationships/slideLayout" Target="../slideLayouts/slideLayout5.xml"/><Relationship Id="rId6" Type="http://schemas.openxmlformats.org/officeDocument/2006/relationships/image" Target="../media/image228.png"/><Relationship Id="rId5" Type="http://schemas.openxmlformats.org/officeDocument/2006/relationships/image" Target="../media/image227.png"/><Relationship Id="rId4" Type="http://schemas.openxmlformats.org/officeDocument/2006/relationships/image" Target="../media/image226.emf"/></Relationships>
</file>

<file path=ppt/slides/_rels/slide14.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jpeg"/></Relationships>
</file>

<file path=ppt/slides/_rels/slide140.xml.rels><?xml version="1.0" encoding="UTF-8" standalone="yes"?>
<Relationships xmlns="http://schemas.openxmlformats.org/package/2006/relationships"><Relationship Id="rId8" Type="http://schemas.openxmlformats.org/officeDocument/2006/relationships/image" Target="../media/image233.emf"/><Relationship Id="rId3" Type="http://schemas.openxmlformats.org/officeDocument/2006/relationships/image" Target="../media/image229.emf"/><Relationship Id="rId7" Type="http://schemas.openxmlformats.org/officeDocument/2006/relationships/image" Target="../media/image232.emf"/><Relationship Id="rId2" Type="http://schemas.openxmlformats.org/officeDocument/2006/relationships/notesSlide" Target="../notesSlides/notesSlide140.xml"/><Relationship Id="rId1" Type="http://schemas.openxmlformats.org/officeDocument/2006/relationships/slideLayout" Target="../slideLayouts/slideLayout5.xml"/><Relationship Id="rId6" Type="http://schemas.openxmlformats.org/officeDocument/2006/relationships/image" Target="../media/image93.emf"/><Relationship Id="rId5" Type="http://schemas.openxmlformats.org/officeDocument/2006/relationships/image" Target="../media/image231.png"/><Relationship Id="rId4" Type="http://schemas.openxmlformats.org/officeDocument/2006/relationships/image" Target="../media/image230.png"/><Relationship Id="rId9" Type="http://schemas.openxmlformats.org/officeDocument/2006/relationships/image" Target="../media/image234.png"/></Relationships>
</file>

<file path=ppt/slides/_rels/slide141.xml.rels><?xml version="1.0" encoding="UTF-8" standalone="yes"?>
<Relationships xmlns="http://schemas.openxmlformats.org/package/2006/relationships"><Relationship Id="rId3" Type="http://schemas.openxmlformats.org/officeDocument/2006/relationships/image" Target="../media/image229.emf"/><Relationship Id="rId2" Type="http://schemas.openxmlformats.org/officeDocument/2006/relationships/notesSlide" Target="../notesSlides/notesSlide141.xml"/><Relationship Id="rId1" Type="http://schemas.openxmlformats.org/officeDocument/2006/relationships/slideLayout" Target="../slideLayouts/slideLayout5.xml"/><Relationship Id="rId6" Type="http://schemas.openxmlformats.org/officeDocument/2006/relationships/image" Target="../media/image237.emf"/><Relationship Id="rId5" Type="http://schemas.openxmlformats.org/officeDocument/2006/relationships/image" Target="../media/image236.emf"/><Relationship Id="rId4" Type="http://schemas.openxmlformats.org/officeDocument/2006/relationships/image" Target="../media/image235.png"/></Relationships>
</file>

<file path=ppt/slides/_rels/slide142.xml.rels><?xml version="1.0" encoding="UTF-8" standalone="yes"?>
<Relationships xmlns="http://schemas.openxmlformats.org/package/2006/relationships"><Relationship Id="rId3" Type="http://schemas.openxmlformats.org/officeDocument/2006/relationships/image" Target="../media/image229.emf"/><Relationship Id="rId2" Type="http://schemas.openxmlformats.org/officeDocument/2006/relationships/notesSlide" Target="../notesSlides/notesSlide142.xml"/><Relationship Id="rId1" Type="http://schemas.openxmlformats.org/officeDocument/2006/relationships/slideLayout" Target="../slideLayouts/slideLayout5.xml"/><Relationship Id="rId5" Type="http://schemas.openxmlformats.org/officeDocument/2006/relationships/image" Target="../media/image239.tiff"/><Relationship Id="rId4" Type="http://schemas.openxmlformats.org/officeDocument/2006/relationships/image" Target="../media/image238.emf"/></Relationships>
</file>

<file path=ppt/slides/_rels/slide143.xml.rels><?xml version="1.0" encoding="UTF-8" standalone="yes"?>
<Relationships xmlns="http://schemas.openxmlformats.org/package/2006/relationships"><Relationship Id="rId3" Type="http://schemas.openxmlformats.org/officeDocument/2006/relationships/image" Target="../media/image240.tiff"/><Relationship Id="rId2" Type="http://schemas.openxmlformats.org/officeDocument/2006/relationships/notesSlide" Target="../notesSlides/notesSlide143.xml"/><Relationship Id="rId1" Type="http://schemas.openxmlformats.org/officeDocument/2006/relationships/slideLayout" Target="../slideLayouts/slideLayout5.xml"/><Relationship Id="rId6" Type="http://schemas.openxmlformats.org/officeDocument/2006/relationships/image" Target="../media/image243.tiff"/><Relationship Id="rId5" Type="http://schemas.openxmlformats.org/officeDocument/2006/relationships/image" Target="../media/image242.tiff"/><Relationship Id="rId4" Type="http://schemas.openxmlformats.org/officeDocument/2006/relationships/image" Target="../media/image241.tiff"/></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44.xml"/><Relationship Id="rId7" Type="http://schemas.openxmlformats.org/officeDocument/2006/relationships/image" Target="../media/image246.png"/><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89.png"/><Relationship Id="rId5" Type="http://schemas.openxmlformats.org/officeDocument/2006/relationships/image" Target="../media/image245.png"/><Relationship Id="rId4" Type="http://schemas.openxmlformats.org/officeDocument/2006/relationships/image" Target="../media/image244.png"/></Relationships>
</file>

<file path=ppt/slides/_rels/slide145.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45.xml"/><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46.xml"/><Relationship Id="rId1" Type="http://schemas.openxmlformats.org/officeDocument/2006/relationships/slideLayout" Target="../slideLayouts/slideLayout5.xml"/></Relationships>
</file>

<file path=ppt/slides/_rels/slide14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47.xml"/><Relationship Id="rId1" Type="http://schemas.openxmlformats.org/officeDocument/2006/relationships/slideLayout" Target="../slideLayouts/slideLayout5.xml"/><Relationship Id="rId4" Type="http://schemas.openxmlformats.org/officeDocument/2006/relationships/image" Target="../media/image85.emf"/></Relationships>
</file>

<file path=ppt/slides/_rels/slide148.xml.rels><?xml version="1.0" encoding="UTF-8" standalone="yes"?>
<Relationships xmlns="http://schemas.openxmlformats.org/package/2006/relationships"><Relationship Id="rId8" Type="http://schemas.openxmlformats.org/officeDocument/2006/relationships/image" Target="../media/image252.emf"/><Relationship Id="rId3" Type="http://schemas.openxmlformats.org/officeDocument/2006/relationships/image" Target="../media/image248.png"/><Relationship Id="rId7" Type="http://schemas.openxmlformats.org/officeDocument/2006/relationships/image" Target="../media/image251.emf"/><Relationship Id="rId2" Type="http://schemas.openxmlformats.org/officeDocument/2006/relationships/notesSlide" Target="../notesSlides/notesSlide148.xml"/><Relationship Id="rId1" Type="http://schemas.openxmlformats.org/officeDocument/2006/relationships/slideLayout" Target="../slideLayouts/slideLayout6.xml"/><Relationship Id="rId6" Type="http://schemas.openxmlformats.org/officeDocument/2006/relationships/image" Target="../media/image250.png"/><Relationship Id="rId5" Type="http://schemas.openxmlformats.org/officeDocument/2006/relationships/image" Target="../media/image249.png"/><Relationship Id="rId4" Type="http://schemas.openxmlformats.org/officeDocument/2006/relationships/image" Target="../media/image89.png"/></Relationships>
</file>

<file path=ppt/slides/_rels/slide15.xml.rels><?xml version="1.0" encoding="UTF-8" standalone="yes"?>
<Relationships xmlns="http://schemas.openxmlformats.org/package/2006/relationships"><Relationship Id="rId3" Type="http://schemas.openxmlformats.org/officeDocument/2006/relationships/hyperlink" Target="http://aka.ms/Azure/MSI"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16.xml.rels><?xml version="1.0" encoding="UTF-8" standalone="yes"?>
<Relationships xmlns="http://schemas.openxmlformats.org/package/2006/relationships"><Relationship Id="rId3" Type="http://schemas.openxmlformats.org/officeDocument/2006/relationships/hyperlink" Target="http://aka.ms/Azure/GraphAPI"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71.png"/><Relationship Id="rId4" Type="http://schemas.openxmlformats.org/officeDocument/2006/relationships/hyperlink" Target="https://resources.azure.co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en-us/azure/active-directory/active-directory-users-assign-role-azure-portal"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72.png"/><Relationship Id="rId5" Type="http://schemas.openxmlformats.org/officeDocument/2006/relationships/hyperlink" Target="http://aka.ms/Azure/RBAC" TargetMode="External"/><Relationship Id="rId4" Type="http://schemas.openxmlformats.org/officeDocument/2006/relationships/hyperlink" Target="http://aka.ms/Azure/Administration"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slide" Target="slide23.xml"/><Relationship Id="rId26" Type="http://schemas.openxmlformats.org/officeDocument/2006/relationships/slide" Target="slide61.xml"/><Relationship Id="rId3" Type="http://schemas.openxmlformats.org/officeDocument/2006/relationships/image" Target="../media/image10.png"/><Relationship Id="rId21" Type="http://schemas.openxmlformats.org/officeDocument/2006/relationships/slide" Target="slide40.xml"/><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slide" Target="slide3.xml"/><Relationship Id="rId25" Type="http://schemas.openxmlformats.org/officeDocument/2006/relationships/slide" Target="slide57.xml"/><Relationship Id="rId2" Type="http://schemas.openxmlformats.org/officeDocument/2006/relationships/notesSlide" Target="../notesSlides/notesSlide2.xml"/><Relationship Id="rId16" Type="http://schemas.openxmlformats.org/officeDocument/2006/relationships/image" Target="../media/image23.png"/><Relationship Id="rId20" Type="http://schemas.openxmlformats.org/officeDocument/2006/relationships/slide" Target="slide37.xml"/><Relationship Id="rId29" Type="http://schemas.openxmlformats.org/officeDocument/2006/relationships/slide" Target="slide73.xml"/><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slide" Target="slide55.xml"/><Relationship Id="rId5" Type="http://schemas.openxmlformats.org/officeDocument/2006/relationships/image" Target="../media/image12.png"/><Relationship Id="rId15" Type="http://schemas.openxmlformats.org/officeDocument/2006/relationships/image" Target="../media/image22.png"/><Relationship Id="rId23" Type="http://schemas.openxmlformats.org/officeDocument/2006/relationships/slide" Target="slide50.xml"/><Relationship Id="rId28" Type="http://schemas.openxmlformats.org/officeDocument/2006/relationships/slide" Target="slide69.xml"/><Relationship Id="rId10" Type="http://schemas.openxmlformats.org/officeDocument/2006/relationships/image" Target="../media/image17.png"/><Relationship Id="rId19" Type="http://schemas.openxmlformats.org/officeDocument/2006/relationships/slide" Target="slide30.xml"/><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slide" Target="slide46.xml"/><Relationship Id="rId27" Type="http://schemas.openxmlformats.org/officeDocument/2006/relationships/slide" Target="slide66.xml"/></Relationships>
</file>

<file path=ppt/slides/_rels/slide20.xml.rels><?xml version="1.0" encoding="UTF-8" standalone="yes"?>
<Relationships xmlns="http://schemas.openxmlformats.org/package/2006/relationships"><Relationship Id="rId3" Type="http://schemas.openxmlformats.org/officeDocument/2006/relationships/image" Target="../media/image74.png&amp;ehk=dkQG51rzsR8N5cxE0vrVVw&amp;r=0&amp;pid=OfficeInsert"/><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hyperlink" Target="https://portal.azure.com/" TargetMode="External"/><Relationship Id="rId4" Type="http://schemas.openxmlformats.org/officeDocument/2006/relationships/image" Target="../media/image75.png"/></Relationships>
</file>

<file path=ppt/slides/_rels/slide21.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77.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user-signin#user-sign-in-and-user-principal-name"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topologies#office-365-and-topology-considerations" TargetMode="External"/><Relationship Id="rId7" Type="http://schemas.openxmlformats.org/officeDocument/2006/relationships/image" Target="../media/image81.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hyperlink" Target="https://docs.microsoft.com/en-us/azure/active-directory/connect/active-directory-aadconnect-topologies" TargetMode="External"/><Relationship Id="rId5" Type="http://schemas.openxmlformats.org/officeDocument/2006/relationships/image" Target="../media/image80.png"/><Relationship Id="rId4" Type="http://schemas.openxmlformats.org/officeDocument/2006/relationships/image" Target="../media/image78.png"/></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topologies#multiple-azure-ad-tenants"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azure-adfs" TargetMode="External"/><Relationship Id="rId2" Type="http://schemas.openxmlformats.org/officeDocument/2006/relationships/notesSlide" Target="../notesSlides/notesSlide31.xml"/><Relationship Id="rId1" Type="http://schemas.openxmlformats.org/officeDocument/2006/relationships/slideLayout" Target="../slideLayouts/slideLayout11.xml"/><Relationship Id="rId5" Type="http://schemas.openxmlformats.org/officeDocument/2006/relationships/image" Target="../media/image83.png"/><Relationship Id="rId4" Type="http://schemas.openxmlformats.org/officeDocument/2006/relationships/hyperlink" Target="http://aka.ms/ADFSLinks"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32.xml"/><Relationship Id="rId7" Type="http://schemas.openxmlformats.org/officeDocument/2006/relationships/image" Target="../media/image87.png"/><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image" Target="../media/image86.png"/><Relationship Id="rId5" Type="http://schemas.openxmlformats.org/officeDocument/2006/relationships/image" Target="../media/image85.emf"/><Relationship Id="rId4" Type="http://schemas.openxmlformats.org/officeDocument/2006/relationships/image" Target="../media/image84.emf"/></Relationships>
</file>

<file path=ppt/slides/_rels/slide33.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hyperlink" Target="https://docs.microsoft.com/en-us/windows-server/identity/ad-fs/operations/configure-ad-fs-to-authenticate-users-stored-in-ldap-directories" TargetMode="External"/><Relationship Id="rId7" Type="http://schemas.openxmlformats.org/officeDocument/2006/relationships/image" Target="../media/image92.emf"/><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image" Target="../media/image91.emf"/><Relationship Id="rId5" Type="http://schemas.openxmlformats.org/officeDocument/2006/relationships/image" Target="../media/image90.emf"/><Relationship Id="rId4" Type="http://schemas.openxmlformats.org/officeDocument/2006/relationships/image" Target="../media/image89.png"/></Relationships>
</file>

<file path=ppt/slides/_rels/slide3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4.xml"/><Relationship Id="rId1" Type="http://schemas.openxmlformats.org/officeDocument/2006/relationships/slideLayout" Target="../slideLayouts/slideLayout11.xml"/><Relationship Id="rId5" Type="http://schemas.openxmlformats.org/officeDocument/2006/relationships/hyperlink" Target="http://help" TargetMode="External"/><Relationship Id="rId4" Type="http://schemas.openxmlformats.org/officeDocument/2006/relationships/hyperlink" Target="https://aka.ms/adfshelp"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5.xml"/><Relationship Id="rId1" Type="http://schemas.openxmlformats.org/officeDocument/2006/relationships/slideLayout" Target="../slideLayouts/slideLayout11.xml"/><Relationship Id="rId5" Type="http://schemas.openxmlformats.org/officeDocument/2006/relationships/hyperlink" Target="http://aka.ms/Identity/PTA" TargetMode="External"/><Relationship Id="rId4" Type="http://schemas.openxmlformats.org/officeDocument/2006/relationships/image" Target="../media/image24.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image" Target="../media/image96.emf"/><Relationship Id="rId5" Type="http://schemas.openxmlformats.org/officeDocument/2006/relationships/image" Target="../media/image99.png"/><Relationship Id="rId4" Type="http://schemas.openxmlformats.org/officeDocument/2006/relationships/image" Target="../media/image98.png"/></Relationships>
</file>

<file path=ppt/slides/_rels/slide39.xml.rels><?xml version="1.0" encoding="UTF-8" standalone="yes"?>
<Relationships xmlns="http://schemas.openxmlformats.org/package/2006/relationships"><Relationship Id="rId3" Type="http://schemas.openxmlformats.org/officeDocument/2006/relationships/hyperlink" Target="https://www.microsoft.com/en-us/cloud-platform/azure-active-directory-features" TargetMode="External"/><Relationship Id="rId2" Type="http://schemas.openxmlformats.org/officeDocument/2006/relationships/notesSlide" Target="../notesSlides/notesSlide39.xml"/><Relationship Id="rId1" Type="http://schemas.openxmlformats.org/officeDocument/2006/relationships/slideLayout" Target="../slideLayouts/slideLayout6.xml"/><Relationship Id="rId4" Type="http://schemas.openxmlformats.org/officeDocument/2006/relationships/hyperlink" Target="http://testport.cloudapp.net/"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chart" Target="../charts/chart3.xml"/><Relationship Id="rId4" Type="http://schemas.openxmlformats.org/officeDocument/2006/relationships/chart" Target="../charts/chart2.xml"/></Relationships>
</file>

<file path=ppt/slides/_rels/slide4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3.xml"/><Relationship Id="rId1" Type="http://schemas.openxmlformats.org/officeDocument/2006/relationships/slideLayout" Target="../slideLayouts/slideLayout5.xml"/><Relationship Id="rId4" Type="http://schemas.openxmlformats.org/officeDocument/2006/relationships/image" Target="../media/image103.png"/></Relationships>
</file>

<file path=ppt/slides/_rels/slide4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7.xml"/><Relationship Id="rId1" Type="http://schemas.openxmlformats.org/officeDocument/2006/relationships/slideLayout" Target="../slideLayouts/slideLayout5.xml"/><Relationship Id="rId5" Type="http://schemas.openxmlformats.org/officeDocument/2006/relationships/hyperlink" Target="https://aka.ms/azure/aadip" TargetMode="External"/><Relationship Id="rId4" Type="http://schemas.openxmlformats.org/officeDocument/2006/relationships/image" Target="../media/image108.png"/></Relationships>
</file>

<file path=ppt/slides/_rels/slide48.xml.rels><?xml version="1.0" encoding="UTF-8" standalone="yes"?>
<Relationships xmlns="http://schemas.openxmlformats.org/package/2006/relationships"><Relationship Id="rId8" Type="http://schemas.openxmlformats.org/officeDocument/2006/relationships/hyperlink" Target="https://azure.microsoft.com/en-us/documentation/articles/active-directory-identityprotection-notifications/" TargetMode="External"/><Relationship Id="rId3" Type="http://schemas.openxmlformats.org/officeDocument/2006/relationships/hyperlink" Target="https://azure.microsoft.com/en-us/documentation/articles/active-directory-identityprotection-risk-events-types/" TargetMode="External"/><Relationship Id="rId7" Type="http://schemas.openxmlformats.org/officeDocument/2006/relationships/hyperlink" Target="https://azure.microsoft.com/en-us/documentation/articles/active-directory-identityprotection/#multi-factor-authentication-registration-policy" TargetMode="External"/><Relationship Id="rId2" Type="http://schemas.openxmlformats.org/officeDocument/2006/relationships/notesSlide" Target="../notesSlides/notesSlide48.xml"/><Relationship Id="rId1" Type="http://schemas.openxmlformats.org/officeDocument/2006/relationships/slideLayout" Target="../slideLayouts/slideLayout4.xml"/><Relationship Id="rId6" Type="http://schemas.openxmlformats.org/officeDocument/2006/relationships/hyperlink" Target="https://azure.microsoft.com/en-us/documentation/articles/active-directory-identityprotection/#sign-in-risk-security-policy" TargetMode="External"/><Relationship Id="rId5" Type="http://schemas.openxmlformats.org/officeDocument/2006/relationships/hyperlink" Target="https://azure.microsoft.com/en-us/documentation/articles/active-directory-identityprotection/#user-risk-security-policy" TargetMode="External"/><Relationship Id="rId4" Type="http://schemas.openxmlformats.org/officeDocument/2006/relationships/hyperlink" Target="https://azure.microsoft.com/en-us/documentation/articles/active-directory-identityprotection-vulnerabilities/" TargetMode="External"/><Relationship Id="rId9" Type="http://schemas.openxmlformats.org/officeDocument/2006/relationships/image" Target="../media/image109.png"/></Relationships>
</file>

<file path=ppt/slides/_rels/slide4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9.xml"/><Relationship Id="rId1" Type="http://schemas.openxmlformats.org/officeDocument/2006/relationships/slideLayout" Target="../slideLayouts/slideLayout5.xml"/><Relationship Id="rId4" Type="http://schemas.openxmlformats.org/officeDocument/2006/relationships/image" Target="../media/image111.pn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13" Type="http://schemas.microsoft.com/office/2007/relationships/hdphoto" Target="../media/hdphoto1.wdp"/><Relationship Id="rId3" Type="http://schemas.openxmlformats.org/officeDocument/2006/relationships/image" Target="../media/image24.emf"/><Relationship Id="rId7" Type="http://schemas.openxmlformats.org/officeDocument/2006/relationships/image" Target="../media/image28.png"/><Relationship Id="rId12" Type="http://schemas.openxmlformats.org/officeDocument/2006/relationships/image" Target="../media/image33.png"/><Relationship Id="rId17" Type="http://schemas.microsoft.com/office/2007/relationships/hdphoto" Target="../media/hdphoto2.wdp"/><Relationship Id="rId2" Type="http://schemas.openxmlformats.org/officeDocument/2006/relationships/notesSlide" Target="../notesSlides/notesSlide5.xml"/><Relationship Id="rId16"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jpg"/><Relationship Id="rId15" Type="http://schemas.openxmlformats.org/officeDocument/2006/relationships/image" Target="../media/image35.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4.png"/></Relationships>
</file>

<file path=ppt/slides/_rels/slide5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0.xml"/><Relationship Id="rId1" Type="http://schemas.openxmlformats.org/officeDocument/2006/relationships/slideLayout" Target="../slideLayouts/slideLayout8.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51.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hyperlink" Target="http://aka.ms/Azure/MFA" TargetMode="External"/><Relationship Id="rId7" Type="http://schemas.openxmlformats.org/officeDocument/2006/relationships/image" Target="../media/image116.png"/><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image" Target="../media/image114.png"/><Relationship Id="rId5" Type="http://schemas.openxmlformats.org/officeDocument/2006/relationships/image" Target="../media/image113.png"/><Relationship Id="rId10" Type="http://schemas.openxmlformats.org/officeDocument/2006/relationships/image" Target="../media/image118.png"/><Relationship Id="rId4" Type="http://schemas.openxmlformats.org/officeDocument/2006/relationships/image" Target="../media/image112.png"/><Relationship Id="rId9" Type="http://schemas.openxmlformats.org/officeDocument/2006/relationships/image" Target="../media/image117.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hyperlink" Target="https://aka.ms/azure/conditionalaccess" TargetMode="External"/><Relationship Id="rId4" Type="http://schemas.openxmlformats.org/officeDocument/2006/relationships/image" Target="../media/image119.jpeg"/></Relationships>
</file>

<file path=ppt/slides/_rels/slide57.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emf"/><Relationship Id="rId7" Type="http://schemas.openxmlformats.org/officeDocument/2006/relationships/image" Target="../media/image124.jpeg"/><Relationship Id="rId2" Type="http://schemas.openxmlformats.org/officeDocument/2006/relationships/notesSlide" Target="../notesSlides/notesSlide57.xml"/><Relationship Id="rId1" Type="http://schemas.openxmlformats.org/officeDocument/2006/relationships/slideLayout" Target="../slideLayouts/slideLayout8.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59.xml"/><Relationship Id="rId1" Type="http://schemas.openxmlformats.org/officeDocument/2006/relationships/slideLayout" Target="../slideLayouts/slideLayout5.xml"/><Relationship Id="rId4" Type="http://schemas.openxmlformats.org/officeDocument/2006/relationships/image" Target="../media/image126.png"/></Relationships>
</file>

<file path=ppt/slides/_rels/slide6.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18" Type="http://schemas.openxmlformats.org/officeDocument/2006/relationships/image" Target="../media/image52.png"/><Relationship Id="rId3" Type="http://schemas.openxmlformats.org/officeDocument/2006/relationships/image" Target="../media/image37.png"/><Relationship Id="rId21" Type="http://schemas.openxmlformats.org/officeDocument/2006/relationships/image" Target="../media/image55.png"/><Relationship Id="rId7" Type="http://schemas.openxmlformats.org/officeDocument/2006/relationships/image" Target="../media/image41.png"/><Relationship Id="rId12" Type="http://schemas.openxmlformats.org/officeDocument/2006/relationships/image" Target="../media/image46.png"/><Relationship Id="rId17" Type="http://schemas.openxmlformats.org/officeDocument/2006/relationships/image" Target="../media/image51.png"/><Relationship Id="rId2" Type="http://schemas.openxmlformats.org/officeDocument/2006/relationships/notesSlide" Target="../notesSlides/notesSlide6.xm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slideLayout" Target="../slideLayouts/slideLayout7.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png"/><Relationship Id="rId10" Type="http://schemas.openxmlformats.org/officeDocument/2006/relationships/image" Target="../media/image44.png"/><Relationship Id="rId19" Type="http://schemas.openxmlformats.org/officeDocument/2006/relationships/image" Target="../media/image53.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48.png"/><Relationship Id="rId22" Type="http://schemas.openxmlformats.org/officeDocument/2006/relationships/hyperlink" Target="https://aka.ms/Azure/AD/Limits"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60.xml"/><Relationship Id="rId1" Type="http://schemas.openxmlformats.org/officeDocument/2006/relationships/slideLayout" Target="../slideLayouts/slideLayout5.xml"/><Relationship Id="rId6" Type="http://schemas.openxmlformats.org/officeDocument/2006/relationships/image" Target="../media/image130.jpeg"/><Relationship Id="rId5" Type="http://schemas.openxmlformats.org/officeDocument/2006/relationships/image" Target="../media/image129.png"/><Relationship Id="rId10" Type="http://schemas.openxmlformats.org/officeDocument/2006/relationships/image" Target="../media/image134.png"/><Relationship Id="rId4" Type="http://schemas.openxmlformats.org/officeDocument/2006/relationships/image" Target="../media/image128.png"/><Relationship Id="rId9" Type="http://schemas.openxmlformats.org/officeDocument/2006/relationships/image" Target="../media/image133.png"/></Relationships>
</file>

<file path=ppt/slides/_rels/slide6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1.xml"/><Relationship Id="rId1" Type="http://schemas.openxmlformats.org/officeDocument/2006/relationships/slideLayout" Target="../slideLayouts/slideLayout8.xml"/><Relationship Id="rId4" Type="http://schemas.microsoft.com/office/2007/relationships/hdphoto" Target="../media/hdphoto3.wdp"/></Relationships>
</file>

<file path=ppt/slides/_rels/slide62.xml.rels><?xml version="1.0" encoding="UTF-8" standalone="yes"?>
<Relationships xmlns="http://schemas.openxmlformats.org/package/2006/relationships"><Relationship Id="rId3" Type="http://schemas.openxmlformats.org/officeDocument/2006/relationships/hyperlink" Target="http://aka.ms/Azure/ADDS" TargetMode="External"/><Relationship Id="rId2" Type="http://schemas.openxmlformats.org/officeDocument/2006/relationships/notesSlide" Target="../notesSlides/notesSlide62.xml"/><Relationship Id="rId1" Type="http://schemas.openxmlformats.org/officeDocument/2006/relationships/slideLayout" Target="../slideLayouts/slideLayout5.xml"/><Relationship Id="rId5" Type="http://schemas.openxmlformats.org/officeDocument/2006/relationships/image" Target="../media/image85.emf"/><Relationship Id="rId4" Type="http://schemas.openxmlformats.org/officeDocument/2006/relationships/image" Target="../media/image89.png"/></Relationships>
</file>

<file path=ppt/slides/_rels/slide6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hyperlink" Target="https://azure.microsoft.com/en-us/documentation/articles/active-directory-ds-comparison" TargetMode="External"/><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image" Target="../media/image137.png&amp;ehk=4nbvPXeeeh6qSTWEX429"/><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image" Target="../media/image137.png&amp;ehk=4nbvPXeeeh6qSTWEX429"/><Relationship Id="rId2" Type="http://schemas.openxmlformats.org/officeDocument/2006/relationships/notesSlide" Target="../notesSlides/notesSlide67.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68.xml"/><Relationship Id="rId1" Type="http://schemas.openxmlformats.org/officeDocument/2006/relationships/slideLayout" Target="../slideLayouts/slideLayout5.xml"/><Relationship Id="rId4" Type="http://schemas.openxmlformats.org/officeDocument/2006/relationships/hyperlink" Target="https://aka.ms/identity/architectures" TargetMode="Externa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hyperlink" Target="https://blogs.technet.microsoft.com/enterprisemobility/2017/09/05/how-we-secure-your-data-in-azure-ad/" TargetMode="External"/><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56.emf"/></Relationships>
</file>

<file path=ppt/slides/_rels/slide70.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43.png"/><Relationship Id="rId3" Type="http://schemas.openxmlformats.org/officeDocument/2006/relationships/hyperlink" Target="http://aka.ms/Azure/B2C" TargetMode="External"/><Relationship Id="rId7" Type="http://schemas.openxmlformats.org/officeDocument/2006/relationships/image" Target="../media/image142.png"/><Relationship Id="rId12" Type="http://schemas.openxmlformats.org/officeDocument/2006/relationships/image" Target="../media/image146.png"/><Relationship Id="rId2" Type="http://schemas.openxmlformats.org/officeDocument/2006/relationships/notesSlide" Target="../notesSlides/notesSlide70.xml"/><Relationship Id="rId1" Type="http://schemas.openxmlformats.org/officeDocument/2006/relationships/slideLayout" Target="../slideLayouts/slideLayout5.xml"/><Relationship Id="rId6" Type="http://schemas.openxmlformats.org/officeDocument/2006/relationships/image" Target="../media/image141.png"/><Relationship Id="rId11" Type="http://schemas.openxmlformats.org/officeDocument/2006/relationships/image" Target="../media/image145.png"/><Relationship Id="rId5" Type="http://schemas.openxmlformats.org/officeDocument/2006/relationships/image" Target="../media/image140.png"/><Relationship Id="rId15" Type="http://schemas.openxmlformats.org/officeDocument/2006/relationships/image" Target="../media/image148.png"/><Relationship Id="rId10" Type="http://schemas.openxmlformats.org/officeDocument/2006/relationships/image" Target="../media/image144.png"/><Relationship Id="rId4" Type="http://schemas.openxmlformats.org/officeDocument/2006/relationships/image" Target="../media/image139.png"/><Relationship Id="rId9" Type="http://schemas.openxmlformats.org/officeDocument/2006/relationships/image" Target="../media/image143.png"/><Relationship Id="rId14" Type="http://schemas.openxmlformats.org/officeDocument/2006/relationships/image" Target="../media/image147.png"/></Relationships>
</file>

<file path=ppt/slides/_rels/slide71.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158.png"/><Relationship Id="rId18" Type="http://schemas.openxmlformats.org/officeDocument/2006/relationships/image" Target="../media/image162.png"/><Relationship Id="rId26" Type="http://schemas.openxmlformats.org/officeDocument/2006/relationships/image" Target="../media/image170.png"/><Relationship Id="rId3" Type="http://schemas.openxmlformats.org/officeDocument/2006/relationships/image" Target="../media/image96.emf"/><Relationship Id="rId21" Type="http://schemas.openxmlformats.org/officeDocument/2006/relationships/image" Target="../media/image165.png"/><Relationship Id="rId34" Type="http://schemas.openxmlformats.org/officeDocument/2006/relationships/image" Target="../media/image178.emf"/><Relationship Id="rId7" Type="http://schemas.openxmlformats.org/officeDocument/2006/relationships/image" Target="../media/image152.png"/><Relationship Id="rId12" Type="http://schemas.openxmlformats.org/officeDocument/2006/relationships/image" Target="../media/image157.png"/><Relationship Id="rId17" Type="http://schemas.openxmlformats.org/officeDocument/2006/relationships/image" Target="../media/image161.png"/><Relationship Id="rId25" Type="http://schemas.openxmlformats.org/officeDocument/2006/relationships/image" Target="../media/image169.png"/><Relationship Id="rId33" Type="http://schemas.openxmlformats.org/officeDocument/2006/relationships/image" Target="../media/image177.png"/><Relationship Id="rId2" Type="http://schemas.openxmlformats.org/officeDocument/2006/relationships/notesSlide" Target="../notesSlides/notesSlide71.xml"/><Relationship Id="rId16" Type="http://schemas.openxmlformats.org/officeDocument/2006/relationships/image" Target="../media/image145.png"/><Relationship Id="rId20" Type="http://schemas.openxmlformats.org/officeDocument/2006/relationships/image" Target="../media/image164.png"/><Relationship Id="rId29" Type="http://schemas.openxmlformats.org/officeDocument/2006/relationships/image" Target="../media/image173.png"/><Relationship Id="rId1" Type="http://schemas.openxmlformats.org/officeDocument/2006/relationships/slideLayout" Target="../slideLayouts/slideLayout5.xml"/><Relationship Id="rId6" Type="http://schemas.openxmlformats.org/officeDocument/2006/relationships/image" Target="../media/image151.png"/><Relationship Id="rId11" Type="http://schemas.openxmlformats.org/officeDocument/2006/relationships/image" Target="../media/image156.png"/><Relationship Id="rId24" Type="http://schemas.openxmlformats.org/officeDocument/2006/relationships/image" Target="../media/image168.png"/><Relationship Id="rId32" Type="http://schemas.openxmlformats.org/officeDocument/2006/relationships/image" Target="../media/image176.png"/><Relationship Id="rId5" Type="http://schemas.openxmlformats.org/officeDocument/2006/relationships/image" Target="../media/image150.jpeg"/><Relationship Id="rId15" Type="http://schemas.openxmlformats.org/officeDocument/2006/relationships/image" Target="../media/image160.png"/><Relationship Id="rId23" Type="http://schemas.openxmlformats.org/officeDocument/2006/relationships/image" Target="../media/image167.png"/><Relationship Id="rId28" Type="http://schemas.openxmlformats.org/officeDocument/2006/relationships/image" Target="../media/image172.png"/><Relationship Id="rId10" Type="http://schemas.openxmlformats.org/officeDocument/2006/relationships/image" Target="../media/image155.png"/><Relationship Id="rId19" Type="http://schemas.openxmlformats.org/officeDocument/2006/relationships/image" Target="../media/image163.png"/><Relationship Id="rId31" Type="http://schemas.openxmlformats.org/officeDocument/2006/relationships/image" Target="../media/image175.png"/><Relationship Id="rId4" Type="http://schemas.openxmlformats.org/officeDocument/2006/relationships/image" Target="../media/image149.png"/><Relationship Id="rId9" Type="http://schemas.openxmlformats.org/officeDocument/2006/relationships/image" Target="../media/image154.png"/><Relationship Id="rId14" Type="http://schemas.openxmlformats.org/officeDocument/2006/relationships/image" Target="../media/image159.png"/><Relationship Id="rId22" Type="http://schemas.openxmlformats.org/officeDocument/2006/relationships/image" Target="../media/image166.png"/><Relationship Id="rId27" Type="http://schemas.openxmlformats.org/officeDocument/2006/relationships/image" Target="../media/image171.png"/><Relationship Id="rId30" Type="http://schemas.openxmlformats.org/officeDocument/2006/relationships/image" Target="../media/image174.png"/><Relationship Id="rId35" Type="http://schemas.openxmlformats.org/officeDocument/2006/relationships/hyperlink" Target="http://aka.ms/Azure/B2B" TargetMode="External"/></Relationships>
</file>

<file path=ppt/slides/_rels/slide72.xml.rels><?xml version="1.0" encoding="UTF-8" standalone="yes"?>
<Relationships xmlns="http://schemas.openxmlformats.org/package/2006/relationships"><Relationship Id="rId3" Type="http://schemas.openxmlformats.org/officeDocument/2006/relationships/hyperlink" Target="https://aka.ms/azure/b2b" TargetMode="External"/><Relationship Id="rId2" Type="http://schemas.openxmlformats.org/officeDocument/2006/relationships/notesSlide" Target="../notesSlides/notesSlide72.xml"/><Relationship Id="rId1" Type="http://schemas.openxmlformats.org/officeDocument/2006/relationships/slideLayout" Target="../slideLayouts/slideLayout5.xml"/><Relationship Id="rId4" Type="http://schemas.openxmlformats.org/officeDocument/2006/relationships/hyperlink" Target="https://www.youtube.com/watch?v=jtBaQHvAUsQ&amp;feature=youtu.be"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79.jpg"/><Relationship Id="rId2" Type="http://schemas.openxmlformats.org/officeDocument/2006/relationships/notesSlide" Target="../notesSlides/notesSlide73.xml"/><Relationship Id="rId1" Type="http://schemas.openxmlformats.org/officeDocument/2006/relationships/slideLayout" Target="../slideLayouts/slideLayout8.xml"/><Relationship Id="rId4" Type="http://schemas.openxmlformats.org/officeDocument/2006/relationships/hyperlink" Target="http://blog.dnevnik.hr/afetinxfbux/2013/03/1631580400/did-you-hear-about-math-worksheets.html" TargetMode="Externa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180.png"/><Relationship Id="rId7" Type="http://schemas.openxmlformats.org/officeDocument/2006/relationships/image" Target="../media/image184.png"/><Relationship Id="rId12" Type="http://schemas.openxmlformats.org/officeDocument/2006/relationships/image" Target="../media/image188.png"/><Relationship Id="rId2" Type="http://schemas.openxmlformats.org/officeDocument/2006/relationships/notesSlide" Target="../notesSlides/notesSlide77.xml"/><Relationship Id="rId1" Type="http://schemas.openxmlformats.org/officeDocument/2006/relationships/slideLayout" Target="../slideLayouts/slideLayout5.xml"/><Relationship Id="rId6" Type="http://schemas.openxmlformats.org/officeDocument/2006/relationships/image" Target="../media/image183.png"/><Relationship Id="rId11" Type="http://schemas.openxmlformats.org/officeDocument/2006/relationships/image" Target="../media/image187.png"/><Relationship Id="rId5" Type="http://schemas.openxmlformats.org/officeDocument/2006/relationships/image" Target="../media/image182.png"/><Relationship Id="rId10" Type="http://schemas.openxmlformats.org/officeDocument/2006/relationships/image" Target="../media/image186.png"/><Relationship Id="rId4" Type="http://schemas.openxmlformats.org/officeDocument/2006/relationships/image" Target="../media/image181.png"/><Relationship Id="rId9" Type="http://schemas.openxmlformats.org/officeDocument/2006/relationships/image" Target="../media/image185.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hyperlink" Target="https://aka.ms/Azure/Tenant"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3" Type="http://schemas.openxmlformats.org/officeDocument/2006/relationships/hyperlink" Target="mailto:bob@contoso.onmicrosoft.com" TargetMode="External"/><Relationship Id="rId2" Type="http://schemas.openxmlformats.org/officeDocument/2006/relationships/notesSlide" Target="../notesSlides/notesSlide81.xml"/><Relationship Id="rId1" Type="http://schemas.openxmlformats.org/officeDocument/2006/relationships/slideLayout" Target="../slideLayouts/slideLayout5.xml"/><Relationship Id="rId4" Type="http://schemas.openxmlformats.org/officeDocument/2006/relationships/hyperlink" Target="mailto:bob@contoso.com" TargetMode="Externa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5.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image" Target="../media/image189.emf"/><Relationship Id="rId2" Type="http://schemas.openxmlformats.org/officeDocument/2006/relationships/notesSlide" Target="../notesSlides/notesSlide87.xml"/><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3" Type="http://schemas.openxmlformats.org/officeDocument/2006/relationships/image" Target="../media/image190.emf"/><Relationship Id="rId2" Type="http://schemas.openxmlformats.org/officeDocument/2006/relationships/notesSlide" Target="../notesSlides/notesSlide88.xml"/><Relationship Id="rId1"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9.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1.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2.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92.xml"/><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5.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5.xml"/><Relationship Id="rId1" Type="http://schemas.openxmlformats.org/officeDocument/2006/relationships/themeOverride" Target="../theme/themeOverride1.xml"/></Relationships>
</file>

<file path=ppt/slides/_rels/slide9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7.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69" y="2354261"/>
            <a:ext cx="6994276" cy="1600215"/>
          </a:xfrm>
        </p:spPr>
        <p:txBody>
          <a:bodyPr/>
          <a:lstStyle/>
          <a:p>
            <a:r>
              <a:rPr lang="en-US" sz="5400" dirty="0">
                <a:latin typeface="Segoe UI Light" charset="0"/>
              </a:rPr>
              <a:t>Azure Solution Alignment Workshop</a:t>
            </a:r>
          </a:p>
        </p:txBody>
      </p:sp>
      <p:sp>
        <p:nvSpPr>
          <p:cNvPr id="3" name="Text Placeholder 2"/>
          <p:cNvSpPr>
            <a:spLocks noGrp="1"/>
          </p:cNvSpPr>
          <p:nvPr>
            <p:ph type="body" sz="quarter" idx="14"/>
          </p:nvPr>
        </p:nvSpPr>
        <p:spPr>
          <a:xfrm>
            <a:off x="366168" y="4335461"/>
            <a:ext cx="7314889" cy="1356355"/>
          </a:xfrm>
        </p:spPr>
        <p:txBody>
          <a:bodyPr vert="horz" wrap="square" lIns="146304" tIns="109728" rIns="146304" bIns="109728" rtlCol="0" anchor="t">
            <a:noAutofit/>
          </a:bodyPr>
          <a:lstStyle/>
          <a:p>
            <a:r>
              <a:rPr lang="en-US" dirty="0"/>
              <a:t>Module 6 – Identity</a:t>
            </a:r>
          </a:p>
          <a:p>
            <a:endParaRPr lang="en-US" sz="1800" dirty="0">
              <a:latin typeface="Segoe UI"/>
            </a:endParaRPr>
          </a:p>
          <a:p>
            <a:endParaRPr lang="en-US" sz="1800" dirty="0">
              <a:latin typeface="Segoe UI"/>
            </a:endParaRPr>
          </a:p>
          <a:p>
            <a:endParaRPr lang="en-US" dirty="0"/>
          </a:p>
        </p:txBody>
      </p:sp>
    </p:spTree>
    <p:extLst>
      <p:ext uri="{BB962C8B-B14F-4D97-AF65-F5344CB8AC3E}">
        <p14:creationId xmlns:p14="http://schemas.microsoft.com/office/powerpoint/2010/main" val="248076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Azure Active Directory editions</a:t>
            </a:r>
          </a:p>
        </p:txBody>
      </p:sp>
      <p:graphicFrame>
        <p:nvGraphicFramePr>
          <p:cNvPr id="2" name="Table 1"/>
          <p:cNvGraphicFramePr>
            <a:graphicFrameLocks noGrp="1"/>
          </p:cNvGraphicFramePr>
          <p:nvPr>
            <p:extLst>
              <p:ext uri="{D42A27DB-BD31-4B8C-83A1-F6EECF244321}">
                <p14:modId xmlns:p14="http://schemas.microsoft.com/office/powerpoint/2010/main" val="3467964928"/>
              </p:ext>
            </p:extLst>
          </p:nvPr>
        </p:nvGraphicFramePr>
        <p:xfrm>
          <a:off x="388144" y="1353502"/>
          <a:ext cx="11658600" cy="5194026"/>
        </p:xfrm>
        <a:graphic>
          <a:graphicData uri="http://schemas.openxmlformats.org/drawingml/2006/table">
            <a:tbl>
              <a:tblPr firstRow="1" bandRow="1">
                <a:tableStyleId>{5C22544A-7EE6-4342-B048-85BDC9FD1C3A}</a:tableStyleId>
              </a:tblPr>
              <a:tblGrid>
                <a:gridCol w="2914650">
                  <a:extLst>
                    <a:ext uri="{9D8B030D-6E8A-4147-A177-3AD203B41FA5}">
                      <a16:colId xmlns:a16="http://schemas.microsoft.com/office/drawing/2014/main" val="1919722623"/>
                    </a:ext>
                  </a:extLst>
                </a:gridCol>
                <a:gridCol w="2914650">
                  <a:extLst>
                    <a:ext uri="{9D8B030D-6E8A-4147-A177-3AD203B41FA5}">
                      <a16:colId xmlns:a16="http://schemas.microsoft.com/office/drawing/2014/main" val="1292426363"/>
                    </a:ext>
                  </a:extLst>
                </a:gridCol>
                <a:gridCol w="3133248">
                  <a:extLst>
                    <a:ext uri="{9D8B030D-6E8A-4147-A177-3AD203B41FA5}">
                      <a16:colId xmlns:a16="http://schemas.microsoft.com/office/drawing/2014/main" val="2797083430"/>
                    </a:ext>
                  </a:extLst>
                </a:gridCol>
                <a:gridCol w="2696052">
                  <a:extLst>
                    <a:ext uri="{9D8B030D-6E8A-4147-A177-3AD203B41FA5}">
                      <a16:colId xmlns:a16="http://schemas.microsoft.com/office/drawing/2014/main" val="3565001044"/>
                    </a:ext>
                  </a:extLst>
                </a:gridCol>
              </a:tblGrid>
              <a:tr h="370840">
                <a:tc>
                  <a:txBody>
                    <a:bodyPr/>
                    <a:lstStyle/>
                    <a:p>
                      <a:r>
                        <a:rPr lang="en-US" sz="1600" dirty="0"/>
                        <a:t>Common features</a:t>
                      </a:r>
                    </a:p>
                  </a:txBody>
                  <a:tcPr/>
                </a:tc>
                <a:tc>
                  <a:txBody>
                    <a:bodyPr/>
                    <a:lstStyle/>
                    <a:p>
                      <a:r>
                        <a:rPr lang="en-US" sz="1600" dirty="0"/>
                        <a:t>Basic only</a:t>
                      </a:r>
                    </a:p>
                  </a:txBody>
                  <a:tcPr/>
                </a:tc>
                <a:tc>
                  <a:txBody>
                    <a:bodyPr/>
                    <a:lstStyle/>
                    <a:p>
                      <a:r>
                        <a:rPr lang="en-US" sz="1600" dirty="0"/>
                        <a:t>Premium</a:t>
                      </a:r>
                      <a:r>
                        <a:rPr lang="en-US" sz="1600" baseline="0" dirty="0"/>
                        <a:t> P1</a:t>
                      </a:r>
                      <a:endParaRPr lang="en-US" sz="1600" dirty="0"/>
                    </a:p>
                  </a:txBody>
                  <a:tcPr/>
                </a:tc>
                <a:tc>
                  <a:txBody>
                    <a:bodyPr/>
                    <a:lstStyle/>
                    <a:p>
                      <a:r>
                        <a:rPr lang="en-US" sz="1600" dirty="0"/>
                        <a:t>Premium P2</a:t>
                      </a:r>
                    </a:p>
                  </a:txBody>
                  <a:tcPr/>
                </a:tc>
                <a:extLst>
                  <a:ext uri="{0D108BD9-81ED-4DB2-BD59-A6C34878D82A}">
                    <a16:rowId xmlns:a16="http://schemas.microsoft.com/office/drawing/2014/main" val="417081356"/>
                  </a:ext>
                </a:extLst>
              </a:tr>
              <a:tr h="870946">
                <a:tc>
                  <a:txBody>
                    <a:bodyPr/>
                    <a:lstStyle/>
                    <a:p>
                      <a:r>
                        <a:rPr lang="en-US" sz="1400" dirty="0"/>
                        <a:t>Directory objects</a:t>
                      </a:r>
                    </a:p>
                  </a:txBody>
                  <a:tcPr/>
                </a:tc>
                <a:tc>
                  <a:txBody>
                    <a:bodyPr/>
                    <a:lstStyle/>
                    <a:p>
                      <a:r>
                        <a:rPr lang="en-US" sz="1400" dirty="0"/>
                        <a:t>Group-based access      management/provisioning</a:t>
                      </a:r>
                    </a:p>
                  </a:txBody>
                  <a:tcPr/>
                </a:tc>
                <a:tc>
                  <a:txBody>
                    <a:bodyPr/>
                    <a:lstStyle/>
                    <a:p>
                      <a:r>
                        <a:rPr lang="en-US" sz="1400" dirty="0"/>
                        <a:t>Self-service group and app management/self-service application additions/Dynamic Groups</a:t>
                      </a:r>
                    </a:p>
                  </a:txBody>
                  <a:tcPr/>
                </a:tc>
                <a:tc>
                  <a:txBody>
                    <a:bodyPr/>
                    <a:lstStyle/>
                    <a:p>
                      <a:r>
                        <a:rPr lang="en-US" sz="1400" dirty="0"/>
                        <a:t>Identity protection</a:t>
                      </a:r>
                    </a:p>
                  </a:txBody>
                  <a:tcPr/>
                </a:tc>
                <a:extLst>
                  <a:ext uri="{0D108BD9-81ED-4DB2-BD59-A6C34878D82A}">
                    <a16:rowId xmlns:a16="http://schemas.microsoft.com/office/drawing/2014/main" val="1200896103"/>
                  </a:ext>
                </a:extLst>
              </a:tr>
              <a:tr h="914400">
                <a:tc>
                  <a:txBody>
                    <a:bodyPr/>
                    <a:lstStyle/>
                    <a:p>
                      <a:r>
                        <a:rPr lang="en-US" sz="1400" dirty="0"/>
                        <a:t>User/group management (add/update/delete)/user-based provisioning, device registration</a:t>
                      </a:r>
                    </a:p>
                  </a:txBody>
                  <a:tcPr/>
                </a:tc>
                <a:tc>
                  <a:txBody>
                    <a:bodyPr/>
                    <a:lstStyle/>
                    <a:p>
                      <a:r>
                        <a:rPr lang="en-US" sz="1400" dirty="0"/>
                        <a:t>Self-service password reset              for cloud users</a:t>
                      </a:r>
                    </a:p>
                    <a:p>
                      <a:endParaRPr lang="en-US" sz="1400" dirty="0"/>
                    </a:p>
                  </a:txBody>
                  <a:tcPr/>
                </a:tc>
                <a:tc>
                  <a:txBody>
                    <a:bodyPr/>
                    <a:lstStyle/>
                    <a:p>
                      <a:r>
                        <a:rPr lang="en-US" sz="1400" dirty="0"/>
                        <a:t>Self-service password reset/change/unlock with                 on-premises write-back</a:t>
                      </a:r>
                    </a:p>
                  </a:txBody>
                  <a:tcPr/>
                </a:tc>
                <a:tc>
                  <a:txBody>
                    <a:bodyPr/>
                    <a:lstStyle/>
                    <a:p>
                      <a:r>
                        <a:rPr lang="en-US" sz="1400" dirty="0"/>
                        <a:t>Privileged Identity Management</a:t>
                      </a:r>
                    </a:p>
                  </a:txBody>
                  <a:tcPr/>
                </a:tc>
                <a:extLst>
                  <a:ext uri="{0D108BD9-81ED-4DB2-BD59-A6C34878D82A}">
                    <a16:rowId xmlns:a16="http://schemas.microsoft.com/office/drawing/2014/main" val="3102430549"/>
                  </a:ext>
                </a:extLst>
              </a:tr>
              <a:tr h="685800">
                <a:tc>
                  <a:txBody>
                    <a:bodyPr/>
                    <a:lstStyle/>
                    <a:p>
                      <a:r>
                        <a:rPr lang="en-US" sz="1400" dirty="0"/>
                        <a:t>Single sign-on (SSO)</a:t>
                      </a:r>
                    </a:p>
                  </a:txBody>
                  <a:tcPr/>
                </a:tc>
                <a:tc>
                  <a:txBody>
                    <a:bodyPr/>
                    <a:lstStyle/>
                    <a:p>
                      <a:r>
                        <a:rPr lang="en-US" sz="1400" dirty="0"/>
                        <a:t>Company branding (logon pages/access panel customization)</a:t>
                      </a:r>
                    </a:p>
                  </a:txBody>
                  <a:tcPr/>
                </a:tc>
                <a:tc>
                  <a:txBody>
                    <a:bodyPr/>
                    <a:lstStyle/>
                    <a:p>
                      <a:r>
                        <a:rPr lang="en-US" sz="1400" dirty="0"/>
                        <a:t>Multi-factor authentication (cloud  and on-premises (MFA Server))</a:t>
                      </a:r>
                    </a:p>
                  </a:txBody>
                  <a:tcPr/>
                </a:tc>
                <a:tc>
                  <a:txBody>
                    <a:bodyPr/>
                    <a:lstStyle/>
                    <a:p>
                      <a:endParaRPr lang="en-US" sz="1400"/>
                    </a:p>
                  </a:txBody>
                  <a:tcPr/>
                </a:tc>
                <a:extLst>
                  <a:ext uri="{0D108BD9-81ED-4DB2-BD59-A6C34878D82A}">
                    <a16:rowId xmlns:a16="http://schemas.microsoft.com/office/drawing/2014/main" val="3464102082"/>
                  </a:ext>
                </a:extLst>
              </a:tr>
              <a:tr h="579120">
                <a:tc>
                  <a:txBody>
                    <a:bodyPr/>
                    <a:lstStyle/>
                    <a:p>
                      <a:r>
                        <a:rPr lang="en-US" sz="1400" dirty="0"/>
                        <a:t>Self-service password change         for cloud users</a:t>
                      </a:r>
                    </a:p>
                  </a:txBody>
                  <a:tcPr/>
                </a:tc>
                <a:tc>
                  <a:txBody>
                    <a:bodyPr/>
                    <a:lstStyle/>
                    <a:p>
                      <a:r>
                        <a:rPr lang="en-US" sz="1400" dirty="0"/>
                        <a:t>Application proxy</a:t>
                      </a:r>
                    </a:p>
                  </a:txBody>
                  <a:tcPr/>
                </a:tc>
                <a:tc>
                  <a:txBody>
                    <a:bodyPr/>
                    <a:lstStyle/>
                    <a:p>
                      <a:r>
                        <a:rPr lang="en-US" sz="1400" dirty="0"/>
                        <a:t>MIM CAL + MIM Server</a:t>
                      </a:r>
                    </a:p>
                  </a:txBody>
                  <a:tcPr/>
                </a:tc>
                <a:tc>
                  <a:txBody>
                    <a:bodyPr/>
                    <a:lstStyle/>
                    <a:p>
                      <a:endParaRPr lang="en-US" sz="1400" dirty="0"/>
                    </a:p>
                  </a:txBody>
                  <a:tcPr/>
                </a:tc>
                <a:extLst>
                  <a:ext uri="{0D108BD9-81ED-4DB2-BD59-A6C34878D82A}">
                    <a16:rowId xmlns:a16="http://schemas.microsoft.com/office/drawing/2014/main" val="165710188"/>
                  </a:ext>
                </a:extLst>
              </a:tr>
              <a:tr h="822960">
                <a:tc>
                  <a:txBody>
                    <a:bodyPr/>
                    <a:lstStyle/>
                    <a:p>
                      <a:r>
                        <a:rPr lang="en-US" sz="1400" dirty="0"/>
                        <a:t>Connect (sync engine that      extends on-premises directories       to Azure Active Directory)</a:t>
                      </a:r>
                    </a:p>
                  </a:txBody>
                  <a:tcPr/>
                </a:tc>
                <a:tc>
                  <a:txBody>
                    <a:bodyPr/>
                    <a:lstStyle/>
                    <a:p>
                      <a:r>
                        <a:rPr lang="en-US" sz="1400" dirty="0"/>
                        <a:t>SLA 99.9%</a:t>
                      </a:r>
                    </a:p>
                  </a:txBody>
                  <a:tcPr/>
                </a:tc>
                <a:tc>
                  <a:txBody>
                    <a:bodyPr/>
                    <a:lstStyle/>
                    <a:p>
                      <a:r>
                        <a:rPr lang="en-US" sz="1400" dirty="0"/>
                        <a:t>Cloud App Discovery</a:t>
                      </a:r>
                    </a:p>
                  </a:txBody>
                  <a:tcPr/>
                </a:tc>
                <a:tc>
                  <a:txBody>
                    <a:bodyPr/>
                    <a:lstStyle/>
                    <a:p>
                      <a:endParaRPr lang="en-US" sz="1400" dirty="0"/>
                    </a:p>
                  </a:txBody>
                  <a:tcPr/>
                </a:tc>
                <a:extLst>
                  <a:ext uri="{0D108BD9-81ED-4DB2-BD59-A6C34878D82A}">
                    <a16:rowId xmlns:a16="http://schemas.microsoft.com/office/drawing/2014/main" val="4252379547"/>
                  </a:ext>
                </a:extLst>
              </a:tr>
              <a:tr h="370840">
                <a:tc>
                  <a:txBody>
                    <a:bodyPr/>
                    <a:lstStyle/>
                    <a:p>
                      <a:r>
                        <a:rPr lang="en-US" sz="1400" dirty="0"/>
                        <a:t>Security/usage reports</a:t>
                      </a:r>
                    </a:p>
                  </a:txBody>
                  <a:tcPr/>
                </a:tc>
                <a:tc>
                  <a:txBody>
                    <a:bodyPr/>
                    <a:lstStyle/>
                    <a:p>
                      <a:endParaRPr lang="en-US" sz="1400" dirty="0"/>
                    </a:p>
                  </a:txBody>
                  <a:tcPr/>
                </a:tc>
                <a:tc>
                  <a:txBody>
                    <a:bodyPr/>
                    <a:lstStyle/>
                    <a:p>
                      <a:r>
                        <a:rPr lang="en-US" sz="1400" dirty="0"/>
                        <a:t>Connect Health</a:t>
                      </a:r>
                    </a:p>
                  </a:txBody>
                  <a:tcPr/>
                </a:tc>
                <a:tc>
                  <a:txBody>
                    <a:bodyPr/>
                    <a:lstStyle/>
                    <a:p>
                      <a:endParaRPr lang="en-US" sz="1400" dirty="0"/>
                    </a:p>
                  </a:txBody>
                  <a:tcPr/>
                </a:tc>
                <a:extLst>
                  <a:ext uri="{0D108BD9-81ED-4DB2-BD59-A6C34878D82A}">
                    <a16:rowId xmlns:a16="http://schemas.microsoft.com/office/drawing/2014/main" val="283469519"/>
                  </a:ext>
                </a:extLst>
              </a:tr>
              <a:tr h="579120">
                <a:tc>
                  <a:txBody>
                    <a:bodyPr/>
                    <a:lstStyle/>
                    <a:p>
                      <a:endParaRPr lang="en-US" sz="1400" dirty="0"/>
                    </a:p>
                  </a:txBody>
                  <a:tcPr/>
                </a:tc>
                <a:tc>
                  <a:txBody>
                    <a:bodyPr/>
                    <a:lstStyle/>
                    <a:p>
                      <a:endParaRPr lang="en-US" sz="1400" dirty="0"/>
                    </a:p>
                  </a:txBody>
                  <a:tcPr/>
                </a:tc>
                <a:tc>
                  <a:txBody>
                    <a:bodyPr/>
                    <a:lstStyle/>
                    <a:p>
                      <a:r>
                        <a:rPr lang="en-US" sz="1400" dirty="0"/>
                        <a:t>Automatic password rollover for      group accounts</a:t>
                      </a:r>
                    </a:p>
                  </a:txBody>
                  <a:tcPr/>
                </a:tc>
                <a:tc>
                  <a:txBody>
                    <a:bodyPr/>
                    <a:lstStyle/>
                    <a:p>
                      <a:endParaRPr lang="en-US" sz="1400" dirty="0"/>
                    </a:p>
                  </a:txBody>
                  <a:tcPr/>
                </a:tc>
                <a:extLst>
                  <a:ext uri="{0D108BD9-81ED-4DB2-BD59-A6C34878D82A}">
                    <a16:rowId xmlns:a16="http://schemas.microsoft.com/office/drawing/2014/main" val="2172988202"/>
                  </a:ext>
                </a:extLst>
              </a:tr>
            </a:tbl>
          </a:graphicData>
        </a:graphic>
      </p:graphicFrame>
    </p:spTree>
    <p:extLst>
      <p:ext uri="{BB962C8B-B14F-4D97-AF65-F5344CB8AC3E}">
        <p14:creationId xmlns:p14="http://schemas.microsoft.com/office/powerpoint/2010/main" val="1841481800"/>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Extending on-premises AD – DNS </a:t>
            </a:r>
          </a:p>
        </p:txBody>
      </p:sp>
      <p:grpSp>
        <p:nvGrpSpPr>
          <p:cNvPr id="9" name="Group 8"/>
          <p:cNvGrpSpPr/>
          <p:nvPr/>
        </p:nvGrpSpPr>
        <p:grpSpPr>
          <a:xfrm>
            <a:off x="1988344" y="1625936"/>
            <a:ext cx="8458200" cy="3572153"/>
            <a:chOff x="2102644" y="1625936"/>
            <a:chExt cx="8458200" cy="3572153"/>
          </a:xfrm>
        </p:grpSpPr>
        <p:sp>
          <p:nvSpPr>
            <p:cNvPr id="7" name="Freeform: Shape 6"/>
            <p:cNvSpPr/>
            <p:nvPr/>
          </p:nvSpPr>
          <p:spPr>
            <a:xfrm>
              <a:off x="2102644" y="1625936"/>
              <a:ext cx="8458200" cy="900899"/>
            </a:xfrm>
            <a:custGeom>
              <a:avLst/>
              <a:gdLst>
                <a:gd name="connsiteX0" fmla="*/ 0 w 8077200"/>
                <a:gd name="connsiteY0" fmla="*/ 150153 h 900899"/>
                <a:gd name="connsiteX1" fmla="*/ 150153 w 8077200"/>
                <a:gd name="connsiteY1" fmla="*/ 0 h 900899"/>
                <a:gd name="connsiteX2" fmla="*/ 7927047 w 8077200"/>
                <a:gd name="connsiteY2" fmla="*/ 0 h 900899"/>
                <a:gd name="connsiteX3" fmla="*/ 8077200 w 8077200"/>
                <a:gd name="connsiteY3" fmla="*/ 150153 h 900899"/>
                <a:gd name="connsiteX4" fmla="*/ 8077200 w 8077200"/>
                <a:gd name="connsiteY4" fmla="*/ 750746 h 900899"/>
                <a:gd name="connsiteX5" fmla="*/ 7927047 w 8077200"/>
                <a:gd name="connsiteY5" fmla="*/ 900899 h 900899"/>
                <a:gd name="connsiteX6" fmla="*/ 150153 w 8077200"/>
                <a:gd name="connsiteY6" fmla="*/ 900899 h 900899"/>
                <a:gd name="connsiteX7" fmla="*/ 0 w 8077200"/>
                <a:gd name="connsiteY7" fmla="*/ 750746 h 900899"/>
                <a:gd name="connsiteX8" fmla="*/ 0 w 8077200"/>
                <a:gd name="connsiteY8" fmla="*/ 150153 h 90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77200" h="900899">
                  <a:moveTo>
                    <a:pt x="0" y="150153"/>
                  </a:moveTo>
                  <a:cubicBezTo>
                    <a:pt x="0" y="67226"/>
                    <a:pt x="67226" y="0"/>
                    <a:pt x="150153" y="0"/>
                  </a:cubicBezTo>
                  <a:lnTo>
                    <a:pt x="7927047" y="0"/>
                  </a:lnTo>
                  <a:cubicBezTo>
                    <a:pt x="8009974" y="0"/>
                    <a:pt x="8077200" y="67226"/>
                    <a:pt x="8077200" y="150153"/>
                  </a:cubicBezTo>
                  <a:lnTo>
                    <a:pt x="8077200" y="750746"/>
                  </a:lnTo>
                  <a:cubicBezTo>
                    <a:pt x="8077200" y="833673"/>
                    <a:pt x="8009974" y="900899"/>
                    <a:pt x="7927047" y="900899"/>
                  </a:cubicBezTo>
                  <a:lnTo>
                    <a:pt x="150153" y="900899"/>
                  </a:lnTo>
                  <a:cubicBezTo>
                    <a:pt x="67226" y="900899"/>
                    <a:pt x="0" y="833673"/>
                    <a:pt x="0" y="750746"/>
                  </a:cubicBezTo>
                  <a:lnTo>
                    <a:pt x="0" y="15015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7328" tIns="177328" rIns="177328" bIns="177328" numCol="1" spcCol="1270" anchor="ctr" anchorCtr="0">
              <a:noAutofit/>
            </a:bodyPr>
            <a:lstStyle/>
            <a:p>
              <a:pPr marL="0" lvl="0" indent="0" algn="l" defTabSz="1555750">
                <a:lnSpc>
                  <a:spcPct val="90000"/>
                </a:lnSpc>
                <a:spcBef>
                  <a:spcPct val="0"/>
                </a:spcBef>
                <a:spcAft>
                  <a:spcPct val="35000"/>
                </a:spcAft>
                <a:buNone/>
              </a:pPr>
              <a:r>
                <a:rPr lang="en-US" sz="3500" kern="1200" dirty="0">
                  <a:latin typeface="+mj-lt"/>
                </a:rPr>
                <a:t>DNS</a:t>
              </a:r>
            </a:p>
          </p:txBody>
        </p:sp>
        <p:sp>
          <p:nvSpPr>
            <p:cNvPr id="8" name="Freeform: Shape 7"/>
            <p:cNvSpPr/>
            <p:nvPr/>
          </p:nvSpPr>
          <p:spPr>
            <a:xfrm>
              <a:off x="2102644" y="2531089"/>
              <a:ext cx="8458200" cy="2667000"/>
            </a:xfrm>
            <a:custGeom>
              <a:avLst/>
              <a:gdLst>
                <a:gd name="connsiteX0" fmla="*/ 0 w 8077200"/>
                <a:gd name="connsiteY0" fmla="*/ 0 h 3984750"/>
                <a:gd name="connsiteX1" fmla="*/ 8077200 w 8077200"/>
                <a:gd name="connsiteY1" fmla="*/ 0 h 3984750"/>
                <a:gd name="connsiteX2" fmla="*/ 8077200 w 8077200"/>
                <a:gd name="connsiteY2" fmla="*/ 3984750 h 3984750"/>
                <a:gd name="connsiteX3" fmla="*/ 0 w 8077200"/>
                <a:gd name="connsiteY3" fmla="*/ 3984750 h 3984750"/>
                <a:gd name="connsiteX4" fmla="*/ 0 w 8077200"/>
                <a:gd name="connsiteY4" fmla="*/ 0 h 3984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7200" h="3984750">
                  <a:moveTo>
                    <a:pt x="0" y="0"/>
                  </a:moveTo>
                  <a:lnTo>
                    <a:pt x="8077200" y="0"/>
                  </a:lnTo>
                  <a:lnTo>
                    <a:pt x="8077200" y="3984750"/>
                  </a:lnTo>
                  <a:lnTo>
                    <a:pt x="0" y="398475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6451"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000" dirty="0">
                  <a:solidFill>
                    <a:srgbClr val="505050">
                      <a:hueOff val="0"/>
                      <a:satOff val="0"/>
                      <a:lumOff val="0"/>
                      <a:alphaOff val="0"/>
                    </a:srgbClr>
                  </a:solidFill>
                </a:rPr>
                <a:t>Domain Controllers in Azure should be also be DNS servers, if it’s in line with the customer’s existing AD architecture</a:t>
              </a:r>
            </a:p>
            <a:p>
              <a:pPr marL="228600" lvl="1" indent="-228600" algn="l" defTabSz="1200150">
                <a:lnSpc>
                  <a:spcPct val="90000"/>
                </a:lnSpc>
                <a:spcBef>
                  <a:spcPct val="0"/>
                </a:spcBef>
                <a:spcAft>
                  <a:spcPct val="20000"/>
                </a:spcAft>
                <a:buChar char="•"/>
              </a:pPr>
              <a:r>
                <a:rPr lang="en-US" sz="2000" dirty="0">
                  <a:solidFill>
                    <a:srgbClr val="505050">
                      <a:hueOff val="0"/>
                      <a:satOff val="0"/>
                      <a:lumOff val="0"/>
                      <a:alphaOff val="0"/>
                    </a:srgbClr>
                  </a:solidFill>
                </a:rPr>
                <a:t>If using 3rd party DNS appliances, there should be a Virtual Appliance available in the Azure tenant</a:t>
              </a:r>
            </a:p>
            <a:p>
              <a:pPr marL="228600" lvl="1" indent="-228600" algn="l" defTabSz="1200150">
                <a:lnSpc>
                  <a:spcPct val="90000"/>
                </a:lnSpc>
                <a:spcBef>
                  <a:spcPct val="0"/>
                </a:spcBef>
                <a:spcAft>
                  <a:spcPct val="20000"/>
                </a:spcAft>
                <a:buChar char="•"/>
              </a:pPr>
              <a:r>
                <a:rPr lang="en-US" sz="2000" dirty="0">
                  <a:solidFill>
                    <a:srgbClr val="505050">
                      <a:hueOff val="0"/>
                      <a:satOff val="0"/>
                      <a:lumOff val="0"/>
                      <a:alphaOff val="0"/>
                    </a:srgbClr>
                  </a:solidFill>
                </a:rPr>
                <a:t>Make sure that Domain Controllers are pointing to a Windows DNS server that hosts the Active Directory zones, rather than the default Azure DNS servers</a:t>
              </a:r>
            </a:p>
          </p:txBody>
        </p:sp>
      </p:grpSp>
    </p:spTree>
    <p:extLst>
      <p:ext uri="{BB962C8B-B14F-4D97-AF65-F5344CB8AC3E}">
        <p14:creationId xmlns:p14="http://schemas.microsoft.com/office/powerpoint/2010/main" val="1658124431"/>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66168" y="1212850"/>
            <a:ext cx="11871076" cy="5010602"/>
          </a:xfrm>
        </p:spPr>
        <p:txBody>
          <a:bodyPr/>
          <a:lstStyle/>
          <a:p>
            <a:pPr lvl="1"/>
            <a:r>
              <a:rPr lang="en-US" dirty="0">
                <a:latin typeface="+mj-lt"/>
              </a:rPr>
              <a:t>If it is, you may want to have a test environment built in advance</a:t>
            </a:r>
          </a:p>
          <a:p>
            <a:pPr lvl="1"/>
            <a:r>
              <a:rPr lang="en-US" dirty="0">
                <a:latin typeface="+mj-lt"/>
              </a:rPr>
              <a:t>If you have ARM templates for this, then they could be used to show how quickly they can be deployed</a:t>
            </a:r>
          </a:p>
          <a:p>
            <a:pPr lvl="1"/>
            <a:r>
              <a:rPr lang="en-US" dirty="0">
                <a:latin typeface="+mj-lt"/>
              </a:rPr>
              <a:t>If this is not part of the SOW, then this would be optional, time permitting</a:t>
            </a:r>
          </a:p>
          <a:p>
            <a:pPr lvl="1"/>
            <a:r>
              <a:rPr lang="en-US" dirty="0">
                <a:latin typeface="+mj-lt"/>
              </a:rPr>
              <a:t>If there is not enough time in covering the core Azure AD features and functions, then this could be used as an ad-hoc side discussion for the AD team, if discovered in this SAW that there is interest</a:t>
            </a:r>
          </a:p>
          <a:p>
            <a:pPr lvl="1"/>
            <a:r>
              <a:rPr lang="en-US" dirty="0">
                <a:latin typeface="+mj-lt"/>
              </a:rPr>
              <a:t>Unhide these slides if you choose to present them</a:t>
            </a:r>
          </a:p>
        </p:txBody>
      </p:sp>
      <p:sp>
        <p:nvSpPr>
          <p:cNvPr id="6" name="Text Placeholder 5"/>
          <p:cNvSpPr>
            <a:spLocks noGrp="1"/>
          </p:cNvSpPr>
          <p:nvPr>
            <p:ph type="body" sz="quarter" idx="11"/>
          </p:nvPr>
        </p:nvSpPr>
        <p:spPr/>
        <p:txBody>
          <a:bodyPr/>
          <a:lstStyle/>
          <a:p>
            <a:pPr algn="ctr"/>
            <a:r>
              <a:rPr lang="en-US" dirty="0"/>
              <a:t>DELETE THIS SLIDE BEFORE DELIVERY</a:t>
            </a:r>
          </a:p>
        </p:txBody>
      </p:sp>
      <p:sp>
        <p:nvSpPr>
          <p:cNvPr id="4" name="Title 3"/>
          <p:cNvSpPr>
            <a:spLocks noGrp="1"/>
          </p:cNvSpPr>
          <p:nvPr>
            <p:ph type="title"/>
          </p:nvPr>
        </p:nvSpPr>
        <p:spPr/>
        <p:txBody>
          <a:bodyPr/>
          <a:lstStyle/>
          <a:p>
            <a:r>
              <a:rPr lang="en-US" dirty="0">
                <a:latin typeface="+mj-lt"/>
              </a:rPr>
              <a:t>Use this section only if included in the SOW</a:t>
            </a:r>
          </a:p>
        </p:txBody>
      </p:sp>
    </p:spTree>
    <p:extLst>
      <p:ext uri="{BB962C8B-B14F-4D97-AF65-F5344CB8AC3E}">
        <p14:creationId xmlns:p14="http://schemas.microsoft.com/office/powerpoint/2010/main" val="2211344643"/>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txBox="1">
            <a:spLocks/>
          </p:cNvSpPr>
          <p:nvPr/>
        </p:nvSpPr>
        <p:spPr>
          <a:xfrm>
            <a:off x="366169" y="2481347"/>
            <a:ext cx="12068720" cy="2012859"/>
          </a:xfrm>
          <a:prstGeom prst="rect">
            <a:avLst/>
          </a:prstGeom>
          <a:noFill/>
        </p:spPr>
        <p:txBody>
          <a:bodyPr vert="horz" wrap="square" lIns="146304" tIns="91440" rIns="146304" bIns="91440" rtlCol="0" anchor="t" anchorCtr="0">
            <a:spAutoFit/>
          </a:bodyPr>
          <a:lstStyle>
            <a:lvl1pPr algn="l" defTabSz="932594" rtl="0" eaLnBrk="1" latinLnBrk="0" hangingPunct="1">
              <a:lnSpc>
                <a:spcPct val="90000"/>
              </a:lnSpc>
              <a:spcBef>
                <a:spcPct val="0"/>
              </a:spcBef>
              <a:buNone/>
              <a:defRPr lang="en-US" sz="66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dirty="0"/>
              <a:t>Active Directory domain controller integration (optional)</a:t>
            </a:r>
          </a:p>
        </p:txBody>
      </p:sp>
    </p:spTree>
    <p:extLst>
      <p:ext uri="{BB962C8B-B14F-4D97-AF65-F5344CB8AC3E}">
        <p14:creationId xmlns:p14="http://schemas.microsoft.com/office/powerpoint/2010/main" val="3906856700"/>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Extending on-premises AD to Azure</a:t>
            </a:r>
          </a:p>
        </p:txBody>
      </p:sp>
      <p:sp>
        <p:nvSpPr>
          <p:cNvPr id="7" name="Text Placeholder 5"/>
          <p:cNvSpPr txBox="1">
            <a:spLocks/>
          </p:cNvSpPr>
          <p:nvPr/>
        </p:nvSpPr>
        <p:spPr>
          <a:xfrm>
            <a:off x="366170" y="1211262"/>
            <a:ext cx="11794874" cy="3342453"/>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400" dirty="0">
                <a:gradFill>
                  <a:gsLst>
                    <a:gs pos="1250">
                      <a:schemeClr val="tx2"/>
                    </a:gs>
                    <a:gs pos="99000">
                      <a:schemeClr val="tx2"/>
                    </a:gs>
                  </a:gsLst>
                  <a:lin ang="5400000" scaled="0"/>
                </a:gradFill>
              </a:rPr>
              <a:t>When working with Virtual Machines in an Infrastructure as a Service (IaaS) environments, they most often need to be joined to an Active Directory domain. There exist two options two domain join IaaS VMs.</a:t>
            </a:r>
          </a:p>
          <a:p>
            <a:endParaRPr lang="en-US" sz="2400" dirty="0">
              <a:gradFill>
                <a:gsLst>
                  <a:gs pos="1250">
                    <a:schemeClr val="tx2"/>
                  </a:gs>
                  <a:gs pos="99000">
                    <a:schemeClr val="tx2"/>
                  </a:gs>
                </a:gsLst>
                <a:lin ang="5400000" scaled="0"/>
              </a:gradFill>
            </a:endParaRPr>
          </a:p>
          <a:p>
            <a:pPr marL="457200" indent="-457200">
              <a:buAutoNum type="arabicPeriod"/>
            </a:pPr>
            <a:r>
              <a:rPr lang="en-US" sz="2000" dirty="0">
                <a:solidFill>
                  <a:schemeClr val="tx1"/>
                </a:solidFill>
                <a:latin typeface="+mn-lt"/>
              </a:rPr>
              <a:t>Deploy a domain controller in Azure</a:t>
            </a:r>
          </a:p>
          <a:p>
            <a:pPr marL="457200" indent="-457200">
              <a:buAutoNum type="arabicPeriod"/>
            </a:pPr>
            <a:r>
              <a:rPr lang="en-US" sz="2000" dirty="0">
                <a:solidFill>
                  <a:schemeClr val="tx1"/>
                </a:solidFill>
                <a:latin typeface="+mn-lt"/>
              </a:rPr>
              <a:t>Extend on-premises domain services to Azure through a VPN connection</a:t>
            </a:r>
          </a:p>
          <a:p>
            <a:endParaRPr lang="en-US" sz="2000" dirty="0">
              <a:solidFill>
                <a:schemeClr val="tx1"/>
              </a:solidFill>
            </a:endParaRPr>
          </a:p>
          <a:p>
            <a:r>
              <a:rPr lang="en-US" sz="2400" dirty="0">
                <a:solidFill>
                  <a:schemeClr val="tx1"/>
                </a:solidFill>
              </a:rPr>
              <a:t>The following are consideration topics around extending Active Directory to Azure VMs in a safe and reliable manner:</a:t>
            </a:r>
          </a:p>
        </p:txBody>
      </p:sp>
      <p:graphicFrame>
        <p:nvGraphicFramePr>
          <p:cNvPr id="2" name="Diagram 1"/>
          <p:cNvGraphicFramePr/>
          <p:nvPr>
            <p:extLst>
              <p:ext uri="{D42A27DB-BD31-4B8C-83A1-F6EECF244321}">
                <p14:modId xmlns:p14="http://schemas.microsoft.com/office/powerpoint/2010/main" val="189916780"/>
              </p:ext>
            </p:extLst>
          </p:nvPr>
        </p:nvGraphicFramePr>
        <p:xfrm>
          <a:off x="1878013" y="4545777"/>
          <a:ext cx="8477786" cy="2286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43065602"/>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5354" y="875730"/>
          <a:ext cx="1190" cy="1190"/>
        </p:xfrm>
        <a:graphic>
          <a:graphicData uri="http://schemas.openxmlformats.org/presentationml/2006/ole">
            <mc:AlternateContent xmlns:mc="http://schemas.openxmlformats.org/markup-compatibility/2006">
              <mc:Choice xmlns:v="urn:schemas-microsoft-com:vml" Requires="v">
                <p:oleObj spid="_x0000_s10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5354" y="875730"/>
                        <a:ext cx="1190" cy="119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Domain Controllers in Azure IaaS</a:t>
            </a:r>
          </a:p>
        </p:txBody>
      </p:sp>
      <p:sp>
        <p:nvSpPr>
          <p:cNvPr id="13" name="Text Placeholder 4"/>
          <p:cNvSpPr txBox="1">
            <a:spLocks/>
          </p:cNvSpPr>
          <p:nvPr/>
        </p:nvSpPr>
        <p:spPr>
          <a:xfrm>
            <a:off x="502444" y="1121501"/>
            <a:ext cx="10287000" cy="2490018"/>
          </a:xfrm>
          <a:prstGeom prst="rect">
            <a:avLst/>
          </a:prstGeom>
        </p:spPr>
        <p:txBody>
          <a:bodyPr vert="horz" wrap="square" lIns="0" tIns="109719" rIns="137148" bIns="109719"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00"/>
              </a:spcAft>
              <a:buClr>
                <a:srgbClr val="FFFFFF">
                  <a:lumMod val="50000"/>
                </a:srgbClr>
              </a:buClr>
              <a:buNone/>
            </a:pPr>
            <a:r>
              <a:rPr lang="en-US" sz="3200" dirty="0"/>
              <a:t>Domain Controllers are highly sensitive roles</a:t>
            </a:r>
          </a:p>
          <a:p>
            <a:pPr marL="342846" lvl="1" indent="-342846" defTabSz="932594"/>
            <a:r>
              <a:rPr lang="en-US" sz="2000" dirty="0">
                <a:gradFill>
                  <a:gsLst>
                    <a:gs pos="1250">
                      <a:schemeClr val="tx1"/>
                    </a:gs>
                    <a:gs pos="100000">
                      <a:schemeClr val="tx1"/>
                    </a:gs>
                  </a:gsLst>
                  <a:lin ang="5400000" scaled="0"/>
                </a:gradFill>
              </a:rPr>
              <a:t>This topic area creates complexity for Azure implementations and is one of the first steps to enabling traditional IaaS workloads</a:t>
            </a:r>
          </a:p>
          <a:p>
            <a:pPr marL="342846" lvl="1" indent="-342846" defTabSz="932594"/>
            <a:r>
              <a:rPr lang="en-US" sz="2000" dirty="0">
                <a:gradFill>
                  <a:gsLst>
                    <a:gs pos="1250">
                      <a:schemeClr val="tx1"/>
                    </a:gs>
                    <a:gs pos="100000">
                      <a:schemeClr val="tx1"/>
                    </a:gs>
                  </a:gsLst>
                  <a:lin ang="5400000" scaled="0"/>
                </a:gradFill>
              </a:rPr>
              <a:t>Most concerns focus on trust of the service</a:t>
            </a:r>
          </a:p>
          <a:p>
            <a:pPr marL="342846" lvl="1" indent="-342846" defTabSz="932594"/>
            <a:r>
              <a:rPr lang="en-US" sz="2000" dirty="0">
                <a:gradFill>
                  <a:gsLst>
                    <a:gs pos="1250">
                      <a:schemeClr val="tx1"/>
                    </a:gs>
                    <a:gs pos="100000">
                      <a:schemeClr val="tx1"/>
                    </a:gs>
                  </a:gsLst>
                  <a:lin ang="5400000" scaled="0"/>
                </a:gradFill>
              </a:rPr>
              <a:t>Many alternative solutions do not support seamless lift-and-shift migration to Azure</a:t>
            </a:r>
          </a:p>
        </p:txBody>
      </p:sp>
      <p:sp>
        <p:nvSpPr>
          <p:cNvPr id="16" name="Text Placeholder 4"/>
          <p:cNvSpPr txBox="1">
            <a:spLocks/>
          </p:cNvSpPr>
          <p:nvPr/>
        </p:nvSpPr>
        <p:spPr>
          <a:xfrm>
            <a:off x="996569" y="4251407"/>
            <a:ext cx="4565260" cy="900036"/>
          </a:xfrm>
          <a:prstGeom prst="rect">
            <a:avLst/>
          </a:prstGeom>
        </p:spPr>
        <p:txBody>
          <a:bodyPr vert="horz" wrap="square" lIns="0" tIns="109719" rIns="137148" bIns="109719"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lumMod val="50000"/>
                </a:srgbClr>
              </a:buClr>
              <a:buNone/>
            </a:pPr>
            <a:endParaRPr lang="en-US" sz="1500" dirty="0">
              <a:solidFill>
                <a:schemeClr val="tx1">
                  <a:lumMod val="85000"/>
                  <a:lumOff val="15000"/>
                </a:schemeClr>
              </a:solidFill>
            </a:endParaRPr>
          </a:p>
        </p:txBody>
      </p:sp>
      <p:sp>
        <p:nvSpPr>
          <p:cNvPr id="17" name="Text Placeholder 4"/>
          <p:cNvSpPr txBox="1">
            <a:spLocks/>
          </p:cNvSpPr>
          <p:nvPr/>
        </p:nvSpPr>
        <p:spPr>
          <a:xfrm>
            <a:off x="1188244" y="3344862"/>
            <a:ext cx="8228151" cy="3505200"/>
          </a:xfrm>
          <a:prstGeom prst="rect">
            <a:avLst/>
          </a:prstGeom>
        </p:spPr>
        <p:txBody>
          <a:bodyPr vert="horz" wrap="square" lIns="0" tIns="109719" rIns="137148" bIns="109719"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9044">
              <a:lnSpc>
                <a:spcPct val="100000"/>
              </a:lnSpc>
              <a:spcBef>
                <a:spcPts val="0"/>
              </a:spcBef>
              <a:spcAft>
                <a:spcPts val="600"/>
              </a:spcAft>
              <a:buClr>
                <a:srgbClr val="FFFFFF">
                  <a:lumMod val="50000"/>
                </a:srgbClr>
              </a:buClr>
              <a:buNone/>
            </a:pPr>
            <a:r>
              <a:rPr lang="en-US" sz="1800" dirty="0">
                <a:solidFill>
                  <a:srgbClr val="0078D7"/>
                </a:solidFill>
              </a:rPr>
              <a:t>Replica Domain Controllers</a:t>
            </a:r>
          </a:p>
          <a:p>
            <a:pPr marL="342846" lvl="1" indent="-342846" defTabSz="932594"/>
            <a:r>
              <a:rPr lang="en-US" sz="1800" dirty="0">
                <a:gradFill>
                  <a:gsLst>
                    <a:gs pos="1250">
                      <a:schemeClr val="tx1"/>
                    </a:gs>
                    <a:gs pos="100000">
                      <a:schemeClr val="tx1"/>
                    </a:gs>
                  </a:gsLst>
                  <a:lin ang="5400000" scaled="0"/>
                </a:gradFill>
              </a:rPr>
              <a:t>Best choice for IaaS workloads</a:t>
            </a:r>
          </a:p>
          <a:p>
            <a:pPr marL="342846" lvl="1" indent="-342846" defTabSz="932594"/>
            <a:r>
              <a:rPr lang="en-US" sz="1800" dirty="0">
                <a:gradFill>
                  <a:gsLst>
                    <a:gs pos="1250">
                      <a:schemeClr val="tx1"/>
                    </a:gs>
                    <a:gs pos="100000">
                      <a:schemeClr val="tx1"/>
                    </a:gs>
                  </a:gsLst>
                  <a:lin ang="5400000" scaled="0"/>
                </a:gradFill>
              </a:rPr>
              <a:t>Should mirror existing datacenter environment with respect to replica domain requirements</a:t>
            </a:r>
          </a:p>
          <a:p>
            <a:pPr marL="469044">
              <a:lnSpc>
                <a:spcPct val="100000"/>
              </a:lnSpc>
              <a:spcBef>
                <a:spcPts val="0"/>
              </a:spcBef>
              <a:spcAft>
                <a:spcPts val="600"/>
              </a:spcAft>
              <a:buClr>
                <a:srgbClr val="FFFFFF">
                  <a:lumMod val="50000"/>
                </a:srgbClr>
              </a:buClr>
              <a:buNone/>
            </a:pPr>
            <a:r>
              <a:rPr lang="en-US" sz="1800" dirty="0">
                <a:solidFill>
                  <a:srgbClr val="0078D7"/>
                </a:solidFill>
              </a:rPr>
              <a:t>Read-only Domain Controllers</a:t>
            </a:r>
          </a:p>
          <a:p>
            <a:pPr marL="342846" lvl="1" indent="-342846" defTabSz="932594"/>
            <a:r>
              <a:rPr lang="en-US" sz="1800" dirty="0">
                <a:gradFill>
                  <a:gsLst>
                    <a:gs pos="1250">
                      <a:schemeClr val="tx1"/>
                    </a:gs>
                    <a:gs pos="100000">
                      <a:schemeClr val="tx1"/>
                    </a:gs>
                  </a:gsLst>
                  <a:lin ang="5400000" scaled="0"/>
                </a:gradFill>
              </a:rPr>
              <a:t>Built for situations with poor physical security</a:t>
            </a:r>
          </a:p>
          <a:p>
            <a:pPr marL="342846" lvl="1" indent="-342846" defTabSz="932594"/>
            <a:r>
              <a:rPr lang="en-US" sz="1800" dirty="0">
                <a:gradFill>
                  <a:gsLst>
                    <a:gs pos="1250">
                      <a:schemeClr val="tx1"/>
                    </a:gs>
                    <a:gs pos="100000">
                      <a:schemeClr val="tx1"/>
                    </a:gs>
                  </a:gsLst>
                  <a:lin ang="5400000" scaled="0"/>
                </a:gradFill>
              </a:rPr>
              <a:t>Poor choice for Azure, does not address IaaS needs and typically results in downtime for extended applications</a:t>
            </a:r>
          </a:p>
          <a:p>
            <a:pPr marL="469044">
              <a:lnSpc>
                <a:spcPct val="100000"/>
              </a:lnSpc>
              <a:spcBef>
                <a:spcPts val="0"/>
              </a:spcBef>
              <a:spcAft>
                <a:spcPts val="600"/>
              </a:spcAft>
              <a:buClr>
                <a:srgbClr val="FFFFFF">
                  <a:lumMod val="50000"/>
                </a:srgbClr>
              </a:buClr>
              <a:buNone/>
            </a:pPr>
            <a:r>
              <a:rPr lang="en-US" sz="1800" dirty="0">
                <a:solidFill>
                  <a:srgbClr val="0078D7"/>
                </a:solidFill>
              </a:rPr>
              <a:t>Resource forest</a:t>
            </a:r>
          </a:p>
          <a:p>
            <a:pPr marL="342846" lvl="1" indent="-342846" defTabSz="932594"/>
            <a:r>
              <a:rPr lang="en-US" sz="1800" dirty="0">
                <a:gradFill>
                  <a:gsLst>
                    <a:gs pos="1250">
                      <a:schemeClr val="tx1"/>
                    </a:gs>
                    <a:gs pos="100000">
                      <a:schemeClr val="tx1"/>
                    </a:gs>
                  </a:gsLst>
                  <a:lin ang="5400000" scaled="0"/>
                </a:gradFill>
              </a:rPr>
              <a:t>Unless currently in place on-premises this posture can hinder migration efforts</a:t>
            </a:r>
          </a:p>
        </p:txBody>
      </p:sp>
      <p:sp>
        <p:nvSpPr>
          <p:cNvPr id="12" name="&quot;No&quot; Symbol 11"/>
          <p:cNvSpPr/>
          <p:nvPr/>
        </p:nvSpPr>
        <p:spPr bwMode="auto">
          <a:xfrm>
            <a:off x="947549" y="4711595"/>
            <a:ext cx="210866" cy="213990"/>
          </a:xfrm>
          <a:prstGeom prst="noSmoking">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902997" y="3535896"/>
            <a:ext cx="335008" cy="168695"/>
            <a:chOff x="-446715" y="3657963"/>
            <a:chExt cx="531885" cy="356848"/>
          </a:xfrm>
          <a:solidFill>
            <a:srgbClr val="00B050"/>
          </a:solidFill>
        </p:grpSpPr>
        <p:sp>
          <p:nvSpPr>
            <p:cNvPr id="6" name="Diagonal Stripe 5"/>
            <p:cNvSpPr/>
            <p:nvPr/>
          </p:nvSpPr>
          <p:spPr bwMode="auto">
            <a:xfrm rot="20047154">
              <a:off x="-300486" y="3657963"/>
              <a:ext cx="385656" cy="287074"/>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Diagonal Stripe 13"/>
            <p:cNvSpPr/>
            <p:nvPr/>
          </p:nvSpPr>
          <p:spPr bwMode="auto">
            <a:xfrm rot="5400000">
              <a:off x="-440124" y="3783274"/>
              <a:ext cx="224946" cy="238128"/>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 name="Hexagon 8"/>
          <p:cNvSpPr/>
          <p:nvPr/>
        </p:nvSpPr>
        <p:spPr bwMode="auto">
          <a:xfrm>
            <a:off x="977661" y="5992037"/>
            <a:ext cx="182536" cy="171435"/>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p:nvPicPr>
        <p:blipFill rotWithShape="1">
          <a:blip r:embed="rId7" cstate="screen">
            <a:extLst>
              <a:ext uri="{28A0092B-C50C-407E-A947-70E740481C1C}">
                <a14:useLocalDpi xmlns:a14="http://schemas.microsoft.com/office/drawing/2010/main"/>
              </a:ext>
            </a:extLst>
          </a:blip>
          <a:srcRect l="22526" r="24465" b="43240"/>
          <a:stretch/>
        </p:blipFill>
        <p:spPr>
          <a:xfrm>
            <a:off x="11268689" y="357555"/>
            <a:ext cx="800032" cy="793019"/>
          </a:xfrm>
          <a:prstGeom prst="rect">
            <a:avLst/>
          </a:prstGeom>
        </p:spPr>
      </p:pic>
    </p:spTree>
    <p:extLst>
      <p:ext uri="{BB962C8B-B14F-4D97-AF65-F5344CB8AC3E}">
        <p14:creationId xmlns:p14="http://schemas.microsoft.com/office/powerpoint/2010/main" val="1761742829"/>
      </p:ext>
    </p:extLst>
  </p:cSld>
  <p:clrMapOvr>
    <a:masterClrMapping/>
  </p:clrMapOvr>
  <p:transition spd="med">
    <p:fade/>
  </p:transition>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5354" y="875730"/>
          <a:ext cx="1190" cy="1190"/>
        </p:xfrm>
        <a:graphic>
          <a:graphicData uri="http://schemas.openxmlformats.org/presentationml/2006/ole">
            <mc:AlternateContent xmlns:mc="http://schemas.openxmlformats.org/markup-compatibility/2006">
              <mc:Choice xmlns:v="urn:schemas-microsoft-com:vml" Requires="v">
                <p:oleObj spid="_x0000_s20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5354" y="875730"/>
                        <a:ext cx="1190" cy="119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Domain Controllers In Azure</a:t>
            </a:r>
          </a:p>
        </p:txBody>
      </p:sp>
      <p:sp>
        <p:nvSpPr>
          <p:cNvPr id="13" name="Text Placeholder 4"/>
          <p:cNvSpPr txBox="1">
            <a:spLocks/>
          </p:cNvSpPr>
          <p:nvPr/>
        </p:nvSpPr>
        <p:spPr>
          <a:xfrm>
            <a:off x="502444" y="1211262"/>
            <a:ext cx="11506200" cy="5029199"/>
          </a:xfrm>
          <a:prstGeom prst="rect">
            <a:avLst/>
          </a:prstGeom>
        </p:spPr>
        <p:txBody>
          <a:bodyPr vert="horz" wrap="square" lIns="0" tIns="109719" rIns="137148" bIns="109719"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3200" dirty="0">
                <a:latin typeface="Segoe UI Light" pitchFamily="34" charset="0"/>
              </a:rPr>
              <a:t>Consider the use of the Tier 0 subscription reference model depending on the subscription design</a:t>
            </a:r>
          </a:p>
          <a:p>
            <a:pPr lvl="0"/>
            <a:r>
              <a:rPr lang="en-US" sz="3200" dirty="0">
                <a:latin typeface="Segoe UI Light" pitchFamily="34" charset="0"/>
              </a:rPr>
              <a:t>Consider the logical flow of choosing security controls including the “do no harm” approach to security controls</a:t>
            </a:r>
          </a:p>
          <a:p>
            <a:pPr lvl="0"/>
            <a:r>
              <a:rPr lang="en-US" sz="3200" dirty="0">
                <a:latin typeface="Segoe UI Light" pitchFamily="34" charset="0"/>
              </a:rPr>
              <a:t>Limit endpoint exposure to AD DS VMs</a:t>
            </a:r>
          </a:p>
          <a:p>
            <a:pPr lvl="0"/>
            <a:r>
              <a:rPr lang="en-US" sz="3200" dirty="0">
                <a:solidFill>
                  <a:schemeClr val="tx1"/>
                </a:solidFill>
                <a:latin typeface="Segoe UI Light" pitchFamily="34" charset="0"/>
              </a:rPr>
              <a:t>Protect VHDs</a:t>
            </a:r>
          </a:p>
          <a:p>
            <a:pPr marL="558746" lvl="2" indent="-342846" defTabSz="932594"/>
            <a:r>
              <a:rPr lang="en-US" sz="1600" dirty="0">
                <a:gradFill>
                  <a:gsLst>
                    <a:gs pos="1250">
                      <a:schemeClr val="tx1"/>
                    </a:gs>
                    <a:gs pos="100000">
                      <a:schemeClr val="tx1"/>
                    </a:gs>
                  </a:gsLst>
                  <a:lin ang="5400000" scaled="0"/>
                </a:gradFill>
              </a:rPr>
              <a:t>Active Directory database is not encrypted</a:t>
            </a:r>
          </a:p>
          <a:p>
            <a:pPr marL="558746" lvl="2" indent="-342846" defTabSz="932594"/>
            <a:r>
              <a:rPr lang="en-US" sz="1600" dirty="0">
                <a:gradFill>
                  <a:gsLst>
                    <a:gs pos="1250">
                      <a:schemeClr val="tx1"/>
                    </a:gs>
                    <a:gs pos="100000">
                      <a:schemeClr val="tx1"/>
                    </a:gs>
                  </a:gsLst>
                  <a:lin ang="5400000" scaled="0"/>
                </a:gradFill>
              </a:rPr>
              <a:t>Encrypt AD DS VHDs using first or third-party tools</a:t>
            </a:r>
          </a:p>
          <a:p>
            <a:pPr marL="558746" lvl="2" indent="-342846" defTabSz="932594"/>
            <a:r>
              <a:rPr lang="en-US" sz="1600" dirty="0">
                <a:gradFill>
                  <a:gsLst>
                    <a:gs pos="1250">
                      <a:schemeClr val="tx1"/>
                    </a:gs>
                    <a:gs pos="100000">
                      <a:schemeClr val="tx1"/>
                    </a:gs>
                  </a:gsLst>
                  <a:lin ang="5400000" scaled="0"/>
                </a:gradFill>
              </a:rPr>
              <a:t>Create a separate Storage Account for Domain Controller VHDs</a:t>
            </a:r>
          </a:p>
          <a:p>
            <a:pPr marL="558746" lvl="2" indent="-342846" defTabSz="932594"/>
            <a:r>
              <a:rPr lang="en-US" sz="1600" dirty="0">
                <a:gradFill>
                  <a:gsLst>
                    <a:gs pos="1250">
                      <a:schemeClr val="tx1"/>
                    </a:gs>
                    <a:gs pos="100000">
                      <a:schemeClr val="tx1"/>
                    </a:gs>
                  </a:gsLst>
                  <a:lin ang="5400000" scaled="0"/>
                </a:gradFill>
              </a:rPr>
              <a:t>Limit access to the Azure Management Portal to administrators, which requires access to the service</a:t>
            </a:r>
          </a:p>
          <a:p>
            <a:pPr marL="729756"/>
            <a:endParaRPr lang="en-US" sz="2000" dirty="0">
              <a:solidFill>
                <a:schemeClr val="tx1"/>
              </a:solidFill>
              <a:latin typeface="Segoe UI Light" pitchFamily="34" charset="0"/>
            </a:endParaRPr>
          </a:p>
        </p:txBody>
      </p:sp>
      <p:pic>
        <p:nvPicPr>
          <p:cNvPr id="7" name="Picture 6"/>
          <p:cNvPicPr>
            <a:picLocks noChangeAspect="1"/>
          </p:cNvPicPr>
          <p:nvPr/>
        </p:nvPicPr>
        <p:blipFill rotWithShape="1">
          <a:blip r:embed="rId7" cstate="screen">
            <a:extLst>
              <a:ext uri="{28A0092B-C50C-407E-A947-70E740481C1C}">
                <a14:useLocalDpi xmlns:a14="http://schemas.microsoft.com/office/drawing/2010/main"/>
              </a:ext>
            </a:extLst>
          </a:blip>
          <a:srcRect l="22526" r="24465" b="43240"/>
          <a:stretch/>
        </p:blipFill>
        <p:spPr>
          <a:xfrm>
            <a:off x="11268689" y="357555"/>
            <a:ext cx="800032" cy="793019"/>
          </a:xfrm>
          <a:prstGeom prst="rect">
            <a:avLst/>
          </a:prstGeom>
        </p:spPr>
      </p:pic>
    </p:spTree>
    <p:extLst>
      <p:ext uri="{BB962C8B-B14F-4D97-AF65-F5344CB8AC3E}">
        <p14:creationId xmlns:p14="http://schemas.microsoft.com/office/powerpoint/2010/main" val="1528895974"/>
      </p:ext>
    </p:extLst>
  </p:cSld>
  <p:clrMapOvr>
    <a:masterClrMapping/>
  </p:clrMapOvr>
  <p:transition spd="med">
    <p:fade/>
  </p:transition>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Extending on-premises AD – Networking </a:t>
            </a:r>
          </a:p>
        </p:txBody>
      </p:sp>
      <p:sp>
        <p:nvSpPr>
          <p:cNvPr id="7" name="Text Placeholder 5"/>
          <p:cNvSpPr txBox="1">
            <a:spLocks/>
          </p:cNvSpPr>
          <p:nvPr/>
        </p:nvSpPr>
        <p:spPr>
          <a:xfrm>
            <a:off x="366170" y="1211263"/>
            <a:ext cx="11413874" cy="1071062"/>
          </a:xfrm>
          <a:prstGeom prst="rect">
            <a:avLst/>
          </a:prstGeom>
        </p:spPr>
        <p:txBody>
          <a:bodyPr vert="horz" wrap="square" lIns="164592" tIns="91440" rIns="164592"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200" dirty="0">
                <a:gradFill>
                  <a:gsLst>
                    <a:gs pos="1250">
                      <a:schemeClr val="tx2"/>
                    </a:gs>
                    <a:gs pos="99000">
                      <a:schemeClr val="tx2"/>
                    </a:gs>
                  </a:gsLst>
                  <a:lin ang="5400000" scaled="0"/>
                </a:gradFill>
              </a:rPr>
              <a:t>When considering extending Active Directory to Azure, there are two primary areas of networking that need focus:</a:t>
            </a:r>
          </a:p>
        </p:txBody>
      </p:sp>
      <p:sp>
        <p:nvSpPr>
          <p:cNvPr id="8" name="Freeform: Shape 7"/>
          <p:cNvSpPr/>
          <p:nvPr/>
        </p:nvSpPr>
        <p:spPr>
          <a:xfrm>
            <a:off x="4697444" y="2569258"/>
            <a:ext cx="6396800" cy="1693705"/>
          </a:xfrm>
          <a:custGeom>
            <a:avLst/>
            <a:gdLst>
              <a:gd name="connsiteX0" fmla="*/ 282290 w 1693704"/>
              <a:gd name="connsiteY0" fmla="*/ 0 h 5425783"/>
              <a:gd name="connsiteX1" fmla="*/ 1411414 w 1693704"/>
              <a:gd name="connsiteY1" fmla="*/ 0 h 5425783"/>
              <a:gd name="connsiteX2" fmla="*/ 1693704 w 1693704"/>
              <a:gd name="connsiteY2" fmla="*/ 282290 h 5425783"/>
              <a:gd name="connsiteX3" fmla="*/ 1693704 w 1693704"/>
              <a:gd name="connsiteY3" fmla="*/ 5425783 h 5425783"/>
              <a:gd name="connsiteX4" fmla="*/ 1693704 w 1693704"/>
              <a:gd name="connsiteY4" fmla="*/ 5425783 h 5425783"/>
              <a:gd name="connsiteX5" fmla="*/ 0 w 1693704"/>
              <a:gd name="connsiteY5" fmla="*/ 5425783 h 5425783"/>
              <a:gd name="connsiteX6" fmla="*/ 0 w 1693704"/>
              <a:gd name="connsiteY6" fmla="*/ 5425783 h 5425783"/>
              <a:gd name="connsiteX7" fmla="*/ 0 w 1693704"/>
              <a:gd name="connsiteY7" fmla="*/ 282290 h 5425783"/>
              <a:gd name="connsiteX8" fmla="*/ 282290 w 1693704"/>
              <a:gd name="connsiteY8" fmla="*/ 0 h 5425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3704" h="5425783">
                <a:moveTo>
                  <a:pt x="1693704" y="904317"/>
                </a:moveTo>
                <a:lnTo>
                  <a:pt x="1693704" y="4521466"/>
                </a:lnTo>
                <a:cubicBezTo>
                  <a:pt x="1693704" y="5020904"/>
                  <a:pt x="1654251" y="5425781"/>
                  <a:pt x="1605585" y="5425781"/>
                </a:cubicBezTo>
                <a:lnTo>
                  <a:pt x="0" y="5425781"/>
                </a:lnTo>
                <a:lnTo>
                  <a:pt x="0" y="5425781"/>
                </a:lnTo>
                <a:lnTo>
                  <a:pt x="0" y="2"/>
                </a:lnTo>
                <a:lnTo>
                  <a:pt x="0" y="2"/>
                </a:lnTo>
                <a:lnTo>
                  <a:pt x="1605585" y="2"/>
                </a:lnTo>
                <a:cubicBezTo>
                  <a:pt x="1654251" y="2"/>
                  <a:pt x="1693704" y="404879"/>
                  <a:pt x="1693704" y="904317"/>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7151" tIns="111255" rIns="139830" bIns="111256" numCol="1" spcCol="1270" anchor="ctr" anchorCtr="0">
            <a:noAutofit/>
          </a:bodyPr>
          <a:lstStyle/>
          <a:p>
            <a:pPr marL="580671" lvl="2" indent="-114300" defTabSz="666750">
              <a:lnSpc>
                <a:spcPct val="90000"/>
              </a:lnSpc>
              <a:spcBef>
                <a:spcPct val="0"/>
              </a:spcBef>
              <a:spcAft>
                <a:spcPct val="15000"/>
              </a:spcAft>
              <a:buChar char="•"/>
            </a:pPr>
            <a:r>
              <a:rPr lang="en-US" sz="1400" kern="1200" dirty="0">
                <a:solidFill>
                  <a:schemeClr val="tx1"/>
                </a:solidFill>
                <a:latin typeface="+mj-lt"/>
              </a:rPr>
              <a:t>If a customer wants to keep Domain Controllers on-premises, they will need either an ExpressRoute connection or a Site-to-Site VPN connection into Azure.  </a:t>
            </a:r>
          </a:p>
          <a:p>
            <a:pPr marL="580671" lvl="2" indent="-114300" defTabSz="666750">
              <a:lnSpc>
                <a:spcPct val="90000"/>
              </a:lnSpc>
              <a:spcBef>
                <a:spcPct val="0"/>
              </a:spcBef>
              <a:spcAft>
                <a:spcPct val="15000"/>
              </a:spcAft>
              <a:buChar char="•"/>
            </a:pPr>
            <a:r>
              <a:rPr lang="en-US" sz="1400" kern="1200" dirty="0">
                <a:solidFill>
                  <a:schemeClr val="tx1"/>
                </a:solidFill>
                <a:latin typeface="+mj-lt"/>
              </a:rPr>
              <a:t>Every time a VM in Azure needs to access a Domain Controller, it will traverse this connection over the WAN. </a:t>
            </a:r>
          </a:p>
        </p:txBody>
      </p:sp>
      <p:sp>
        <p:nvSpPr>
          <p:cNvPr id="9" name="Freeform: Shape 8"/>
          <p:cNvSpPr/>
          <p:nvPr/>
        </p:nvSpPr>
        <p:spPr>
          <a:xfrm>
            <a:off x="1950244" y="2357543"/>
            <a:ext cx="3052002" cy="2117131"/>
          </a:xfrm>
          <a:custGeom>
            <a:avLst/>
            <a:gdLst>
              <a:gd name="connsiteX0" fmla="*/ 0 w 3052002"/>
              <a:gd name="connsiteY0" fmla="*/ 352862 h 2117131"/>
              <a:gd name="connsiteX1" fmla="*/ 352862 w 3052002"/>
              <a:gd name="connsiteY1" fmla="*/ 0 h 2117131"/>
              <a:gd name="connsiteX2" fmla="*/ 2699140 w 3052002"/>
              <a:gd name="connsiteY2" fmla="*/ 0 h 2117131"/>
              <a:gd name="connsiteX3" fmla="*/ 3052002 w 3052002"/>
              <a:gd name="connsiteY3" fmla="*/ 352862 h 2117131"/>
              <a:gd name="connsiteX4" fmla="*/ 3052002 w 3052002"/>
              <a:gd name="connsiteY4" fmla="*/ 1764269 h 2117131"/>
              <a:gd name="connsiteX5" fmla="*/ 2699140 w 3052002"/>
              <a:gd name="connsiteY5" fmla="*/ 2117131 h 2117131"/>
              <a:gd name="connsiteX6" fmla="*/ 352862 w 3052002"/>
              <a:gd name="connsiteY6" fmla="*/ 2117131 h 2117131"/>
              <a:gd name="connsiteX7" fmla="*/ 0 w 3052002"/>
              <a:gd name="connsiteY7" fmla="*/ 1764269 h 2117131"/>
              <a:gd name="connsiteX8" fmla="*/ 0 w 3052002"/>
              <a:gd name="connsiteY8" fmla="*/ 352862 h 211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2002" h="2117131">
                <a:moveTo>
                  <a:pt x="0" y="352862"/>
                </a:moveTo>
                <a:cubicBezTo>
                  <a:pt x="0" y="157982"/>
                  <a:pt x="157982" y="0"/>
                  <a:pt x="352862" y="0"/>
                </a:cubicBezTo>
                <a:lnTo>
                  <a:pt x="2699140" y="0"/>
                </a:lnTo>
                <a:cubicBezTo>
                  <a:pt x="2894020" y="0"/>
                  <a:pt x="3052002" y="157982"/>
                  <a:pt x="3052002" y="352862"/>
                </a:cubicBezTo>
                <a:lnTo>
                  <a:pt x="3052002" y="1764269"/>
                </a:lnTo>
                <a:cubicBezTo>
                  <a:pt x="3052002" y="1959149"/>
                  <a:pt x="2894020" y="2117131"/>
                  <a:pt x="2699140" y="2117131"/>
                </a:cubicBezTo>
                <a:lnTo>
                  <a:pt x="352862" y="2117131"/>
                </a:lnTo>
                <a:cubicBezTo>
                  <a:pt x="157982" y="2117131"/>
                  <a:pt x="0" y="1959149"/>
                  <a:pt x="0" y="1764269"/>
                </a:cubicBezTo>
                <a:lnTo>
                  <a:pt x="0" y="35286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980" tIns="147165" rIns="190980" bIns="147165" numCol="1" spcCol="1270" anchor="ctr" anchorCtr="0">
            <a:noAutofit/>
          </a:bodyPr>
          <a:lstStyle/>
          <a:p>
            <a:pPr marL="0" lvl="0" indent="0" algn="ctr" defTabSz="1022350">
              <a:lnSpc>
                <a:spcPct val="90000"/>
              </a:lnSpc>
              <a:spcBef>
                <a:spcPct val="0"/>
              </a:spcBef>
              <a:spcAft>
                <a:spcPct val="35000"/>
              </a:spcAft>
              <a:buNone/>
            </a:pPr>
            <a:r>
              <a:rPr lang="en-US" kern="1200" dirty="0">
                <a:latin typeface="Segoe UI Semibold" panose="020B0702040204020203" pitchFamily="34" charset="0"/>
                <a:cs typeface="Segoe UI Semibold" panose="020B0702040204020203" pitchFamily="34" charset="0"/>
              </a:rPr>
              <a:t>Connecting on-premises Domain Controllers              to Azure VMs</a:t>
            </a:r>
          </a:p>
        </p:txBody>
      </p:sp>
      <p:sp>
        <p:nvSpPr>
          <p:cNvPr id="10" name="Freeform: Shape 9"/>
          <p:cNvSpPr/>
          <p:nvPr/>
        </p:nvSpPr>
        <p:spPr>
          <a:xfrm>
            <a:off x="4697444" y="4792244"/>
            <a:ext cx="6396800" cy="1693705"/>
          </a:xfrm>
          <a:custGeom>
            <a:avLst/>
            <a:gdLst>
              <a:gd name="connsiteX0" fmla="*/ 282290 w 1693704"/>
              <a:gd name="connsiteY0" fmla="*/ 0 h 5425783"/>
              <a:gd name="connsiteX1" fmla="*/ 1411414 w 1693704"/>
              <a:gd name="connsiteY1" fmla="*/ 0 h 5425783"/>
              <a:gd name="connsiteX2" fmla="*/ 1693704 w 1693704"/>
              <a:gd name="connsiteY2" fmla="*/ 282290 h 5425783"/>
              <a:gd name="connsiteX3" fmla="*/ 1693704 w 1693704"/>
              <a:gd name="connsiteY3" fmla="*/ 5425783 h 5425783"/>
              <a:gd name="connsiteX4" fmla="*/ 1693704 w 1693704"/>
              <a:gd name="connsiteY4" fmla="*/ 5425783 h 5425783"/>
              <a:gd name="connsiteX5" fmla="*/ 0 w 1693704"/>
              <a:gd name="connsiteY5" fmla="*/ 5425783 h 5425783"/>
              <a:gd name="connsiteX6" fmla="*/ 0 w 1693704"/>
              <a:gd name="connsiteY6" fmla="*/ 5425783 h 5425783"/>
              <a:gd name="connsiteX7" fmla="*/ 0 w 1693704"/>
              <a:gd name="connsiteY7" fmla="*/ 282290 h 5425783"/>
              <a:gd name="connsiteX8" fmla="*/ 282290 w 1693704"/>
              <a:gd name="connsiteY8" fmla="*/ 0 h 5425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3704" h="5425783">
                <a:moveTo>
                  <a:pt x="1693704" y="904317"/>
                </a:moveTo>
                <a:lnTo>
                  <a:pt x="1693704" y="4521466"/>
                </a:lnTo>
                <a:cubicBezTo>
                  <a:pt x="1693704" y="5020904"/>
                  <a:pt x="1654251" y="5425781"/>
                  <a:pt x="1605585" y="5425781"/>
                </a:cubicBezTo>
                <a:lnTo>
                  <a:pt x="0" y="5425781"/>
                </a:lnTo>
                <a:lnTo>
                  <a:pt x="0" y="5425781"/>
                </a:lnTo>
                <a:lnTo>
                  <a:pt x="0" y="2"/>
                </a:lnTo>
                <a:lnTo>
                  <a:pt x="0" y="2"/>
                </a:lnTo>
                <a:lnTo>
                  <a:pt x="1605585" y="2"/>
                </a:lnTo>
                <a:cubicBezTo>
                  <a:pt x="1654251" y="2"/>
                  <a:pt x="1693704" y="404879"/>
                  <a:pt x="1693704" y="904317"/>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7151" tIns="111255" rIns="139830" bIns="111256" numCol="1" spcCol="1270" anchor="ctr" anchorCtr="0">
            <a:noAutofit/>
          </a:bodyPr>
          <a:lstStyle/>
          <a:p>
            <a:pPr marL="580671" lvl="2" indent="-114300" defTabSz="666750">
              <a:lnSpc>
                <a:spcPct val="90000"/>
              </a:lnSpc>
              <a:spcBef>
                <a:spcPct val="0"/>
              </a:spcBef>
              <a:spcAft>
                <a:spcPct val="15000"/>
              </a:spcAft>
              <a:buChar char="•"/>
            </a:pPr>
            <a:r>
              <a:rPr lang="en-US" sz="1400" kern="1200" dirty="0">
                <a:solidFill>
                  <a:schemeClr val="tx1"/>
                </a:solidFill>
                <a:latin typeface="+mj-lt"/>
              </a:rPr>
              <a:t>Virtual Machines in Azure get IP addresses assigned dynamically from                  the </a:t>
            </a:r>
            <a:r>
              <a:rPr lang="en-US" sz="1400" dirty="0" err="1">
                <a:solidFill>
                  <a:schemeClr val="tx1"/>
                </a:solidFill>
                <a:latin typeface="+mj-lt"/>
              </a:rPr>
              <a:t>V</a:t>
            </a:r>
            <a:r>
              <a:rPr lang="en-US" sz="1400" kern="1200" dirty="0" err="1">
                <a:solidFill>
                  <a:schemeClr val="tx1"/>
                </a:solidFill>
                <a:latin typeface="+mj-lt"/>
              </a:rPr>
              <a:t>Net</a:t>
            </a:r>
            <a:r>
              <a:rPr lang="en-US" sz="1400" kern="1200" dirty="0">
                <a:solidFill>
                  <a:schemeClr val="tx1"/>
                </a:solidFill>
                <a:latin typeface="+mj-lt"/>
              </a:rPr>
              <a:t> that they reside in.  </a:t>
            </a:r>
          </a:p>
          <a:p>
            <a:pPr marL="580671" lvl="2" indent="-114300" defTabSz="666750">
              <a:lnSpc>
                <a:spcPct val="90000"/>
              </a:lnSpc>
              <a:spcBef>
                <a:spcPct val="0"/>
              </a:spcBef>
              <a:spcAft>
                <a:spcPct val="15000"/>
              </a:spcAft>
              <a:buChar char="•"/>
            </a:pPr>
            <a:r>
              <a:rPr lang="en-US" sz="1400" kern="1200" dirty="0">
                <a:solidFill>
                  <a:schemeClr val="tx1"/>
                </a:solidFill>
                <a:latin typeface="+mj-lt"/>
              </a:rPr>
              <a:t>In general, it is safe to allow Azure to assign a dynamic IP address to a DC. If, however, you want a domain controller to have a specific IP address, you can configure Azure to provide a static IP to the DC.</a:t>
            </a:r>
          </a:p>
        </p:txBody>
      </p:sp>
      <p:sp>
        <p:nvSpPr>
          <p:cNvPr id="11" name="Freeform: Shape 10"/>
          <p:cNvSpPr/>
          <p:nvPr/>
        </p:nvSpPr>
        <p:spPr>
          <a:xfrm>
            <a:off x="1950244" y="4580531"/>
            <a:ext cx="3052002" cy="2117131"/>
          </a:xfrm>
          <a:custGeom>
            <a:avLst/>
            <a:gdLst>
              <a:gd name="connsiteX0" fmla="*/ 0 w 3052002"/>
              <a:gd name="connsiteY0" fmla="*/ 352862 h 2117131"/>
              <a:gd name="connsiteX1" fmla="*/ 352862 w 3052002"/>
              <a:gd name="connsiteY1" fmla="*/ 0 h 2117131"/>
              <a:gd name="connsiteX2" fmla="*/ 2699140 w 3052002"/>
              <a:gd name="connsiteY2" fmla="*/ 0 h 2117131"/>
              <a:gd name="connsiteX3" fmla="*/ 3052002 w 3052002"/>
              <a:gd name="connsiteY3" fmla="*/ 352862 h 2117131"/>
              <a:gd name="connsiteX4" fmla="*/ 3052002 w 3052002"/>
              <a:gd name="connsiteY4" fmla="*/ 1764269 h 2117131"/>
              <a:gd name="connsiteX5" fmla="*/ 2699140 w 3052002"/>
              <a:gd name="connsiteY5" fmla="*/ 2117131 h 2117131"/>
              <a:gd name="connsiteX6" fmla="*/ 352862 w 3052002"/>
              <a:gd name="connsiteY6" fmla="*/ 2117131 h 2117131"/>
              <a:gd name="connsiteX7" fmla="*/ 0 w 3052002"/>
              <a:gd name="connsiteY7" fmla="*/ 1764269 h 2117131"/>
              <a:gd name="connsiteX8" fmla="*/ 0 w 3052002"/>
              <a:gd name="connsiteY8" fmla="*/ 352862 h 211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2002" h="2117131">
                <a:moveTo>
                  <a:pt x="0" y="352862"/>
                </a:moveTo>
                <a:cubicBezTo>
                  <a:pt x="0" y="157982"/>
                  <a:pt x="157982" y="0"/>
                  <a:pt x="352862" y="0"/>
                </a:cubicBezTo>
                <a:lnTo>
                  <a:pt x="2699140" y="0"/>
                </a:lnTo>
                <a:cubicBezTo>
                  <a:pt x="2894020" y="0"/>
                  <a:pt x="3052002" y="157982"/>
                  <a:pt x="3052002" y="352862"/>
                </a:cubicBezTo>
                <a:lnTo>
                  <a:pt x="3052002" y="1764269"/>
                </a:lnTo>
                <a:cubicBezTo>
                  <a:pt x="3052002" y="1959149"/>
                  <a:pt x="2894020" y="2117131"/>
                  <a:pt x="2699140" y="2117131"/>
                </a:cubicBezTo>
                <a:lnTo>
                  <a:pt x="352862" y="2117131"/>
                </a:lnTo>
                <a:cubicBezTo>
                  <a:pt x="157982" y="2117131"/>
                  <a:pt x="0" y="1959149"/>
                  <a:pt x="0" y="1764269"/>
                </a:cubicBezTo>
                <a:lnTo>
                  <a:pt x="0" y="35286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980" tIns="147165" rIns="190980" bIns="147165" numCol="1" spcCol="1270" anchor="ctr" anchorCtr="0">
            <a:noAutofit/>
          </a:bodyPr>
          <a:lstStyle/>
          <a:p>
            <a:pPr marL="0" lvl="0" indent="0" algn="ctr" defTabSz="1022350">
              <a:lnSpc>
                <a:spcPct val="90000"/>
              </a:lnSpc>
              <a:spcBef>
                <a:spcPct val="0"/>
              </a:spcBef>
              <a:spcAft>
                <a:spcPct val="35000"/>
              </a:spcAft>
              <a:buNone/>
            </a:pPr>
            <a:r>
              <a:rPr lang="en-US" kern="1200" dirty="0">
                <a:latin typeface="Segoe UI Semibold" panose="020B0702040204020203" pitchFamily="34" charset="0"/>
                <a:cs typeface="Segoe UI Semibold" panose="020B0702040204020203" pitchFamily="34" charset="0"/>
              </a:rPr>
              <a:t>Networking the Domain Controllers in Azure         with the virtual        networks in IaaS</a:t>
            </a:r>
          </a:p>
        </p:txBody>
      </p:sp>
    </p:spTree>
    <p:extLst>
      <p:ext uri="{BB962C8B-B14F-4D97-AF65-F5344CB8AC3E}">
        <p14:creationId xmlns:p14="http://schemas.microsoft.com/office/powerpoint/2010/main" val="3926964906"/>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17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5244" y="1212850"/>
            <a:ext cx="12268200" cy="3582519"/>
          </a:xfrm>
        </p:spPr>
        <p:txBody>
          <a:bodyPr/>
          <a:lstStyle/>
          <a:p>
            <a:pPr lvl="1"/>
            <a:r>
              <a:rPr lang="en-US" dirty="0">
                <a:latin typeface="+mj-lt"/>
              </a:rPr>
              <a:t>This is add-on content for the 1</a:t>
            </a:r>
            <a:r>
              <a:rPr lang="en-US" baseline="30000" dirty="0">
                <a:latin typeface="+mj-lt"/>
              </a:rPr>
              <a:t>st</a:t>
            </a:r>
            <a:r>
              <a:rPr lang="en-US" dirty="0">
                <a:latin typeface="+mj-lt"/>
              </a:rPr>
              <a:t> section “Azure AD” of this SAW</a:t>
            </a:r>
          </a:p>
          <a:p>
            <a:pPr lvl="1"/>
            <a:r>
              <a:rPr lang="en-US" dirty="0">
                <a:latin typeface="+mj-lt"/>
              </a:rPr>
              <a:t>The Following Content is typically only relevant or interesting to a Developer Audience.</a:t>
            </a:r>
          </a:p>
          <a:p>
            <a:pPr lvl="1"/>
            <a:r>
              <a:rPr lang="en-US" dirty="0">
                <a:latin typeface="+mj-lt"/>
              </a:rPr>
              <a:t>This can be included is there is a developer audience during this SAW, or else in a breakout session later</a:t>
            </a:r>
          </a:p>
          <a:p>
            <a:pPr lvl="1"/>
            <a:r>
              <a:rPr lang="en-US" dirty="0">
                <a:latin typeface="+mj-lt"/>
              </a:rPr>
              <a:t>Or, just for your informational learning on this subject in case it comes up</a:t>
            </a:r>
          </a:p>
        </p:txBody>
      </p:sp>
      <p:sp>
        <p:nvSpPr>
          <p:cNvPr id="6" name="Text Placeholder 5"/>
          <p:cNvSpPr>
            <a:spLocks noGrp="1"/>
          </p:cNvSpPr>
          <p:nvPr>
            <p:ph type="body" sz="quarter" idx="11"/>
          </p:nvPr>
        </p:nvSpPr>
        <p:spPr/>
        <p:txBody>
          <a:bodyPr/>
          <a:lstStyle/>
          <a:p>
            <a:pPr algn="ctr"/>
            <a:r>
              <a:rPr lang="en-US" dirty="0"/>
              <a:t>DELETE THIS SLIDE BEFORE DELIVERY</a:t>
            </a:r>
          </a:p>
        </p:txBody>
      </p:sp>
      <p:sp>
        <p:nvSpPr>
          <p:cNvPr id="4" name="Title 3"/>
          <p:cNvSpPr>
            <a:spLocks noGrp="1"/>
          </p:cNvSpPr>
          <p:nvPr>
            <p:ph type="title"/>
          </p:nvPr>
        </p:nvSpPr>
        <p:spPr/>
        <p:txBody>
          <a:bodyPr/>
          <a:lstStyle/>
          <a:p>
            <a:r>
              <a:rPr lang="en-US" dirty="0">
                <a:latin typeface="+mj-lt"/>
              </a:rPr>
              <a:t>Azure AD - Developer Content</a:t>
            </a:r>
          </a:p>
        </p:txBody>
      </p:sp>
    </p:spTree>
    <p:extLst>
      <p:ext uri="{BB962C8B-B14F-4D97-AF65-F5344CB8AC3E}">
        <p14:creationId xmlns:p14="http://schemas.microsoft.com/office/powerpoint/2010/main" val="1001150386"/>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9" y="1499340"/>
            <a:ext cx="4936876" cy="4829014"/>
          </a:xfrm>
        </p:spPr>
        <p:txBody>
          <a:bodyPr/>
          <a:lstStyle/>
          <a:p>
            <a:r>
              <a:rPr lang="en-US" dirty="0"/>
              <a:t>ADAL</a:t>
            </a:r>
          </a:p>
          <a:p>
            <a:pPr lvl="1"/>
            <a:r>
              <a:rPr lang="en-US" sz="2000" dirty="0"/>
              <a:t>Enables client application developers to easily authenticate users to cloud or on-premises Active Directory (AD), and then obtain access tokens for securing API calls</a:t>
            </a:r>
          </a:p>
          <a:p>
            <a:pPr lvl="1"/>
            <a:endParaRPr lang="en-US" dirty="0"/>
          </a:p>
          <a:p>
            <a:pPr lvl="1"/>
            <a:r>
              <a:rPr lang="en-US" sz="3600" dirty="0">
                <a:solidFill>
                  <a:srgbClr val="0078D7"/>
                </a:solidFill>
                <a:latin typeface="Segoe UI Light"/>
              </a:rPr>
              <a:t>Features</a:t>
            </a:r>
            <a:endParaRPr lang="en-US" sz="3600" dirty="0"/>
          </a:p>
          <a:p>
            <a:pPr marL="285750" lvl="1" indent="-285750">
              <a:buFont typeface="Arial" pitchFamily="34" charset="0"/>
              <a:buChar char="•"/>
            </a:pPr>
            <a:r>
              <a:rPr lang="en-US" sz="2000" dirty="0"/>
              <a:t>Asynchronous support</a:t>
            </a:r>
          </a:p>
          <a:p>
            <a:pPr marL="285750" lvl="1" indent="-285750">
              <a:buFont typeface="Arial" pitchFamily="34" charset="0"/>
              <a:buChar char="•"/>
            </a:pPr>
            <a:r>
              <a:rPr lang="en-US" sz="2000" dirty="0"/>
              <a:t>Configurable token cache that stores access tokens and refresh tokens automatic token refresh when an access token expires and a refresh token is available</a:t>
            </a:r>
          </a:p>
        </p:txBody>
      </p:sp>
      <p:sp>
        <p:nvSpPr>
          <p:cNvPr id="17" name="Title 16"/>
          <p:cNvSpPr>
            <a:spLocks noGrp="1"/>
          </p:cNvSpPr>
          <p:nvPr>
            <p:ph type="title"/>
          </p:nvPr>
        </p:nvSpPr>
        <p:spPr/>
        <p:txBody>
          <a:bodyPr/>
          <a:lstStyle/>
          <a:p>
            <a:r>
              <a:rPr lang="en-US"/>
              <a:t>Active Directory Authentication Library (ADAL)</a:t>
            </a:r>
            <a:endParaRPr lang="en-US" dirty="0"/>
          </a:p>
        </p:txBody>
      </p:sp>
      <p:sp>
        <p:nvSpPr>
          <p:cNvPr id="26" name="Text Placeholder 5"/>
          <p:cNvSpPr txBox="1">
            <a:spLocks/>
          </p:cNvSpPr>
          <p:nvPr/>
        </p:nvSpPr>
        <p:spPr>
          <a:xfrm>
            <a:off x="5836444" y="1499340"/>
            <a:ext cx="6369844" cy="6130885"/>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defTabSz="932649">
              <a:defRPr/>
            </a:pPr>
            <a:r>
              <a:rPr lang="en-US" sz="3600" dirty="0">
                <a:solidFill>
                  <a:srgbClr val="0078D7"/>
                </a:solidFill>
                <a:latin typeface="Segoe UI Light"/>
              </a:rPr>
              <a:t>Variety of platforms</a:t>
            </a:r>
          </a:p>
          <a:p>
            <a:pPr lvl="1" defTabSz="932649">
              <a:defRPr/>
            </a:pPr>
            <a:r>
              <a:rPr lang="en-US" dirty="0"/>
              <a:t>.Net</a:t>
            </a:r>
          </a:p>
          <a:p>
            <a:pPr lvl="1" defTabSz="932649">
              <a:defRPr/>
            </a:pPr>
            <a:r>
              <a:rPr lang="en-US" dirty="0"/>
              <a:t>Java</a:t>
            </a:r>
          </a:p>
          <a:p>
            <a:pPr lvl="1" defTabSz="932649">
              <a:defRPr/>
            </a:pPr>
            <a:r>
              <a:rPr lang="en-US" dirty="0"/>
              <a:t>OS X iOS</a:t>
            </a:r>
          </a:p>
          <a:p>
            <a:pPr lvl="1" defTabSz="932649">
              <a:defRPr/>
            </a:pPr>
            <a:r>
              <a:rPr lang="en-US" dirty="0"/>
              <a:t>Android</a:t>
            </a:r>
          </a:p>
          <a:p>
            <a:pPr lvl="1" defTabSz="932649">
              <a:defRPr/>
            </a:pPr>
            <a:r>
              <a:rPr lang="en-US" dirty="0"/>
              <a:t>Node.js</a:t>
            </a:r>
          </a:p>
          <a:p>
            <a:pPr lvl="1" defTabSz="932649">
              <a:defRPr/>
            </a:pPr>
            <a:r>
              <a:rPr lang="en-US" dirty="0"/>
              <a:t>JavaScript</a:t>
            </a:r>
          </a:p>
          <a:p>
            <a:pPr lvl="1" defTabSz="932649">
              <a:defRPr/>
            </a:pPr>
            <a:endParaRPr lang="en-US" sz="1800" dirty="0"/>
          </a:p>
          <a:p>
            <a:pPr lvl="1" defTabSz="932649">
              <a:defRPr/>
            </a:pPr>
            <a:r>
              <a:rPr lang="en-US" sz="3600" dirty="0">
                <a:solidFill>
                  <a:srgbClr val="0078D7"/>
                </a:solidFill>
                <a:latin typeface="Segoe UI Light"/>
              </a:rPr>
              <a:t>Authentication scenarios</a:t>
            </a:r>
          </a:p>
          <a:p>
            <a:pPr marL="285750" lvl="1" indent="-285750" defTabSz="932594">
              <a:lnSpc>
                <a:spcPct val="114000"/>
              </a:lnSpc>
              <a:buFont typeface="Arial" pitchFamily="34" charset="0"/>
              <a:buChar char="•"/>
              <a:defRPr/>
            </a:pPr>
            <a:r>
              <a:rPr lang="en-US" dirty="0"/>
              <a:t>Client app to remote resource</a:t>
            </a:r>
          </a:p>
          <a:p>
            <a:pPr marL="285750" lvl="1" indent="-285750" defTabSz="932594">
              <a:lnSpc>
                <a:spcPct val="114000"/>
              </a:lnSpc>
              <a:buFont typeface="Arial" pitchFamily="34" charset="0"/>
              <a:buChar char="•"/>
              <a:defRPr/>
            </a:pPr>
            <a:r>
              <a:rPr lang="en-US" dirty="0"/>
              <a:t>Server application to remote resource</a:t>
            </a:r>
          </a:p>
          <a:p>
            <a:pPr marL="285750" lvl="1" indent="-285750" defTabSz="932594">
              <a:lnSpc>
                <a:spcPct val="114000"/>
              </a:lnSpc>
              <a:buFont typeface="Arial" pitchFamily="34" charset="0"/>
              <a:buChar char="•"/>
              <a:defRPr/>
            </a:pPr>
            <a:r>
              <a:rPr lang="en-US" dirty="0"/>
              <a:t>Server application on behalf of a user to a remote resource</a:t>
            </a:r>
          </a:p>
          <a:p>
            <a:pPr lvl="1" defTabSz="932649">
              <a:defRPr/>
            </a:pPr>
            <a:endParaRPr lang="en-US" sz="1800" dirty="0"/>
          </a:p>
          <a:p>
            <a:pPr lvl="1" defTabSz="932649">
              <a:defRPr/>
            </a:pPr>
            <a:endParaRPr lang="en-US" sz="1800" dirty="0"/>
          </a:p>
          <a:p>
            <a:pPr lvl="1" defTabSz="932649">
              <a:defRPr/>
            </a:pPr>
            <a:endParaRPr lang="en-US" sz="1800" dirty="0">
              <a:gradFill>
                <a:gsLst>
                  <a:gs pos="1250">
                    <a:srgbClr val="505050"/>
                  </a:gs>
                  <a:gs pos="100000">
                    <a:srgbClr val="505050"/>
                  </a:gs>
                </a:gsLst>
                <a:lin ang="5400000" scaled="0"/>
              </a:gradFill>
              <a:latin typeface="Segoe UI"/>
            </a:endParaRPr>
          </a:p>
        </p:txBody>
      </p:sp>
      <p:sp>
        <p:nvSpPr>
          <p:cNvPr id="7" name="Rectangle 6"/>
          <p:cNvSpPr/>
          <p:nvPr/>
        </p:nvSpPr>
        <p:spPr>
          <a:xfrm>
            <a:off x="350044" y="6316662"/>
            <a:ext cx="2393284" cy="369332"/>
          </a:xfrm>
          <a:prstGeom prst="rect">
            <a:avLst/>
          </a:prstGeom>
        </p:spPr>
        <p:txBody>
          <a:bodyPr wrap="none">
            <a:spAutoFit/>
          </a:bodyPr>
          <a:lstStyle/>
          <a:p>
            <a:r>
              <a:rPr lang="en-US" dirty="0">
                <a:hlinkClick r:id="rId3"/>
              </a:rPr>
              <a:t>aka.ms/Azure/ADAL</a:t>
            </a:r>
            <a:r>
              <a:rPr lang="en-US" dirty="0"/>
              <a:t>   </a:t>
            </a:r>
          </a:p>
        </p:txBody>
      </p:sp>
    </p:spTree>
    <p:extLst>
      <p:ext uri="{BB962C8B-B14F-4D97-AF65-F5344CB8AC3E}">
        <p14:creationId xmlns:p14="http://schemas.microsoft.com/office/powerpoint/2010/main" val="545748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AD license management</a:t>
            </a:r>
          </a:p>
        </p:txBody>
      </p:sp>
      <p:sp>
        <p:nvSpPr>
          <p:cNvPr id="9" name="Freeform: Shape 8"/>
          <p:cNvSpPr/>
          <p:nvPr/>
        </p:nvSpPr>
        <p:spPr>
          <a:xfrm>
            <a:off x="5196362" y="2659062"/>
            <a:ext cx="5059681" cy="1777565"/>
          </a:xfrm>
          <a:custGeom>
            <a:avLst/>
            <a:gdLst>
              <a:gd name="connsiteX0" fmla="*/ 0 w 4754880"/>
              <a:gd name="connsiteY0" fmla="*/ 222196 h 1777565"/>
              <a:gd name="connsiteX1" fmla="*/ 3866098 w 4754880"/>
              <a:gd name="connsiteY1" fmla="*/ 222196 h 1777565"/>
              <a:gd name="connsiteX2" fmla="*/ 3866098 w 4754880"/>
              <a:gd name="connsiteY2" fmla="*/ 0 h 1777565"/>
              <a:gd name="connsiteX3" fmla="*/ 4754880 w 4754880"/>
              <a:gd name="connsiteY3" fmla="*/ 888783 h 1777565"/>
              <a:gd name="connsiteX4" fmla="*/ 3866098 w 4754880"/>
              <a:gd name="connsiteY4" fmla="*/ 1777565 h 1777565"/>
              <a:gd name="connsiteX5" fmla="*/ 3866098 w 4754880"/>
              <a:gd name="connsiteY5" fmla="*/ 1555369 h 1777565"/>
              <a:gd name="connsiteX6" fmla="*/ 0 w 4754880"/>
              <a:gd name="connsiteY6" fmla="*/ 1555369 h 1777565"/>
              <a:gd name="connsiteX7" fmla="*/ 0 w 4754880"/>
              <a:gd name="connsiteY7" fmla="*/ 222196 h 177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4880" h="1777565">
                <a:moveTo>
                  <a:pt x="0" y="222196"/>
                </a:moveTo>
                <a:lnTo>
                  <a:pt x="3866098" y="222196"/>
                </a:lnTo>
                <a:lnTo>
                  <a:pt x="3866098" y="0"/>
                </a:lnTo>
                <a:lnTo>
                  <a:pt x="4754880" y="888783"/>
                </a:lnTo>
                <a:lnTo>
                  <a:pt x="3866098" y="1777565"/>
                </a:lnTo>
                <a:lnTo>
                  <a:pt x="3866098" y="1555369"/>
                </a:lnTo>
                <a:lnTo>
                  <a:pt x="0" y="1555369"/>
                </a:lnTo>
                <a:lnTo>
                  <a:pt x="0" y="222196"/>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6304" tIns="9144" rIns="292608" bIns="9144" numCol="1" spcCol="1270" anchor="ctr" anchorCtr="0">
            <a:noAutofit/>
          </a:bodyPr>
          <a:lstStyle/>
          <a:p>
            <a:pPr marL="114300" lvl="1" indent="-114300" algn="l" defTabSz="666750">
              <a:lnSpc>
                <a:spcPct val="90000"/>
              </a:lnSpc>
              <a:spcBef>
                <a:spcPct val="0"/>
              </a:spcBef>
              <a:spcAft>
                <a:spcPct val="15000"/>
              </a:spcAft>
              <a:buChar char="•"/>
            </a:pPr>
            <a:r>
              <a:rPr lang="en-US" sz="1400" kern="1200" dirty="0">
                <a:latin typeface="+mj-lt"/>
              </a:rPr>
              <a:t>Licenses are assigned to an individual person</a:t>
            </a:r>
          </a:p>
          <a:p>
            <a:pPr marL="114300" lvl="1" indent="-114300" algn="l" defTabSz="666750">
              <a:lnSpc>
                <a:spcPct val="90000"/>
              </a:lnSpc>
              <a:spcBef>
                <a:spcPct val="0"/>
              </a:spcBef>
              <a:spcAft>
                <a:spcPct val="15000"/>
              </a:spcAft>
              <a:buChar char="•"/>
            </a:pPr>
            <a:r>
              <a:rPr lang="en-US" sz="1400" kern="1200" dirty="0">
                <a:latin typeface="+mj-lt"/>
              </a:rPr>
              <a:t>If you are using an Identity Management service in your on-premises environment you can directly assign licenses to users by having the Identity Management service run a PowerShell command</a:t>
            </a:r>
          </a:p>
        </p:txBody>
      </p:sp>
      <p:sp>
        <p:nvSpPr>
          <p:cNvPr id="10" name="Freeform: Shape 9"/>
          <p:cNvSpPr/>
          <p:nvPr/>
        </p:nvSpPr>
        <p:spPr>
          <a:xfrm>
            <a:off x="2026444" y="2659062"/>
            <a:ext cx="3169920" cy="1777565"/>
          </a:xfrm>
          <a:custGeom>
            <a:avLst/>
            <a:gdLst>
              <a:gd name="connsiteX0" fmla="*/ 0 w 3169920"/>
              <a:gd name="connsiteY0" fmla="*/ 296267 h 1777565"/>
              <a:gd name="connsiteX1" fmla="*/ 296267 w 3169920"/>
              <a:gd name="connsiteY1" fmla="*/ 0 h 1777565"/>
              <a:gd name="connsiteX2" fmla="*/ 2873653 w 3169920"/>
              <a:gd name="connsiteY2" fmla="*/ 0 h 1777565"/>
              <a:gd name="connsiteX3" fmla="*/ 3169920 w 3169920"/>
              <a:gd name="connsiteY3" fmla="*/ 296267 h 1777565"/>
              <a:gd name="connsiteX4" fmla="*/ 3169920 w 3169920"/>
              <a:gd name="connsiteY4" fmla="*/ 1481298 h 1777565"/>
              <a:gd name="connsiteX5" fmla="*/ 2873653 w 3169920"/>
              <a:gd name="connsiteY5" fmla="*/ 1777565 h 1777565"/>
              <a:gd name="connsiteX6" fmla="*/ 296267 w 3169920"/>
              <a:gd name="connsiteY6" fmla="*/ 1777565 h 1777565"/>
              <a:gd name="connsiteX7" fmla="*/ 0 w 3169920"/>
              <a:gd name="connsiteY7" fmla="*/ 1481298 h 1777565"/>
              <a:gd name="connsiteX8" fmla="*/ 0 w 3169920"/>
              <a:gd name="connsiteY8" fmla="*/ 296267 h 177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9920" h="1777565">
                <a:moveTo>
                  <a:pt x="0" y="296267"/>
                </a:moveTo>
                <a:cubicBezTo>
                  <a:pt x="0" y="132643"/>
                  <a:pt x="132643" y="0"/>
                  <a:pt x="296267" y="0"/>
                </a:cubicBezTo>
                <a:lnTo>
                  <a:pt x="2873653" y="0"/>
                </a:lnTo>
                <a:cubicBezTo>
                  <a:pt x="3037277" y="0"/>
                  <a:pt x="3169920" y="132643"/>
                  <a:pt x="3169920" y="296267"/>
                </a:cubicBezTo>
                <a:lnTo>
                  <a:pt x="3169920" y="1481298"/>
                </a:lnTo>
                <a:cubicBezTo>
                  <a:pt x="3169920" y="1644922"/>
                  <a:pt x="3037277" y="1777565"/>
                  <a:pt x="2873653" y="1777565"/>
                </a:cubicBezTo>
                <a:lnTo>
                  <a:pt x="296267" y="1777565"/>
                </a:lnTo>
                <a:cubicBezTo>
                  <a:pt x="132643" y="1777565"/>
                  <a:pt x="0" y="1644922"/>
                  <a:pt x="0" y="1481298"/>
                </a:cubicBezTo>
                <a:lnTo>
                  <a:pt x="0" y="2962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2974" tIns="124874" rIns="162974" bIns="124874" numCol="1" spcCol="1270" anchor="ctr" anchorCtr="0">
            <a:noAutofit/>
          </a:bodyPr>
          <a:lstStyle/>
          <a:p>
            <a:pPr marL="0" lvl="0" indent="0" algn="ctr" defTabSz="889000">
              <a:lnSpc>
                <a:spcPct val="90000"/>
              </a:lnSpc>
              <a:spcBef>
                <a:spcPct val="0"/>
              </a:spcBef>
              <a:spcAft>
                <a:spcPct val="35000"/>
              </a:spcAft>
              <a:buNone/>
            </a:pPr>
            <a:r>
              <a:rPr lang="en-US" sz="2000" b="1" kern="1200" dirty="0">
                <a:latin typeface="+mj-lt"/>
              </a:rPr>
              <a:t>Direct license assignment</a:t>
            </a:r>
            <a:endParaRPr lang="en-US" sz="2000" kern="1200" dirty="0">
              <a:latin typeface="+mj-lt"/>
            </a:endParaRPr>
          </a:p>
        </p:txBody>
      </p:sp>
      <p:sp>
        <p:nvSpPr>
          <p:cNvPr id="11" name="Freeform: Shape 10"/>
          <p:cNvSpPr/>
          <p:nvPr/>
        </p:nvSpPr>
        <p:spPr>
          <a:xfrm>
            <a:off x="5196363" y="4614385"/>
            <a:ext cx="5059680" cy="1777565"/>
          </a:xfrm>
          <a:custGeom>
            <a:avLst/>
            <a:gdLst>
              <a:gd name="connsiteX0" fmla="*/ 0 w 4754880"/>
              <a:gd name="connsiteY0" fmla="*/ 222196 h 1777565"/>
              <a:gd name="connsiteX1" fmla="*/ 3866098 w 4754880"/>
              <a:gd name="connsiteY1" fmla="*/ 222196 h 1777565"/>
              <a:gd name="connsiteX2" fmla="*/ 3866098 w 4754880"/>
              <a:gd name="connsiteY2" fmla="*/ 0 h 1777565"/>
              <a:gd name="connsiteX3" fmla="*/ 4754880 w 4754880"/>
              <a:gd name="connsiteY3" fmla="*/ 888783 h 1777565"/>
              <a:gd name="connsiteX4" fmla="*/ 3866098 w 4754880"/>
              <a:gd name="connsiteY4" fmla="*/ 1777565 h 1777565"/>
              <a:gd name="connsiteX5" fmla="*/ 3866098 w 4754880"/>
              <a:gd name="connsiteY5" fmla="*/ 1555369 h 1777565"/>
              <a:gd name="connsiteX6" fmla="*/ 0 w 4754880"/>
              <a:gd name="connsiteY6" fmla="*/ 1555369 h 1777565"/>
              <a:gd name="connsiteX7" fmla="*/ 0 w 4754880"/>
              <a:gd name="connsiteY7" fmla="*/ 222196 h 177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4880" h="1777565">
                <a:moveTo>
                  <a:pt x="0" y="222196"/>
                </a:moveTo>
                <a:lnTo>
                  <a:pt x="3866098" y="222196"/>
                </a:lnTo>
                <a:lnTo>
                  <a:pt x="3866098" y="0"/>
                </a:lnTo>
                <a:lnTo>
                  <a:pt x="4754880" y="888783"/>
                </a:lnTo>
                <a:lnTo>
                  <a:pt x="3866098" y="1777565"/>
                </a:lnTo>
                <a:lnTo>
                  <a:pt x="3866098" y="1555369"/>
                </a:lnTo>
                <a:lnTo>
                  <a:pt x="0" y="1555369"/>
                </a:lnTo>
                <a:lnTo>
                  <a:pt x="0" y="222196"/>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6304" tIns="9144" rIns="292608" bIns="9144" numCol="1" spcCol="1270" anchor="ctr" anchorCtr="0">
            <a:noAutofit/>
          </a:bodyPr>
          <a:lstStyle/>
          <a:p>
            <a:pPr marL="114300" lvl="1" indent="-114300" algn="l" defTabSz="666750">
              <a:lnSpc>
                <a:spcPct val="90000"/>
              </a:lnSpc>
              <a:spcBef>
                <a:spcPct val="0"/>
              </a:spcBef>
              <a:spcAft>
                <a:spcPct val="15000"/>
              </a:spcAft>
              <a:buChar char="•"/>
            </a:pPr>
            <a:r>
              <a:rPr lang="en-US" sz="1400" kern="1200" dirty="0">
                <a:latin typeface="+mj-lt"/>
              </a:rPr>
              <a:t>Another approach for assigning licenses to Azure AD users is to add the user to an Azure AD group, and then assign the license to the group</a:t>
            </a:r>
            <a:r>
              <a:rPr lang="en-US" sz="1400" dirty="0">
                <a:latin typeface="+mj-lt"/>
              </a:rPr>
              <a:t> </a:t>
            </a:r>
            <a:r>
              <a:rPr lang="en-US" sz="1400" kern="1200" dirty="0">
                <a:latin typeface="+mj-lt"/>
              </a:rPr>
              <a:t>instead of individual users</a:t>
            </a:r>
          </a:p>
        </p:txBody>
      </p:sp>
      <p:sp>
        <p:nvSpPr>
          <p:cNvPr id="12" name="Freeform: Shape 11"/>
          <p:cNvSpPr/>
          <p:nvPr/>
        </p:nvSpPr>
        <p:spPr>
          <a:xfrm>
            <a:off x="2026444" y="4614385"/>
            <a:ext cx="3169920" cy="1777565"/>
          </a:xfrm>
          <a:custGeom>
            <a:avLst/>
            <a:gdLst>
              <a:gd name="connsiteX0" fmla="*/ 0 w 3169920"/>
              <a:gd name="connsiteY0" fmla="*/ 296267 h 1777565"/>
              <a:gd name="connsiteX1" fmla="*/ 296267 w 3169920"/>
              <a:gd name="connsiteY1" fmla="*/ 0 h 1777565"/>
              <a:gd name="connsiteX2" fmla="*/ 2873653 w 3169920"/>
              <a:gd name="connsiteY2" fmla="*/ 0 h 1777565"/>
              <a:gd name="connsiteX3" fmla="*/ 3169920 w 3169920"/>
              <a:gd name="connsiteY3" fmla="*/ 296267 h 1777565"/>
              <a:gd name="connsiteX4" fmla="*/ 3169920 w 3169920"/>
              <a:gd name="connsiteY4" fmla="*/ 1481298 h 1777565"/>
              <a:gd name="connsiteX5" fmla="*/ 2873653 w 3169920"/>
              <a:gd name="connsiteY5" fmla="*/ 1777565 h 1777565"/>
              <a:gd name="connsiteX6" fmla="*/ 296267 w 3169920"/>
              <a:gd name="connsiteY6" fmla="*/ 1777565 h 1777565"/>
              <a:gd name="connsiteX7" fmla="*/ 0 w 3169920"/>
              <a:gd name="connsiteY7" fmla="*/ 1481298 h 1777565"/>
              <a:gd name="connsiteX8" fmla="*/ 0 w 3169920"/>
              <a:gd name="connsiteY8" fmla="*/ 296267 h 177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9920" h="1777565">
                <a:moveTo>
                  <a:pt x="0" y="296267"/>
                </a:moveTo>
                <a:cubicBezTo>
                  <a:pt x="0" y="132643"/>
                  <a:pt x="132643" y="0"/>
                  <a:pt x="296267" y="0"/>
                </a:cubicBezTo>
                <a:lnTo>
                  <a:pt x="2873653" y="0"/>
                </a:lnTo>
                <a:cubicBezTo>
                  <a:pt x="3037277" y="0"/>
                  <a:pt x="3169920" y="132643"/>
                  <a:pt x="3169920" y="296267"/>
                </a:cubicBezTo>
                <a:lnTo>
                  <a:pt x="3169920" y="1481298"/>
                </a:lnTo>
                <a:cubicBezTo>
                  <a:pt x="3169920" y="1644922"/>
                  <a:pt x="3037277" y="1777565"/>
                  <a:pt x="2873653" y="1777565"/>
                </a:cubicBezTo>
                <a:lnTo>
                  <a:pt x="296267" y="1777565"/>
                </a:lnTo>
                <a:cubicBezTo>
                  <a:pt x="132643" y="1777565"/>
                  <a:pt x="0" y="1644922"/>
                  <a:pt x="0" y="1481298"/>
                </a:cubicBezTo>
                <a:lnTo>
                  <a:pt x="0" y="2962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2974" tIns="124874" rIns="162974" bIns="124874" numCol="1" spcCol="1270" anchor="ctr" anchorCtr="0">
            <a:noAutofit/>
          </a:bodyPr>
          <a:lstStyle/>
          <a:p>
            <a:pPr marL="0" lvl="0" indent="0" algn="ctr" defTabSz="889000">
              <a:lnSpc>
                <a:spcPct val="90000"/>
              </a:lnSpc>
              <a:spcBef>
                <a:spcPct val="0"/>
              </a:spcBef>
              <a:spcAft>
                <a:spcPct val="35000"/>
              </a:spcAft>
              <a:buNone/>
            </a:pPr>
            <a:r>
              <a:rPr lang="en-US" sz="2000" b="1" kern="1200" dirty="0">
                <a:latin typeface="+mj-lt"/>
              </a:rPr>
              <a:t>Group membership</a:t>
            </a:r>
          </a:p>
        </p:txBody>
      </p:sp>
      <p:sp>
        <p:nvSpPr>
          <p:cNvPr id="3" name="Rectangle 2"/>
          <p:cNvSpPr/>
          <p:nvPr/>
        </p:nvSpPr>
        <p:spPr>
          <a:xfrm>
            <a:off x="230824" y="6571960"/>
            <a:ext cx="2903552" cy="369332"/>
          </a:xfrm>
          <a:prstGeom prst="rect">
            <a:avLst/>
          </a:prstGeom>
        </p:spPr>
        <p:txBody>
          <a:bodyPr wrap="none">
            <a:spAutoFit/>
          </a:bodyPr>
          <a:lstStyle/>
          <a:p>
            <a:r>
              <a:rPr lang="en-US" dirty="0">
                <a:hlinkClick r:id="rId3"/>
              </a:rPr>
              <a:t>aka.ms/azure/ad/licensing</a:t>
            </a:r>
            <a:r>
              <a:rPr lang="en-US" dirty="0"/>
              <a:t> </a:t>
            </a:r>
          </a:p>
        </p:txBody>
      </p:sp>
      <p:sp>
        <p:nvSpPr>
          <p:cNvPr id="8" name="Text Placeholder 3"/>
          <p:cNvSpPr>
            <a:spLocks noGrp="1"/>
          </p:cNvSpPr>
          <p:nvPr>
            <p:ph type="body" sz="quarter" idx="10"/>
          </p:nvPr>
        </p:nvSpPr>
        <p:spPr>
          <a:xfrm>
            <a:off x="366169" y="1212851"/>
            <a:ext cx="11185276" cy="1255728"/>
          </a:xfrm>
        </p:spPr>
        <p:txBody>
          <a:bodyPr/>
          <a:lstStyle/>
          <a:p>
            <a:r>
              <a:rPr lang="en-US" sz="2400" dirty="0"/>
              <a:t>All users that have a Basic, Premium, or EMS license must be specifically assigned to the license in order to use the associated features</a:t>
            </a:r>
          </a:p>
          <a:p>
            <a:r>
              <a:rPr lang="en-US" sz="2400" dirty="0"/>
              <a:t>There are two ways to associate a license with a user in Azure AD:</a:t>
            </a:r>
          </a:p>
        </p:txBody>
      </p:sp>
    </p:spTree>
    <p:extLst>
      <p:ext uri="{BB962C8B-B14F-4D97-AF65-F5344CB8AC3E}">
        <p14:creationId xmlns:p14="http://schemas.microsoft.com/office/powerpoint/2010/main" val="1248458620"/>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icrosoft graph</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01541" y="1295398"/>
            <a:ext cx="7621699" cy="4106864"/>
          </a:xfrm>
          <a:prstGeom prst="rect">
            <a:avLst/>
          </a:prstGeom>
        </p:spPr>
      </p:pic>
      <p:sp>
        <p:nvSpPr>
          <p:cNvPr id="7" name="Rectangle 6"/>
          <p:cNvSpPr/>
          <p:nvPr/>
        </p:nvSpPr>
        <p:spPr>
          <a:xfrm>
            <a:off x="350044" y="6404530"/>
            <a:ext cx="1984839" cy="369332"/>
          </a:xfrm>
          <a:prstGeom prst="rect">
            <a:avLst/>
          </a:prstGeom>
        </p:spPr>
        <p:txBody>
          <a:bodyPr wrap="none">
            <a:spAutoFit/>
          </a:bodyPr>
          <a:lstStyle/>
          <a:p>
            <a:r>
              <a:rPr lang="en-US" dirty="0">
                <a:hlinkClick r:id="rId4"/>
              </a:rPr>
              <a:t>aka.ms/MSGraph</a:t>
            </a:r>
            <a:r>
              <a:rPr lang="en-US" dirty="0"/>
              <a:t> </a:t>
            </a:r>
          </a:p>
        </p:txBody>
      </p:sp>
      <p:sp>
        <p:nvSpPr>
          <p:cNvPr id="8" name="Rectangle 7"/>
          <p:cNvSpPr/>
          <p:nvPr/>
        </p:nvSpPr>
        <p:spPr>
          <a:xfrm>
            <a:off x="6903244" y="6401354"/>
            <a:ext cx="4705262" cy="369332"/>
          </a:xfrm>
          <a:prstGeom prst="rect">
            <a:avLst/>
          </a:prstGeom>
        </p:spPr>
        <p:txBody>
          <a:bodyPr wrap="none">
            <a:spAutoFit/>
          </a:bodyPr>
          <a:lstStyle/>
          <a:p>
            <a:r>
              <a:rPr lang="en-US" dirty="0">
                <a:latin typeface="Calibri" panose="020F0502020204030204" pitchFamily="34" charset="0"/>
                <a:hlinkClick r:id="rId5"/>
              </a:rPr>
              <a:t>https://graph.microsoft.io/en-us/graph-explorer</a:t>
            </a:r>
            <a:endParaRPr lang="en-US" dirty="0"/>
          </a:p>
        </p:txBody>
      </p:sp>
      <p:pic>
        <p:nvPicPr>
          <p:cNvPr id="9" name="Pictur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48295" y="1058862"/>
            <a:ext cx="7920095" cy="5086387"/>
          </a:xfrm>
          <a:prstGeom prst="rect">
            <a:avLst/>
          </a:prstGeom>
        </p:spPr>
      </p:pic>
      <p:sp>
        <p:nvSpPr>
          <p:cNvPr id="10" name="Text Placeholder 3"/>
          <p:cNvSpPr txBox="1">
            <a:spLocks/>
          </p:cNvSpPr>
          <p:nvPr/>
        </p:nvSpPr>
        <p:spPr>
          <a:xfrm>
            <a:off x="366169" y="1212851"/>
            <a:ext cx="3946275" cy="5408611"/>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4000"/>
              </a:lnSpc>
              <a:buNone/>
            </a:pPr>
            <a:r>
              <a:rPr lang="en-US" sz="3200" dirty="0">
                <a:solidFill>
                  <a:schemeClr val="tx2"/>
                </a:solidFill>
              </a:rPr>
              <a:t>What’s new</a:t>
            </a:r>
          </a:p>
          <a:p>
            <a:pPr marL="0" indent="0">
              <a:lnSpc>
                <a:spcPct val="114000"/>
              </a:lnSpc>
              <a:buNone/>
            </a:pPr>
            <a:r>
              <a:rPr lang="en-US" sz="1600" kern="0" dirty="0">
                <a:solidFill>
                  <a:schemeClr val="tx1"/>
                </a:solidFill>
                <a:latin typeface="+mn-lt"/>
              </a:rPr>
              <a:t>Exposes multiple APIs from Office 365 and other Microsoft cloud services through a </a:t>
            </a:r>
            <a:r>
              <a:rPr lang="en-US" sz="1600" i="1" u="sng" kern="0" dirty="0">
                <a:solidFill>
                  <a:schemeClr val="tx1"/>
                </a:solidFill>
                <a:latin typeface="+mn-lt"/>
              </a:rPr>
              <a:t>single endpoint:</a:t>
            </a:r>
          </a:p>
          <a:p>
            <a:pPr marL="0" indent="0">
              <a:lnSpc>
                <a:spcPct val="114000"/>
              </a:lnSpc>
              <a:buNone/>
            </a:pPr>
            <a:endParaRPr lang="en-US" sz="1600" i="1" u="sng" kern="0" dirty="0">
              <a:solidFill>
                <a:schemeClr val="tx1"/>
              </a:solidFill>
              <a:latin typeface="+mn-lt"/>
            </a:endParaRPr>
          </a:p>
          <a:p>
            <a:pPr marL="0" indent="0">
              <a:lnSpc>
                <a:spcPct val="114000"/>
              </a:lnSpc>
              <a:buNone/>
            </a:pPr>
            <a:r>
              <a:rPr lang="en-US" sz="3200" dirty="0">
                <a:solidFill>
                  <a:schemeClr val="tx2"/>
                </a:solidFill>
              </a:rPr>
              <a:t>Access data from:</a:t>
            </a:r>
          </a:p>
          <a:p>
            <a:pPr marL="0" indent="0">
              <a:lnSpc>
                <a:spcPct val="114000"/>
              </a:lnSpc>
              <a:buNone/>
            </a:pPr>
            <a:r>
              <a:rPr lang="en-US" sz="1600" kern="0" dirty="0">
                <a:solidFill>
                  <a:schemeClr val="tx1"/>
                </a:solidFill>
                <a:latin typeface="+mn-lt"/>
              </a:rPr>
              <a:t>Multiple Microsoft cloud services, e.g.</a:t>
            </a:r>
          </a:p>
          <a:p>
            <a:pPr marL="285750" lvl="1" indent="-285750">
              <a:lnSpc>
                <a:spcPct val="114000"/>
              </a:lnSpc>
            </a:pPr>
            <a:r>
              <a:rPr lang="en-US" sz="1800" dirty="0"/>
              <a:t>Azure Active Directory</a:t>
            </a:r>
          </a:p>
          <a:p>
            <a:pPr marL="285750" lvl="1" indent="-285750">
              <a:lnSpc>
                <a:spcPct val="114000"/>
              </a:lnSpc>
            </a:pPr>
            <a:r>
              <a:rPr lang="en-US" sz="1800" dirty="0"/>
              <a:t>Exchange Online as part of      Office 365 SharePoint</a:t>
            </a:r>
          </a:p>
          <a:p>
            <a:pPr marL="285750" lvl="1" indent="-285750">
              <a:lnSpc>
                <a:spcPct val="114000"/>
              </a:lnSpc>
            </a:pPr>
            <a:r>
              <a:rPr lang="en-US" sz="1800" dirty="0"/>
              <a:t>OneDrive</a:t>
            </a:r>
            <a:br>
              <a:rPr lang="en-US" sz="1800" dirty="0"/>
            </a:br>
            <a:r>
              <a:rPr lang="en-US" sz="1800" dirty="0"/>
              <a:t>OneNote</a:t>
            </a:r>
          </a:p>
          <a:p>
            <a:pPr marL="285750" lvl="1" indent="-285750">
              <a:lnSpc>
                <a:spcPct val="114000"/>
              </a:lnSpc>
            </a:pPr>
            <a:r>
              <a:rPr lang="en-US" sz="1800" dirty="0"/>
              <a:t>Planner</a:t>
            </a:r>
          </a:p>
          <a:p>
            <a:pPr marL="0" indent="0">
              <a:lnSpc>
                <a:spcPct val="114000"/>
              </a:lnSpc>
              <a:buNone/>
            </a:pPr>
            <a:endParaRPr lang="en-US" sz="2400" dirty="0">
              <a:solidFill>
                <a:schemeClr val="tx2"/>
              </a:solidFill>
            </a:endParaRPr>
          </a:p>
        </p:txBody>
      </p:sp>
    </p:spTree>
    <p:extLst>
      <p:ext uri="{BB962C8B-B14F-4D97-AF65-F5344CB8AC3E}">
        <p14:creationId xmlns:p14="http://schemas.microsoft.com/office/powerpoint/2010/main" val="278275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xit" presetSubtype="0" fill="hold" nodeType="withEffect">
                                  <p:stCondLst>
                                    <p:cond delay="0"/>
                                  </p:stCondLst>
                                  <p:childTnLst>
                                    <p:animEffect transition="out" filter="fade">
                                      <p:cBhvr>
                                        <p:cTn id="9" dur="500"/>
                                        <p:tgtEl>
                                          <p:spTgt spid="4"/>
                                        </p:tgtEl>
                                      </p:cBhvr>
                                    </p:animEffect>
                                    <p:set>
                                      <p:cBhvr>
                                        <p:cTn id="10"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icrosoft Authentication Library (MSAL)</a:t>
            </a:r>
          </a:p>
        </p:txBody>
      </p:sp>
      <p:sp>
        <p:nvSpPr>
          <p:cNvPr id="2" name="Rectangle 1"/>
          <p:cNvSpPr/>
          <p:nvPr/>
        </p:nvSpPr>
        <p:spPr>
          <a:xfrm>
            <a:off x="503922" y="6306343"/>
            <a:ext cx="2132122" cy="369332"/>
          </a:xfrm>
          <a:prstGeom prst="rect">
            <a:avLst/>
          </a:prstGeom>
        </p:spPr>
        <p:txBody>
          <a:bodyPr wrap="none">
            <a:spAutoFit/>
          </a:bodyPr>
          <a:lstStyle/>
          <a:p>
            <a:r>
              <a:rPr lang="en-US" dirty="0">
                <a:latin typeface="Calibri" panose="020F0502020204030204" pitchFamily="34" charset="0"/>
                <a:hlinkClick r:id="rId3"/>
              </a:rPr>
              <a:t>aka.ms/Azure/MSAL</a:t>
            </a:r>
            <a:r>
              <a:rPr lang="en-US" dirty="0">
                <a:latin typeface="Calibri" panose="020F0502020204030204" pitchFamily="34" charset="0"/>
              </a:rPr>
              <a:t> </a:t>
            </a:r>
            <a:endParaRPr lang="en-US" dirty="0"/>
          </a:p>
        </p:txBody>
      </p:sp>
      <p:sp>
        <p:nvSpPr>
          <p:cNvPr id="5" name="Text Placeholder 3"/>
          <p:cNvSpPr txBox="1">
            <a:spLocks/>
          </p:cNvSpPr>
          <p:nvPr/>
        </p:nvSpPr>
        <p:spPr>
          <a:xfrm>
            <a:off x="366168" y="1212851"/>
            <a:ext cx="11702553" cy="3120854"/>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0078D7"/>
                </a:solidFill>
              </a:rPr>
              <a:t>Fewer parameters</a:t>
            </a:r>
          </a:p>
          <a:p>
            <a:r>
              <a:rPr lang="en-US" dirty="0">
                <a:solidFill>
                  <a:srgbClr val="0078D7"/>
                </a:solidFill>
              </a:rPr>
              <a:t>Better multi-tenant support</a:t>
            </a:r>
          </a:p>
          <a:p>
            <a:r>
              <a:rPr lang="en-US" dirty="0">
                <a:solidFill>
                  <a:srgbClr val="0078D7"/>
                </a:solidFill>
              </a:rPr>
              <a:t>Incremental consent </a:t>
            </a:r>
          </a:p>
          <a:p>
            <a:r>
              <a:rPr lang="en-US" dirty="0">
                <a:solidFill>
                  <a:srgbClr val="0078D7"/>
                </a:solidFill>
              </a:rPr>
              <a:t>Converged authentication endpoint</a:t>
            </a:r>
          </a:p>
          <a:p>
            <a:endParaRPr lang="en-US" dirty="0">
              <a:solidFill>
                <a:srgbClr val="0078D7"/>
              </a:solidFill>
            </a:endParaRPr>
          </a:p>
        </p:txBody>
      </p:sp>
    </p:spTree>
    <p:extLst>
      <p:ext uri="{BB962C8B-B14F-4D97-AF65-F5344CB8AC3E}">
        <p14:creationId xmlns:p14="http://schemas.microsoft.com/office/powerpoint/2010/main" val="81653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ld Sync clients – </a:t>
            </a:r>
            <a:r>
              <a:rPr lang="en-US" dirty="0" err="1"/>
              <a:t>Dirsync</a:t>
            </a:r>
            <a:r>
              <a:rPr lang="en-US" dirty="0"/>
              <a:t> and Azure AD Sync</a:t>
            </a:r>
          </a:p>
        </p:txBody>
      </p:sp>
      <p:sp>
        <p:nvSpPr>
          <p:cNvPr id="3" name="Text Placeholder 2"/>
          <p:cNvSpPr>
            <a:spLocks noGrp="1"/>
          </p:cNvSpPr>
          <p:nvPr>
            <p:ph type="body" sz="quarter" idx="10"/>
          </p:nvPr>
        </p:nvSpPr>
        <p:spPr>
          <a:xfrm>
            <a:off x="366168" y="1212850"/>
            <a:ext cx="11702553" cy="3958007"/>
          </a:xfrm>
        </p:spPr>
        <p:txBody>
          <a:bodyPr/>
          <a:lstStyle/>
          <a:p>
            <a:pPr marL="457200" indent="-457200">
              <a:buFont typeface="Arial" panose="020B0604020202020204" pitchFamily="34" charset="0"/>
              <a:buChar char="•"/>
            </a:pPr>
            <a:r>
              <a:rPr lang="en-US" dirty="0">
                <a:solidFill>
                  <a:schemeClr val="tx2"/>
                </a:solidFill>
              </a:rPr>
              <a:t>Marked deprecated as of Apr 2016</a:t>
            </a:r>
          </a:p>
          <a:p>
            <a:pPr marL="457200" indent="-457200">
              <a:buFont typeface="Arial" panose="020B0604020202020204" pitchFamily="34" charset="0"/>
              <a:buChar char="•"/>
            </a:pPr>
            <a:r>
              <a:rPr lang="en-US" dirty="0">
                <a:solidFill>
                  <a:schemeClr val="tx2"/>
                </a:solidFill>
              </a:rPr>
              <a:t>Will not be supported as of Apr 2017</a:t>
            </a:r>
          </a:p>
          <a:p>
            <a:pPr marL="457200" indent="-457200">
              <a:buFont typeface="Arial" panose="020B0604020202020204" pitchFamily="34" charset="0"/>
              <a:buChar char="•"/>
            </a:pPr>
            <a:r>
              <a:rPr lang="en-US" dirty="0">
                <a:solidFill>
                  <a:schemeClr val="tx2"/>
                </a:solidFill>
              </a:rPr>
              <a:t>Notifications in Office message center and through                 Azure notification emails</a:t>
            </a:r>
          </a:p>
          <a:p>
            <a:pPr marL="457200" indent="-457200">
              <a:buFont typeface="Arial" panose="020B0604020202020204" pitchFamily="34" charset="0"/>
              <a:buChar char="•"/>
            </a:pPr>
            <a:r>
              <a:rPr lang="en-US" dirty="0">
                <a:solidFill>
                  <a:schemeClr val="tx2"/>
                </a:solidFill>
              </a:rPr>
              <a:t>No improvements being made to these clients</a:t>
            </a:r>
          </a:p>
          <a:p>
            <a:pPr marL="457200" indent="-457200">
              <a:buFont typeface="Arial" panose="020B0604020202020204" pitchFamily="34" charset="0"/>
              <a:buChar char="•"/>
            </a:pPr>
            <a:r>
              <a:rPr lang="en-US" dirty="0">
                <a:solidFill>
                  <a:schemeClr val="tx2"/>
                </a:solidFill>
              </a:rPr>
              <a:t>Other reasons to move to Azure AD Connect anyways</a:t>
            </a:r>
          </a:p>
          <a:p>
            <a:pPr lvl="3"/>
            <a:r>
              <a:rPr lang="en-US" sz="2000" dirty="0"/>
              <a:t> Faster sync cycles, better monitoring, more feature rich</a:t>
            </a:r>
          </a:p>
        </p:txBody>
      </p:sp>
    </p:spTree>
    <p:extLst>
      <p:ext uri="{BB962C8B-B14F-4D97-AF65-F5344CB8AC3E}">
        <p14:creationId xmlns:p14="http://schemas.microsoft.com/office/powerpoint/2010/main" val="3511404130"/>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12068720" cy="5804666"/>
          </a:xfrm>
        </p:spPr>
        <p:txBody>
          <a:bodyPr/>
          <a:lstStyle/>
          <a:p>
            <a:r>
              <a:rPr lang="en-US" dirty="0"/>
              <a:t>DirSync</a:t>
            </a:r>
          </a:p>
          <a:p>
            <a:pPr marL="285750" lvl="1" indent="-285750">
              <a:lnSpc>
                <a:spcPct val="114000"/>
              </a:lnSpc>
              <a:buFont typeface="Arial" pitchFamily="34" charset="0"/>
              <a:buChar char="•"/>
            </a:pPr>
            <a:r>
              <a:rPr lang="en-US" sz="2000" dirty="0"/>
              <a:t>In-place migration of all supported custom configurations</a:t>
            </a:r>
          </a:p>
          <a:p>
            <a:pPr marL="285750" lvl="1" indent="-285750">
              <a:lnSpc>
                <a:spcPct val="114000"/>
              </a:lnSpc>
              <a:buFont typeface="Arial" pitchFamily="34" charset="0"/>
              <a:buChar char="•"/>
            </a:pPr>
            <a:r>
              <a:rPr lang="en-US" sz="2000" dirty="0"/>
              <a:t>Side by Side for &gt;50K objects</a:t>
            </a:r>
          </a:p>
          <a:p>
            <a:pPr marL="285750" lvl="1" indent="-285750">
              <a:lnSpc>
                <a:spcPct val="114000"/>
              </a:lnSpc>
              <a:buFont typeface="Arial" pitchFamily="34" charset="0"/>
              <a:buChar char="•"/>
            </a:pPr>
            <a:r>
              <a:rPr lang="en-US" sz="2000" dirty="0"/>
              <a:t>Will not migrate unsupported configurations (such as removed attribute flows)</a:t>
            </a:r>
          </a:p>
          <a:p>
            <a:pPr marL="285750" lvl="1" indent="-285750">
              <a:buFont typeface="Arial" panose="020B0604020202020204" pitchFamily="34" charset="0"/>
              <a:buChar char="•"/>
            </a:pPr>
            <a:r>
              <a:rPr lang="en-US" sz="2000" dirty="0">
                <a:hlinkClick r:id="rId3"/>
              </a:rPr>
              <a:t>https://azure.microsoft.com/documentation/articles/active-directory-aadconnect-dirsync-upgrade-get-started/</a:t>
            </a:r>
            <a:endParaRPr lang="en-US" sz="2000" dirty="0"/>
          </a:p>
          <a:p>
            <a:r>
              <a:rPr lang="en-US" dirty="0"/>
              <a:t>Azure AD Sync</a:t>
            </a:r>
          </a:p>
          <a:p>
            <a:pPr marL="285750" lvl="1" indent="-285750">
              <a:lnSpc>
                <a:spcPct val="114000"/>
              </a:lnSpc>
              <a:buFont typeface="Arial" pitchFamily="34" charset="0"/>
              <a:buChar char="•"/>
            </a:pPr>
            <a:r>
              <a:rPr lang="en-US" sz="2000" dirty="0"/>
              <a:t>In-place upgrade or Swing migration if needed</a:t>
            </a:r>
          </a:p>
          <a:p>
            <a:pPr marL="285750" lvl="1" indent="-285750">
              <a:buFont typeface="Arial" panose="020B0604020202020204" pitchFamily="34" charset="0"/>
              <a:buChar char="•"/>
            </a:pPr>
            <a:r>
              <a:rPr lang="en-US" sz="2000" dirty="0">
                <a:hlinkClick r:id="rId4"/>
              </a:rPr>
              <a:t>https://azure.microsoft.com/documentation/articles/active-directory-aadconnect-upgrade-previous-version/</a:t>
            </a:r>
            <a:r>
              <a:rPr lang="en-US" sz="2000" dirty="0"/>
              <a:t> </a:t>
            </a:r>
          </a:p>
          <a:p>
            <a:r>
              <a:rPr lang="en-US" dirty="0"/>
              <a:t>The numbers</a:t>
            </a:r>
          </a:p>
          <a:p>
            <a:pPr marL="285750" lvl="1" indent="-285750">
              <a:lnSpc>
                <a:spcPct val="114000"/>
              </a:lnSpc>
              <a:buFont typeface="Arial" pitchFamily="34" charset="0"/>
              <a:buChar char="•"/>
            </a:pPr>
            <a:r>
              <a:rPr lang="en-US" sz="2000" dirty="0"/>
              <a:t>Over 2700 customers upgrade last month, with 95%+ using an in-place upgrade process</a:t>
            </a:r>
          </a:p>
          <a:p>
            <a:r>
              <a:rPr lang="en-US" dirty="0"/>
              <a:t>Now is the time.</a:t>
            </a:r>
          </a:p>
        </p:txBody>
      </p:sp>
      <p:sp>
        <p:nvSpPr>
          <p:cNvPr id="2" name="Title 1"/>
          <p:cNvSpPr>
            <a:spLocks noGrp="1"/>
          </p:cNvSpPr>
          <p:nvPr>
            <p:ph type="title"/>
          </p:nvPr>
        </p:nvSpPr>
        <p:spPr/>
        <p:txBody>
          <a:bodyPr/>
          <a:lstStyle/>
          <a:p>
            <a:r>
              <a:rPr lang="en-US" dirty="0"/>
              <a:t>Upgrade paths</a:t>
            </a:r>
          </a:p>
        </p:txBody>
      </p:sp>
    </p:spTree>
    <p:extLst>
      <p:ext uri="{BB962C8B-B14F-4D97-AF65-F5344CB8AC3E}">
        <p14:creationId xmlns:p14="http://schemas.microsoft.com/office/powerpoint/2010/main" val="3374482581"/>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5086329"/>
          </a:xfrm>
        </p:spPr>
        <p:txBody>
          <a:bodyPr/>
          <a:lstStyle/>
          <a:p>
            <a:pPr marL="0" indent="0">
              <a:buNone/>
            </a:pPr>
            <a:r>
              <a:rPr lang="en-GB" dirty="0">
                <a:solidFill>
                  <a:schemeClr val="tx2"/>
                </a:solidFill>
              </a:rPr>
              <a:t>Applications are published through the Azure Portal</a:t>
            </a:r>
          </a:p>
          <a:p>
            <a:pPr lvl="1"/>
            <a:endParaRPr lang="en-GB" dirty="0"/>
          </a:p>
          <a:p>
            <a:pPr marL="0" indent="0">
              <a:buNone/>
            </a:pPr>
            <a:r>
              <a:rPr lang="en-GB" dirty="0">
                <a:solidFill>
                  <a:schemeClr val="tx2"/>
                </a:solidFill>
              </a:rPr>
              <a:t>You must specify:</a:t>
            </a:r>
          </a:p>
          <a:p>
            <a:pPr marL="285750" lvl="1" indent="-285750">
              <a:lnSpc>
                <a:spcPct val="114000"/>
              </a:lnSpc>
            </a:pPr>
            <a:r>
              <a:rPr lang="en-GB" dirty="0"/>
              <a:t>A name</a:t>
            </a:r>
          </a:p>
          <a:p>
            <a:pPr marL="285750" lvl="1" indent="-285750">
              <a:lnSpc>
                <a:spcPct val="114000"/>
              </a:lnSpc>
            </a:pPr>
            <a:r>
              <a:rPr lang="en-GB" dirty="0"/>
              <a:t>The internal URL of your application</a:t>
            </a:r>
          </a:p>
          <a:p>
            <a:pPr marL="285750" lvl="1" indent="-285750">
              <a:lnSpc>
                <a:spcPct val="114000"/>
              </a:lnSpc>
            </a:pPr>
            <a:r>
              <a:rPr lang="en-GB" dirty="0"/>
              <a:t>The pre-authentication method</a:t>
            </a:r>
          </a:p>
          <a:p>
            <a:pPr marL="510111" lvl="2" indent="-285750">
              <a:lnSpc>
                <a:spcPct val="114000"/>
              </a:lnSpc>
            </a:pPr>
            <a:r>
              <a:rPr lang="en-GB" dirty="0"/>
              <a:t>Azure AD or pass-through (no authentication at the proxy)</a:t>
            </a:r>
          </a:p>
          <a:p>
            <a:pPr marL="0" indent="0">
              <a:buNone/>
            </a:pPr>
            <a:r>
              <a:rPr lang="en-GB" dirty="0">
                <a:solidFill>
                  <a:schemeClr val="tx2"/>
                </a:solidFill>
              </a:rPr>
              <a:t>All users connecting through the proxy must be:</a:t>
            </a:r>
          </a:p>
          <a:p>
            <a:pPr marL="285750" lvl="1" indent="-285750">
              <a:lnSpc>
                <a:spcPct val="114000"/>
              </a:lnSpc>
            </a:pPr>
            <a:r>
              <a:rPr lang="en-GB" dirty="0"/>
              <a:t>Assigned a Basic or Premium (P1 or P2) Azure AD license</a:t>
            </a:r>
          </a:p>
          <a:p>
            <a:pPr marL="285750" lvl="1" indent="-285750">
              <a:lnSpc>
                <a:spcPct val="114000"/>
              </a:lnSpc>
            </a:pPr>
            <a:r>
              <a:rPr lang="en-GB" dirty="0"/>
              <a:t>Assigned to the application if pre-authentication is used</a:t>
            </a:r>
          </a:p>
          <a:p>
            <a:pPr marL="510111" lvl="2" indent="-285750">
              <a:lnSpc>
                <a:spcPct val="114000"/>
              </a:lnSpc>
            </a:pPr>
            <a:r>
              <a:rPr lang="en-GB" dirty="0"/>
              <a:t>A user can be assigned directly to an application or indirectly via groups</a:t>
            </a:r>
          </a:p>
        </p:txBody>
      </p:sp>
      <p:sp>
        <p:nvSpPr>
          <p:cNvPr id="3" name="Title 2"/>
          <p:cNvSpPr>
            <a:spLocks noGrp="1"/>
          </p:cNvSpPr>
          <p:nvPr>
            <p:ph type="title"/>
          </p:nvPr>
        </p:nvSpPr>
        <p:spPr/>
        <p:txBody>
          <a:bodyPr/>
          <a:lstStyle/>
          <a:p>
            <a:r>
              <a:rPr lang="en-GB"/>
              <a:t>Publishing applications</a:t>
            </a:r>
            <a:endParaRPr lang="en-GB" dirty="0"/>
          </a:p>
        </p:txBody>
      </p:sp>
    </p:spTree>
    <p:extLst>
      <p:ext uri="{BB962C8B-B14F-4D97-AF65-F5344CB8AC3E}">
        <p14:creationId xmlns:p14="http://schemas.microsoft.com/office/powerpoint/2010/main" val="15353222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animEffect transition="in" filter="fade">
                                      <p:cBhvr>
                                        <p:cTn id="15" dur="500"/>
                                        <p:tgtEl>
                                          <p:spTgt spid="2">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xEl>
                                              <p:pRg st="4" end="4"/>
                                            </p:txEl>
                                          </p:spTgt>
                                        </p:tgtEl>
                                        <p:attrNameLst>
                                          <p:attrName>style.visibility</p:attrName>
                                        </p:attrNameLst>
                                      </p:cBhvr>
                                      <p:to>
                                        <p:strVal val="visible"/>
                                      </p:to>
                                    </p:set>
                                    <p:animEffect transition="in" filter="fade">
                                      <p:cBhvr>
                                        <p:cTn id="18" dur="500"/>
                                        <p:tgtEl>
                                          <p:spTgt spid="2">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animEffect transition="in" filter="fade">
                                      <p:cBhvr>
                                        <p:cTn id="21" dur="500"/>
                                        <p:tgtEl>
                                          <p:spTgt spid="2">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
                                            <p:txEl>
                                              <p:pRg st="6" end="6"/>
                                            </p:txEl>
                                          </p:spTgt>
                                        </p:tgtEl>
                                        <p:attrNameLst>
                                          <p:attrName>style.visibility</p:attrName>
                                        </p:attrNameLst>
                                      </p:cBhvr>
                                      <p:to>
                                        <p:strVal val="visible"/>
                                      </p:to>
                                    </p:set>
                                    <p:animEffect transition="in" filter="fade">
                                      <p:cBhvr>
                                        <p:cTn id="24" dur="500"/>
                                        <p:tgtEl>
                                          <p:spTgt spid="2">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
                                            <p:txEl>
                                              <p:pRg st="7" end="7"/>
                                            </p:txEl>
                                          </p:spTgt>
                                        </p:tgtEl>
                                        <p:attrNameLst>
                                          <p:attrName>style.visibility</p:attrName>
                                        </p:attrNameLst>
                                      </p:cBhvr>
                                      <p:to>
                                        <p:strVal val="visible"/>
                                      </p:to>
                                    </p:set>
                                    <p:animEffect transition="in" filter="fade">
                                      <p:cBhvr>
                                        <p:cTn id="29" dur="500"/>
                                        <p:tgtEl>
                                          <p:spTgt spid="2">
                                            <p:txEl>
                                              <p:pRg st="7" end="7"/>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
                                            <p:txEl>
                                              <p:pRg st="8" end="8"/>
                                            </p:txEl>
                                          </p:spTgt>
                                        </p:tgtEl>
                                        <p:attrNameLst>
                                          <p:attrName>style.visibility</p:attrName>
                                        </p:attrNameLst>
                                      </p:cBhvr>
                                      <p:to>
                                        <p:strVal val="visible"/>
                                      </p:to>
                                    </p:set>
                                    <p:animEffect transition="in" filter="fade">
                                      <p:cBhvr>
                                        <p:cTn id="32" dur="500"/>
                                        <p:tgtEl>
                                          <p:spTgt spid="2">
                                            <p:txEl>
                                              <p:pRg st="8" end="8"/>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xEl>
                                              <p:pRg st="9" end="9"/>
                                            </p:txEl>
                                          </p:spTgt>
                                        </p:tgtEl>
                                        <p:attrNameLst>
                                          <p:attrName>style.visibility</p:attrName>
                                        </p:attrNameLst>
                                      </p:cBhvr>
                                      <p:to>
                                        <p:strVal val="visible"/>
                                      </p:to>
                                    </p:set>
                                    <p:animEffect transition="in" filter="fade">
                                      <p:cBhvr>
                                        <p:cTn id="35" dur="500"/>
                                        <p:tgtEl>
                                          <p:spTgt spid="2">
                                            <p:txEl>
                                              <p:pRg st="9" end="9"/>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
                                            <p:txEl>
                                              <p:pRg st="10" end="10"/>
                                            </p:txEl>
                                          </p:spTgt>
                                        </p:tgtEl>
                                        <p:attrNameLst>
                                          <p:attrName>style.visibility</p:attrName>
                                        </p:attrNameLst>
                                      </p:cBhvr>
                                      <p:to>
                                        <p:strVal val="visible"/>
                                      </p:to>
                                    </p:set>
                                    <p:animEffect transition="in" filter="fade">
                                      <p:cBhvr>
                                        <p:cTn id="38"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Pass-through authentication</a:t>
            </a:r>
          </a:p>
        </p:txBody>
      </p:sp>
      <p:sp>
        <p:nvSpPr>
          <p:cNvPr id="4" name="Text Placeholder 1"/>
          <p:cNvSpPr txBox="1">
            <a:spLocks/>
          </p:cNvSpPr>
          <p:nvPr/>
        </p:nvSpPr>
        <p:spPr>
          <a:xfrm>
            <a:off x="259050" y="4433246"/>
            <a:ext cx="11885683" cy="738570"/>
          </a:xfrm>
          <a:prstGeom prst="rect">
            <a:avLst/>
          </a:prstGeom>
        </p:spPr>
        <p:txBody>
          <a:bodyPr vert="horz" wrap="square" lIns="146285" tIns="91428" rIns="146285" bIns="91428"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a:p>
        </p:txBody>
      </p:sp>
      <p:sp>
        <p:nvSpPr>
          <p:cNvPr id="27" name="Rectangle 26"/>
          <p:cNvSpPr/>
          <p:nvPr/>
        </p:nvSpPr>
        <p:spPr>
          <a:xfrm>
            <a:off x="6259467" y="2096782"/>
            <a:ext cx="697627" cy="1170948"/>
          </a:xfrm>
          <a:prstGeom prst="rect">
            <a:avLst/>
          </a:prstGeom>
          <a:solidFill>
            <a:srgbClr val="E7E6E6">
              <a:lumMod val="75000"/>
            </a:srgbClr>
          </a:solidFill>
          <a:ln w="12700" cap="flat" cmpd="sng" algn="ctr">
            <a:noFill/>
            <a:prstDash val="solid"/>
            <a:miter lim="800000"/>
          </a:ln>
          <a:effectLst/>
        </p:spPr>
        <p:txBody>
          <a:bodyPr rtlCol="0" anchor="ctr"/>
          <a:lstStyle/>
          <a:p>
            <a:pPr algn="ctr" defTabSz="914309">
              <a:defRPr/>
            </a:pPr>
            <a:endParaRPr lang="en-GB" kern="0">
              <a:solidFill>
                <a:prstClr val="white"/>
              </a:solidFill>
              <a:latin typeface="Calibri" panose="020F0502020204030204"/>
            </a:endParaRPr>
          </a:p>
        </p:txBody>
      </p:sp>
      <p:sp>
        <p:nvSpPr>
          <p:cNvPr id="28" name="Rectangle 27"/>
          <p:cNvSpPr/>
          <p:nvPr/>
        </p:nvSpPr>
        <p:spPr>
          <a:xfrm>
            <a:off x="1865952" y="1553295"/>
            <a:ext cx="1621505" cy="2420966"/>
          </a:xfrm>
          <a:prstGeom prst="rect">
            <a:avLst/>
          </a:prstGeom>
          <a:noFill/>
          <a:ln w="12700" cap="flat" cmpd="sng" algn="ctr">
            <a:solidFill>
              <a:sysClr val="windowText" lastClr="000000"/>
            </a:solidFill>
            <a:prstDash val="solid"/>
            <a:miter lim="800000"/>
          </a:ln>
          <a:effectLst/>
        </p:spPr>
        <p:txBody>
          <a:bodyPr rtlCol="0" anchor="ctr"/>
          <a:lstStyle/>
          <a:p>
            <a:pPr algn="ctr" defTabSz="914309">
              <a:defRPr/>
            </a:pPr>
            <a:endParaRPr lang="en-GB" kern="0" dirty="0">
              <a:solidFill>
                <a:prstClr val="white"/>
              </a:solidFill>
              <a:latin typeface="Calibri" panose="020F0502020204030204"/>
            </a:endParaRPr>
          </a:p>
        </p:txBody>
      </p:sp>
      <p:sp>
        <p:nvSpPr>
          <p:cNvPr id="29" name="Rectangle 28"/>
          <p:cNvSpPr/>
          <p:nvPr/>
        </p:nvSpPr>
        <p:spPr>
          <a:xfrm>
            <a:off x="5673135" y="1553295"/>
            <a:ext cx="4576243" cy="2420966"/>
          </a:xfrm>
          <a:prstGeom prst="rect">
            <a:avLst/>
          </a:prstGeom>
          <a:noFill/>
          <a:ln w="12700" cap="flat" cmpd="sng" algn="ctr">
            <a:solidFill>
              <a:sysClr val="windowText" lastClr="000000"/>
            </a:solidFill>
            <a:prstDash val="solid"/>
            <a:miter lim="800000"/>
          </a:ln>
          <a:effectLst/>
        </p:spPr>
        <p:txBody>
          <a:bodyPr rtlCol="0" anchor="ctr"/>
          <a:lstStyle/>
          <a:p>
            <a:pPr algn="ctr" defTabSz="914309">
              <a:defRPr/>
            </a:pPr>
            <a:endParaRPr lang="en-GB" kern="0" dirty="0">
              <a:solidFill>
                <a:prstClr val="white"/>
              </a:solidFill>
              <a:latin typeface="Calibri" panose="020F0502020204030204"/>
            </a:endParaRPr>
          </a:p>
        </p:txBody>
      </p:sp>
      <p:sp>
        <p:nvSpPr>
          <p:cNvPr id="30" name="Rectangle 29"/>
          <p:cNvSpPr/>
          <p:nvPr/>
        </p:nvSpPr>
        <p:spPr>
          <a:xfrm>
            <a:off x="3487456" y="1553295"/>
            <a:ext cx="2186743" cy="2420966"/>
          </a:xfrm>
          <a:prstGeom prst="rect">
            <a:avLst/>
          </a:prstGeom>
          <a:noFill/>
          <a:ln w="12700" cap="flat" cmpd="sng" algn="ctr">
            <a:solidFill>
              <a:sysClr val="windowText" lastClr="000000"/>
            </a:solidFill>
            <a:prstDash val="solid"/>
            <a:miter lim="800000"/>
          </a:ln>
          <a:effectLst/>
        </p:spPr>
        <p:txBody>
          <a:bodyPr rtlCol="0" anchor="ctr"/>
          <a:lstStyle/>
          <a:p>
            <a:pPr algn="ctr" defTabSz="914309">
              <a:defRPr/>
            </a:pPr>
            <a:endParaRPr lang="en-GB" kern="0">
              <a:solidFill>
                <a:prstClr val="white"/>
              </a:solidFill>
              <a:latin typeface="Calibri" panose="020F0502020204030204"/>
            </a:endParaRPr>
          </a:p>
        </p:txBody>
      </p:sp>
      <p:cxnSp>
        <p:nvCxnSpPr>
          <p:cNvPr id="31" name="Straight Connector 30"/>
          <p:cNvCxnSpPr>
            <a:stCxn id="46" idx="1"/>
          </p:cNvCxnSpPr>
          <p:nvPr/>
        </p:nvCxnSpPr>
        <p:spPr>
          <a:xfrm flipH="1">
            <a:off x="3496885" y="2695507"/>
            <a:ext cx="331014" cy="3378"/>
          </a:xfrm>
          <a:prstGeom prst="line">
            <a:avLst/>
          </a:prstGeom>
          <a:noFill/>
          <a:ln w="38100" cap="rnd" cmpd="sng" algn="ctr">
            <a:solidFill>
              <a:sysClr val="windowText" lastClr="000000"/>
            </a:solidFill>
            <a:prstDash val="solid"/>
            <a:miter lim="800000"/>
            <a:tailEnd type="oval"/>
          </a:ln>
          <a:effectLst/>
        </p:spPr>
      </p:cxnSp>
      <p:sp>
        <p:nvSpPr>
          <p:cNvPr id="32" name="TextBox 31"/>
          <p:cNvSpPr txBox="1"/>
          <p:nvPr/>
        </p:nvSpPr>
        <p:spPr>
          <a:xfrm>
            <a:off x="1740004" y="2228419"/>
            <a:ext cx="1819141" cy="923212"/>
          </a:xfrm>
          <a:prstGeom prst="rect">
            <a:avLst/>
          </a:prstGeom>
          <a:noFill/>
        </p:spPr>
        <p:txBody>
          <a:bodyPr wrap="square" rtlCol="0">
            <a:spAutoFit/>
          </a:bodyPr>
          <a:lstStyle/>
          <a:p>
            <a:pPr algn="ctr" defTabSz="914309"/>
            <a:r>
              <a:rPr lang="en-GB" dirty="0">
                <a:solidFill>
                  <a:prstClr val="black"/>
                </a:solidFill>
                <a:latin typeface="Calibri" panose="020F0502020204030204"/>
              </a:rPr>
              <a:t>External endpoint for application</a:t>
            </a:r>
          </a:p>
        </p:txBody>
      </p:sp>
      <p:sp>
        <p:nvSpPr>
          <p:cNvPr id="35" name="Rectangle 34"/>
          <p:cNvSpPr/>
          <p:nvPr/>
        </p:nvSpPr>
        <p:spPr>
          <a:xfrm>
            <a:off x="7732743" y="2247608"/>
            <a:ext cx="1499850" cy="886006"/>
          </a:xfrm>
          <a:prstGeom prst="rect">
            <a:avLst/>
          </a:prstGeom>
          <a:solidFill>
            <a:srgbClr val="5B9BD5">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14309">
              <a:defRPr/>
            </a:pPr>
            <a:r>
              <a:rPr lang="en-GB" kern="0" dirty="0">
                <a:solidFill>
                  <a:prstClr val="black"/>
                </a:solidFill>
                <a:latin typeface="Calibri" panose="020F0502020204030204"/>
              </a:rPr>
              <a:t>App1</a:t>
            </a:r>
          </a:p>
        </p:txBody>
      </p:sp>
      <p:cxnSp>
        <p:nvCxnSpPr>
          <p:cNvPr id="36" name="Straight Connector 35"/>
          <p:cNvCxnSpPr>
            <a:stCxn id="46" idx="3"/>
            <a:endCxn id="35" idx="1"/>
          </p:cNvCxnSpPr>
          <p:nvPr/>
        </p:nvCxnSpPr>
        <p:spPr>
          <a:xfrm flipV="1">
            <a:off x="5275434" y="2690612"/>
            <a:ext cx="2457309" cy="4896"/>
          </a:xfrm>
          <a:prstGeom prst="line">
            <a:avLst/>
          </a:prstGeom>
          <a:noFill/>
          <a:ln w="19050" cap="flat" cmpd="sng" algn="ctr">
            <a:solidFill>
              <a:sysClr val="windowText" lastClr="000000"/>
            </a:solidFill>
            <a:prstDash val="dash"/>
            <a:miter lim="800000"/>
          </a:ln>
          <a:effectLst/>
        </p:spPr>
      </p:cxnSp>
      <p:sp>
        <p:nvSpPr>
          <p:cNvPr id="37" name="TextBox 36"/>
          <p:cNvSpPr txBox="1"/>
          <p:nvPr/>
        </p:nvSpPr>
        <p:spPr>
          <a:xfrm>
            <a:off x="3187532" y="2352518"/>
            <a:ext cx="389800" cy="369285"/>
          </a:xfrm>
          <a:prstGeom prst="rect">
            <a:avLst/>
          </a:prstGeom>
          <a:noFill/>
        </p:spPr>
        <p:txBody>
          <a:bodyPr wrap="none" rtlCol="0">
            <a:spAutoFit/>
          </a:bodyPr>
          <a:lstStyle/>
          <a:p>
            <a:pPr defTabSz="914309"/>
            <a:r>
              <a:rPr lang="en-GB" dirty="0">
                <a:solidFill>
                  <a:prstClr val="black"/>
                </a:solidFill>
                <a:latin typeface="Calibri" panose="020F0502020204030204"/>
                <a:sym typeface="Wingdings" panose="05000000000000000000" pitchFamily="2" charset="2"/>
              </a:rPr>
              <a:t></a:t>
            </a:r>
            <a:endParaRPr lang="en-GB" dirty="0">
              <a:solidFill>
                <a:prstClr val="black"/>
              </a:solidFill>
              <a:latin typeface="Calibri" panose="020F0502020204030204"/>
            </a:endParaRPr>
          </a:p>
        </p:txBody>
      </p:sp>
      <p:pic>
        <p:nvPicPr>
          <p:cNvPr id="38" name="Picture 3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28885" y="2909705"/>
            <a:ext cx="358951" cy="358024"/>
          </a:xfrm>
          <a:prstGeom prst="rect">
            <a:avLst/>
          </a:prstGeom>
        </p:spPr>
      </p:pic>
      <p:sp>
        <p:nvSpPr>
          <p:cNvPr id="39" name="TextBox 38"/>
          <p:cNvSpPr txBox="1"/>
          <p:nvPr/>
        </p:nvSpPr>
        <p:spPr>
          <a:xfrm>
            <a:off x="7392300" y="2394014"/>
            <a:ext cx="389800" cy="369285"/>
          </a:xfrm>
          <a:prstGeom prst="rect">
            <a:avLst/>
          </a:prstGeom>
          <a:noFill/>
        </p:spPr>
        <p:txBody>
          <a:bodyPr wrap="none" rtlCol="0">
            <a:spAutoFit/>
          </a:bodyPr>
          <a:lstStyle/>
          <a:p>
            <a:pPr defTabSz="914309"/>
            <a:r>
              <a:rPr lang="en-GB" dirty="0">
                <a:solidFill>
                  <a:prstClr val="black"/>
                </a:solidFill>
                <a:latin typeface="Calibri" panose="020F0502020204030204"/>
                <a:sym typeface="Wingdings" panose="05000000000000000000" pitchFamily="2" charset="2"/>
              </a:rPr>
              <a:t></a:t>
            </a:r>
            <a:endParaRPr lang="en-GB" dirty="0">
              <a:solidFill>
                <a:prstClr val="black"/>
              </a:solidFill>
              <a:latin typeface="Calibri" panose="020F0502020204030204"/>
            </a:endParaRPr>
          </a:p>
        </p:txBody>
      </p:sp>
      <p:sp>
        <p:nvSpPr>
          <p:cNvPr id="40" name="TextBox 39"/>
          <p:cNvSpPr txBox="1"/>
          <p:nvPr/>
        </p:nvSpPr>
        <p:spPr>
          <a:xfrm>
            <a:off x="4080953" y="3608644"/>
            <a:ext cx="959139" cy="369285"/>
          </a:xfrm>
          <a:prstGeom prst="rect">
            <a:avLst/>
          </a:prstGeom>
          <a:noFill/>
          <a:ln>
            <a:solidFill>
              <a:sysClr val="windowText" lastClr="000000"/>
            </a:solidFill>
          </a:ln>
        </p:spPr>
        <p:txBody>
          <a:bodyPr wrap="square" rtlCol="0">
            <a:spAutoFit/>
          </a:bodyPr>
          <a:lstStyle/>
          <a:p>
            <a:pPr algn="ctr" defTabSz="914309">
              <a:defRPr/>
            </a:pPr>
            <a:r>
              <a:rPr lang="en-GB" kern="0" dirty="0">
                <a:solidFill>
                  <a:prstClr val="black"/>
                </a:solidFill>
                <a:latin typeface="Calibri" panose="020F0502020204030204"/>
              </a:rPr>
              <a:t>Azure</a:t>
            </a:r>
          </a:p>
        </p:txBody>
      </p:sp>
      <p:sp>
        <p:nvSpPr>
          <p:cNvPr id="41" name="TextBox 40"/>
          <p:cNvSpPr txBox="1"/>
          <p:nvPr/>
        </p:nvSpPr>
        <p:spPr>
          <a:xfrm>
            <a:off x="8430237" y="3601073"/>
            <a:ext cx="1819141" cy="369285"/>
          </a:xfrm>
          <a:prstGeom prst="rect">
            <a:avLst/>
          </a:prstGeom>
          <a:noFill/>
          <a:ln>
            <a:solidFill>
              <a:sysClr val="windowText" lastClr="000000"/>
            </a:solidFill>
          </a:ln>
        </p:spPr>
        <p:txBody>
          <a:bodyPr wrap="square" rtlCol="0">
            <a:spAutoFit/>
          </a:bodyPr>
          <a:lstStyle/>
          <a:p>
            <a:pPr algn="ctr" defTabSz="914309">
              <a:defRPr/>
            </a:pPr>
            <a:r>
              <a:rPr lang="en-GB" kern="0" dirty="0">
                <a:solidFill>
                  <a:prstClr val="black"/>
                </a:solidFill>
                <a:latin typeface="Calibri" panose="020F0502020204030204"/>
              </a:rPr>
              <a:t>On-premises</a:t>
            </a:r>
          </a:p>
        </p:txBody>
      </p:sp>
      <p:sp>
        <p:nvSpPr>
          <p:cNvPr id="42" name="TextBox 41"/>
          <p:cNvSpPr txBox="1"/>
          <p:nvPr/>
        </p:nvSpPr>
        <p:spPr>
          <a:xfrm>
            <a:off x="2146898" y="3608644"/>
            <a:ext cx="1019690" cy="369285"/>
          </a:xfrm>
          <a:prstGeom prst="rect">
            <a:avLst/>
          </a:prstGeom>
          <a:noFill/>
          <a:ln>
            <a:solidFill>
              <a:sysClr val="windowText" lastClr="000000"/>
            </a:solidFill>
          </a:ln>
        </p:spPr>
        <p:txBody>
          <a:bodyPr wrap="square" rtlCol="0">
            <a:spAutoFit/>
          </a:bodyPr>
          <a:lstStyle/>
          <a:p>
            <a:pPr algn="ctr" defTabSz="914309">
              <a:defRPr/>
            </a:pPr>
            <a:r>
              <a:rPr lang="en-GB" kern="0" dirty="0">
                <a:solidFill>
                  <a:prstClr val="black"/>
                </a:solidFill>
                <a:latin typeface="Calibri" panose="020F0502020204030204"/>
              </a:rPr>
              <a:t>Internet</a:t>
            </a:r>
          </a:p>
        </p:txBody>
      </p:sp>
      <p:sp>
        <p:nvSpPr>
          <p:cNvPr id="43" name="Rectangle 42"/>
          <p:cNvSpPr/>
          <p:nvPr/>
        </p:nvSpPr>
        <p:spPr>
          <a:xfrm>
            <a:off x="6603200" y="2105013"/>
            <a:ext cx="353894" cy="1162717"/>
          </a:xfrm>
          <a:prstGeom prst="rect">
            <a:avLst/>
          </a:prstGeom>
          <a:solidFill>
            <a:srgbClr val="E7E6E6">
              <a:lumMod val="75000"/>
            </a:srgbClr>
          </a:solidFill>
          <a:ln w="12700" cap="flat" cmpd="sng" algn="ctr">
            <a:noFill/>
            <a:prstDash val="solid"/>
            <a:miter lim="800000"/>
          </a:ln>
          <a:effectLst/>
        </p:spPr>
        <p:txBody>
          <a:bodyPr rtlCol="0" anchor="ctr"/>
          <a:lstStyle/>
          <a:p>
            <a:pPr algn="ctr" defTabSz="914309">
              <a:defRPr/>
            </a:pPr>
            <a:endParaRPr lang="en-GB" kern="0">
              <a:solidFill>
                <a:prstClr val="white"/>
              </a:solidFill>
              <a:latin typeface="Calibri" panose="020F0502020204030204"/>
            </a:endParaRPr>
          </a:p>
        </p:txBody>
      </p:sp>
      <p:pic>
        <p:nvPicPr>
          <p:cNvPr id="44" name="Picture 43"/>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259467" y="1742599"/>
            <a:ext cx="692119" cy="614027"/>
          </a:xfrm>
          <a:prstGeom prst="rect">
            <a:avLst/>
          </a:prstGeom>
        </p:spPr>
      </p:pic>
      <p:sp>
        <p:nvSpPr>
          <p:cNvPr id="45" name="Rectangle 44"/>
          <p:cNvSpPr/>
          <p:nvPr/>
        </p:nvSpPr>
        <p:spPr>
          <a:xfrm>
            <a:off x="4956024" y="2404458"/>
            <a:ext cx="239999" cy="157660"/>
          </a:xfrm>
          <a:prstGeom prst="rect">
            <a:avLst/>
          </a:prstGeom>
          <a:noFill/>
          <a:ln w="12700" cap="flat" cmpd="sng" algn="ctr">
            <a:noFill/>
            <a:prstDash val="solid"/>
            <a:miter lim="800000"/>
          </a:ln>
          <a:effectLst/>
        </p:spPr>
        <p:txBody>
          <a:bodyPr rtlCol="0" anchor="ctr"/>
          <a:lstStyle/>
          <a:p>
            <a:pPr algn="ctr" defTabSz="914309">
              <a:defRPr/>
            </a:pPr>
            <a:endParaRPr lang="en-GB" kern="0">
              <a:solidFill>
                <a:prstClr val="black"/>
              </a:solidFill>
              <a:latin typeface="Calibri" panose="020F0502020204030204"/>
            </a:endParaRPr>
          </a:p>
        </p:txBody>
      </p:sp>
      <p:sp>
        <p:nvSpPr>
          <p:cNvPr id="46" name="Rectangle 45"/>
          <p:cNvSpPr/>
          <p:nvPr/>
        </p:nvSpPr>
        <p:spPr>
          <a:xfrm>
            <a:off x="3827900" y="2114570"/>
            <a:ext cx="1447534" cy="1161875"/>
          </a:xfrm>
          <a:prstGeom prst="rect">
            <a:avLst/>
          </a:prstGeom>
          <a:noFill/>
          <a:ln w="12700" cap="flat" cmpd="sng" algn="ctr">
            <a:solidFill>
              <a:srgbClr val="5B9BD5"/>
            </a:solidFill>
            <a:prstDash val="solid"/>
            <a:miter lim="800000"/>
          </a:ln>
          <a:effectLst/>
        </p:spPr>
        <p:txBody>
          <a:bodyPr rtlCol="0" anchor="ctr"/>
          <a:lstStyle/>
          <a:p>
            <a:pPr algn="ctr" defTabSz="914309">
              <a:defRPr/>
            </a:pPr>
            <a:br>
              <a:rPr lang="en-GB" kern="0" dirty="0">
                <a:solidFill>
                  <a:prstClr val="black"/>
                </a:solidFill>
                <a:latin typeface="Calibri" panose="020F0502020204030204"/>
              </a:rPr>
            </a:br>
            <a:r>
              <a:rPr lang="en-GB" kern="0" dirty="0">
                <a:solidFill>
                  <a:prstClr val="black"/>
                </a:solidFill>
                <a:latin typeface="Calibri" panose="020F0502020204030204"/>
              </a:rPr>
              <a:t>Published:</a:t>
            </a:r>
            <a:br>
              <a:rPr lang="en-GB" kern="0" dirty="0">
                <a:solidFill>
                  <a:prstClr val="black"/>
                </a:solidFill>
                <a:latin typeface="Calibri" panose="020F0502020204030204"/>
              </a:rPr>
            </a:br>
            <a:r>
              <a:rPr lang="en-GB" kern="0" dirty="0">
                <a:solidFill>
                  <a:prstClr val="black"/>
                </a:solidFill>
                <a:latin typeface="Calibri" panose="020F0502020204030204"/>
              </a:rPr>
              <a:t>app1 with pass-through</a:t>
            </a:r>
          </a:p>
        </p:txBody>
      </p:sp>
      <p:pic>
        <p:nvPicPr>
          <p:cNvPr id="47" name="Picture 4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534049" y="1563321"/>
            <a:ext cx="2012775" cy="970051"/>
          </a:xfrm>
          <a:prstGeom prst="rect">
            <a:avLst/>
          </a:prstGeom>
        </p:spPr>
      </p:pic>
      <p:sp>
        <p:nvSpPr>
          <p:cNvPr id="48" name="TextBox 47"/>
          <p:cNvSpPr txBox="1"/>
          <p:nvPr/>
        </p:nvSpPr>
        <p:spPr>
          <a:xfrm>
            <a:off x="3581433" y="1646966"/>
            <a:ext cx="1982801" cy="830891"/>
          </a:xfrm>
          <a:prstGeom prst="rect">
            <a:avLst/>
          </a:prstGeom>
          <a:noFill/>
        </p:spPr>
        <p:txBody>
          <a:bodyPr wrap="square" rtlCol="0">
            <a:spAutoFit/>
          </a:bodyPr>
          <a:lstStyle/>
          <a:p>
            <a:pPr algn="ctr" defTabSz="914309"/>
            <a:r>
              <a:rPr lang="en-GB" sz="1600" dirty="0">
                <a:solidFill>
                  <a:prstClr val="white"/>
                </a:solidFill>
                <a:latin typeface="Calibri" panose="020F0502020204030204"/>
              </a:rPr>
              <a:t>Azure AD </a:t>
            </a:r>
            <a:br>
              <a:rPr lang="en-GB" sz="1600" dirty="0">
                <a:solidFill>
                  <a:prstClr val="white"/>
                </a:solidFill>
                <a:latin typeface="Calibri" panose="020F0502020204030204"/>
              </a:rPr>
            </a:br>
            <a:r>
              <a:rPr lang="en-GB" sz="1600" dirty="0">
                <a:solidFill>
                  <a:prstClr val="white"/>
                </a:solidFill>
                <a:latin typeface="Calibri" panose="020F0502020204030204"/>
              </a:rPr>
              <a:t>Application</a:t>
            </a:r>
            <a:br>
              <a:rPr lang="en-GB" sz="1600" dirty="0">
                <a:solidFill>
                  <a:prstClr val="white"/>
                </a:solidFill>
                <a:latin typeface="Calibri" panose="020F0502020204030204"/>
              </a:rPr>
            </a:br>
            <a:r>
              <a:rPr lang="en-GB" sz="1600" dirty="0">
                <a:solidFill>
                  <a:prstClr val="white"/>
                </a:solidFill>
                <a:latin typeface="Calibri" panose="020F0502020204030204"/>
              </a:rPr>
              <a:t>Proxy</a:t>
            </a:r>
          </a:p>
        </p:txBody>
      </p:sp>
      <p:sp>
        <p:nvSpPr>
          <p:cNvPr id="33" name="TextBox 32"/>
          <p:cNvSpPr txBox="1"/>
          <p:nvPr/>
        </p:nvSpPr>
        <p:spPr>
          <a:xfrm>
            <a:off x="5713453" y="3006043"/>
            <a:ext cx="1819141" cy="923212"/>
          </a:xfrm>
          <a:prstGeom prst="rect">
            <a:avLst/>
          </a:prstGeom>
          <a:solidFill>
            <a:schemeClr val="bg1"/>
          </a:solidFill>
        </p:spPr>
        <p:txBody>
          <a:bodyPr wrap="square" rtlCol="0">
            <a:spAutoFit/>
          </a:bodyPr>
          <a:lstStyle/>
          <a:p>
            <a:pPr algn="ctr" defTabSz="914309"/>
            <a:r>
              <a:rPr lang="en-GB" dirty="0">
                <a:solidFill>
                  <a:prstClr val="black"/>
                </a:solidFill>
                <a:latin typeface="Calibri" panose="020F0502020204030204"/>
              </a:rPr>
              <a:t>Azure AD</a:t>
            </a:r>
            <a:br>
              <a:rPr lang="en-GB" dirty="0">
                <a:solidFill>
                  <a:prstClr val="black"/>
                </a:solidFill>
                <a:latin typeface="Calibri" panose="020F0502020204030204"/>
              </a:rPr>
            </a:br>
            <a:r>
              <a:rPr lang="en-GB" dirty="0">
                <a:solidFill>
                  <a:prstClr val="black"/>
                </a:solidFill>
                <a:latin typeface="Calibri" panose="020F0502020204030204"/>
              </a:rPr>
              <a:t>Application Proxy</a:t>
            </a:r>
            <a:br>
              <a:rPr lang="en-GB" dirty="0">
                <a:solidFill>
                  <a:prstClr val="black"/>
                </a:solidFill>
                <a:latin typeface="Calibri" panose="020F0502020204030204"/>
              </a:rPr>
            </a:br>
            <a:r>
              <a:rPr lang="en-GB" dirty="0">
                <a:solidFill>
                  <a:prstClr val="black"/>
                </a:solidFill>
                <a:latin typeface="Calibri" panose="020F0502020204030204"/>
              </a:rPr>
              <a:t>Connector</a:t>
            </a:r>
          </a:p>
        </p:txBody>
      </p:sp>
      <p:sp>
        <p:nvSpPr>
          <p:cNvPr id="34" name="Text Placeholder 1"/>
          <p:cNvSpPr txBox="1">
            <a:spLocks/>
          </p:cNvSpPr>
          <p:nvPr/>
        </p:nvSpPr>
        <p:spPr>
          <a:xfrm>
            <a:off x="366168" y="4456947"/>
            <a:ext cx="11702553" cy="1508105"/>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GB" dirty="0">
                <a:solidFill>
                  <a:schemeClr val="tx2"/>
                </a:solidFill>
              </a:rPr>
              <a:t>Typical usage providing access to</a:t>
            </a:r>
          </a:p>
          <a:p>
            <a:pPr marL="285750" lvl="1" indent="-285750">
              <a:lnSpc>
                <a:spcPct val="114000"/>
              </a:lnSpc>
            </a:pPr>
            <a:r>
              <a:rPr lang="en-GB" dirty="0"/>
              <a:t>Web-published CRL distribution points</a:t>
            </a:r>
          </a:p>
          <a:p>
            <a:pPr marL="285750" lvl="1" indent="-285750">
              <a:lnSpc>
                <a:spcPct val="114000"/>
              </a:lnSpc>
            </a:pPr>
            <a:r>
              <a:rPr lang="en-GB" dirty="0"/>
              <a:t>Network Device </a:t>
            </a:r>
            <a:r>
              <a:rPr lang="en-GB" dirty="0" err="1"/>
              <a:t>Enrollment</a:t>
            </a:r>
            <a:r>
              <a:rPr lang="en-GB" dirty="0"/>
              <a:t> Service (NDES) for Microsoft Intune</a:t>
            </a:r>
          </a:p>
        </p:txBody>
      </p:sp>
    </p:spTree>
    <p:extLst>
      <p:ext uri="{BB962C8B-B14F-4D97-AF65-F5344CB8AC3E}">
        <p14:creationId xmlns:p14="http://schemas.microsoft.com/office/powerpoint/2010/main" val="11325766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5164491"/>
          </a:xfrm>
        </p:spPr>
        <p:txBody>
          <a:bodyPr/>
          <a:lstStyle/>
          <a:p>
            <a:pPr marL="0" indent="0">
              <a:buNone/>
            </a:pPr>
            <a:r>
              <a:rPr lang="en-GB" dirty="0">
                <a:solidFill>
                  <a:schemeClr val="tx2"/>
                </a:solidFill>
              </a:rPr>
              <a:t>Anonymous access</a:t>
            </a:r>
          </a:p>
          <a:p>
            <a:pPr marL="0" indent="0">
              <a:buNone/>
            </a:pPr>
            <a:r>
              <a:rPr lang="en-GB" dirty="0">
                <a:solidFill>
                  <a:schemeClr val="tx2"/>
                </a:solidFill>
              </a:rPr>
              <a:t>Forms</a:t>
            </a:r>
          </a:p>
          <a:p>
            <a:pPr marL="0" indent="0">
              <a:buNone/>
            </a:pPr>
            <a:r>
              <a:rPr lang="en-GB" dirty="0">
                <a:solidFill>
                  <a:schemeClr val="tx2"/>
                </a:solidFill>
              </a:rPr>
              <a:t>Basic</a:t>
            </a:r>
          </a:p>
          <a:p>
            <a:pPr marL="0" indent="0">
              <a:buNone/>
            </a:pPr>
            <a:r>
              <a:rPr lang="en-GB" dirty="0">
                <a:solidFill>
                  <a:schemeClr val="tx2"/>
                </a:solidFill>
              </a:rPr>
              <a:t>Digest</a:t>
            </a:r>
          </a:p>
          <a:p>
            <a:pPr marL="0" indent="0">
              <a:buNone/>
            </a:pPr>
            <a:r>
              <a:rPr lang="en-GB" dirty="0">
                <a:solidFill>
                  <a:schemeClr val="tx2"/>
                </a:solidFill>
              </a:rPr>
              <a:t>NTLMv2</a:t>
            </a:r>
          </a:p>
          <a:p>
            <a:pPr marL="285750" lvl="1" indent="-285750">
              <a:lnSpc>
                <a:spcPct val="114000"/>
              </a:lnSpc>
            </a:pPr>
            <a:r>
              <a:rPr lang="en-GB" dirty="0"/>
              <a:t>Never use NTLM unless there is no alternative</a:t>
            </a:r>
          </a:p>
          <a:p>
            <a:pPr marL="0" indent="0">
              <a:buNone/>
            </a:pPr>
            <a:r>
              <a:rPr lang="en-GB" dirty="0">
                <a:solidFill>
                  <a:schemeClr val="tx2"/>
                </a:solidFill>
              </a:rPr>
              <a:t>Kerberos via Kerberos Constrained Delegation (KCD)</a:t>
            </a:r>
          </a:p>
          <a:p>
            <a:pPr marL="0" indent="0">
              <a:buNone/>
            </a:pPr>
            <a:r>
              <a:rPr lang="en-GB" dirty="0">
                <a:solidFill>
                  <a:schemeClr val="tx2"/>
                </a:solidFill>
              </a:rPr>
              <a:t>Claims</a:t>
            </a:r>
          </a:p>
          <a:p>
            <a:pPr marL="285750" lvl="1" indent="-285750">
              <a:lnSpc>
                <a:spcPct val="114000"/>
              </a:lnSpc>
            </a:pPr>
            <a:r>
              <a:rPr lang="en-GB" dirty="0"/>
              <a:t>WS-Federation, SAML, OpenID Connect</a:t>
            </a:r>
          </a:p>
        </p:txBody>
      </p:sp>
      <p:sp>
        <p:nvSpPr>
          <p:cNvPr id="3" name="Title 2"/>
          <p:cNvSpPr>
            <a:spLocks noGrp="1"/>
          </p:cNvSpPr>
          <p:nvPr>
            <p:ph type="title"/>
          </p:nvPr>
        </p:nvSpPr>
        <p:spPr/>
        <p:txBody>
          <a:bodyPr/>
          <a:lstStyle/>
          <a:p>
            <a:r>
              <a:rPr lang="en-GB" dirty="0"/>
              <a:t>Authenticating to applications</a:t>
            </a:r>
          </a:p>
        </p:txBody>
      </p:sp>
    </p:spTree>
    <p:extLst>
      <p:ext uri="{BB962C8B-B14F-4D97-AF65-F5344CB8AC3E}">
        <p14:creationId xmlns:p14="http://schemas.microsoft.com/office/powerpoint/2010/main" val="1939589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Windows authentication</a:t>
            </a:r>
            <a:endParaRPr lang="en-GB" dirty="0"/>
          </a:p>
        </p:txBody>
      </p:sp>
      <p:sp>
        <p:nvSpPr>
          <p:cNvPr id="4" name="Rectangle 3"/>
          <p:cNvSpPr/>
          <p:nvPr/>
        </p:nvSpPr>
        <p:spPr>
          <a:xfrm>
            <a:off x="1948462" y="1472830"/>
            <a:ext cx="1621505" cy="3624631"/>
          </a:xfrm>
          <a:prstGeom prst="rect">
            <a:avLst/>
          </a:prstGeom>
          <a:noFill/>
          <a:ln w="12700" cap="flat" cmpd="sng" algn="ctr">
            <a:solidFill>
              <a:sysClr val="windowText" lastClr="000000"/>
            </a:solidFill>
            <a:prstDash val="solid"/>
            <a:miter lim="800000"/>
          </a:ln>
          <a:effectLst/>
        </p:spPr>
        <p:txBody>
          <a:bodyPr rtlCol="0" anchor="ctr"/>
          <a:lstStyle/>
          <a:p>
            <a:pPr algn="ctr" defTabSz="914309">
              <a:defRPr/>
            </a:pPr>
            <a:endParaRPr lang="en-GB" kern="0" dirty="0">
              <a:solidFill>
                <a:prstClr val="white"/>
              </a:solidFill>
              <a:latin typeface="Calibri" panose="020F0502020204030204"/>
            </a:endParaRPr>
          </a:p>
        </p:txBody>
      </p:sp>
      <p:sp>
        <p:nvSpPr>
          <p:cNvPr id="5" name="Rectangle 4"/>
          <p:cNvSpPr/>
          <p:nvPr/>
        </p:nvSpPr>
        <p:spPr>
          <a:xfrm>
            <a:off x="5767074" y="1472830"/>
            <a:ext cx="4565170" cy="3624631"/>
          </a:xfrm>
          <a:prstGeom prst="rect">
            <a:avLst/>
          </a:prstGeom>
          <a:noFill/>
          <a:ln w="12700" cap="flat" cmpd="sng" algn="ctr">
            <a:solidFill>
              <a:sysClr val="windowText" lastClr="000000"/>
            </a:solidFill>
            <a:prstDash val="solid"/>
            <a:miter lim="800000"/>
          </a:ln>
          <a:effectLst/>
        </p:spPr>
        <p:txBody>
          <a:bodyPr rtlCol="0" anchor="ctr"/>
          <a:lstStyle/>
          <a:p>
            <a:pPr algn="ctr" defTabSz="914309">
              <a:defRPr/>
            </a:pPr>
            <a:endParaRPr lang="en-GB" kern="0" dirty="0">
              <a:solidFill>
                <a:prstClr val="white"/>
              </a:solidFill>
              <a:latin typeface="Calibri" panose="020F0502020204030204"/>
            </a:endParaRPr>
          </a:p>
        </p:txBody>
      </p:sp>
      <p:sp>
        <p:nvSpPr>
          <p:cNvPr id="6" name="TextBox 5"/>
          <p:cNvSpPr txBox="1"/>
          <p:nvPr/>
        </p:nvSpPr>
        <p:spPr>
          <a:xfrm>
            <a:off x="1822514" y="3416523"/>
            <a:ext cx="1819141" cy="923212"/>
          </a:xfrm>
          <a:prstGeom prst="rect">
            <a:avLst/>
          </a:prstGeom>
          <a:noFill/>
        </p:spPr>
        <p:txBody>
          <a:bodyPr wrap="square" rtlCol="0">
            <a:spAutoFit/>
          </a:bodyPr>
          <a:lstStyle/>
          <a:p>
            <a:pPr algn="ctr" defTabSz="914309"/>
            <a:r>
              <a:rPr lang="en-GB" dirty="0">
                <a:solidFill>
                  <a:prstClr val="black"/>
                </a:solidFill>
                <a:latin typeface="Calibri" panose="020F0502020204030204"/>
              </a:rPr>
              <a:t>External endpoint for application</a:t>
            </a:r>
          </a:p>
        </p:txBody>
      </p:sp>
      <p:sp>
        <p:nvSpPr>
          <p:cNvPr id="7" name="TextBox 6"/>
          <p:cNvSpPr txBox="1"/>
          <p:nvPr/>
        </p:nvSpPr>
        <p:spPr>
          <a:xfrm>
            <a:off x="1822514" y="1472830"/>
            <a:ext cx="1819141" cy="923212"/>
          </a:xfrm>
          <a:prstGeom prst="rect">
            <a:avLst/>
          </a:prstGeom>
          <a:noFill/>
        </p:spPr>
        <p:txBody>
          <a:bodyPr wrap="square" rtlCol="0">
            <a:spAutoFit/>
          </a:bodyPr>
          <a:lstStyle/>
          <a:p>
            <a:pPr algn="ctr" defTabSz="914309"/>
            <a:r>
              <a:rPr lang="en-GB" dirty="0">
                <a:solidFill>
                  <a:prstClr val="black"/>
                </a:solidFill>
                <a:latin typeface="Calibri" panose="020F0502020204030204"/>
              </a:rPr>
              <a:t>Azure AD endpoint for authentication</a:t>
            </a:r>
          </a:p>
        </p:txBody>
      </p:sp>
      <p:sp>
        <p:nvSpPr>
          <p:cNvPr id="8" name="Rectangle 7"/>
          <p:cNvSpPr/>
          <p:nvPr/>
        </p:nvSpPr>
        <p:spPr>
          <a:xfrm>
            <a:off x="6308911" y="3284886"/>
            <a:ext cx="697627" cy="1170948"/>
          </a:xfrm>
          <a:prstGeom prst="rect">
            <a:avLst/>
          </a:prstGeom>
          <a:solidFill>
            <a:srgbClr val="E7E6E6">
              <a:lumMod val="75000"/>
            </a:srgbClr>
          </a:solidFill>
          <a:ln w="12700" cap="flat" cmpd="sng" algn="ctr">
            <a:noFill/>
            <a:prstDash val="solid"/>
            <a:miter lim="800000"/>
          </a:ln>
          <a:effectLst/>
        </p:spPr>
        <p:txBody>
          <a:bodyPr rtlCol="0" anchor="ctr"/>
          <a:lstStyle/>
          <a:p>
            <a:pPr algn="ctr" defTabSz="914309">
              <a:defRPr/>
            </a:pPr>
            <a:endParaRPr lang="en-GB" kern="0">
              <a:solidFill>
                <a:prstClr val="white"/>
              </a:solidFill>
              <a:latin typeface="Calibri" panose="020F0502020204030204"/>
            </a:endParaRPr>
          </a:p>
        </p:txBody>
      </p:sp>
      <p:sp>
        <p:nvSpPr>
          <p:cNvPr id="10" name="Rectangle 9"/>
          <p:cNvSpPr/>
          <p:nvPr/>
        </p:nvSpPr>
        <p:spPr>
          <a:xfrm>
            <a:off x="8752393" y="3435712"/>
            <a:ext cx="1499850" cy="886006"/>
          </a:xfrm>
          <a:prstGeom prst="rect">
            <a:avLst/>
          </a:prstGeom>
          <a:solidFill>
            <a:srgbClr val="5B9BD5">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14309">
              <a:defRPr/>
            </a:pPr>
            <a:r>
              <a:rPr lang="en-GB" kern="0" dirty="0">
                <a:solidFill>
                  <a:prstClr val="black"/>
                </a:solidFill>
                <a:latin typeface="Calibri" panose="020F0502020204030204"/>
              </a:rPr>
              <a:t>App1</a:t>
            </a:r>
            <a:br>
              <a:rPr lang="en-GB" kern="0" dirty="0">
                <a:solidFill>
                  <a:prstClr val="black"/>
                </a:solidFill>
                <a:latin typeface="Calibri" panose="020F0502020204030204"/>
              </a:rPr>
            </a:br>
            <a:r>
              <a:rPr lang="en-GB" kern="0" dirty="0">
                <a:solidFill>
                  <a:prstClr val="black"/>
                </a:solidFill>
                <a:latin typeface="Calibri" panose="020F0502020204030204"/>
              </a:rPr>
              <a:t>Kerberos </a:t>
            </a:r>
            <a:r>
              <a:rPr lang="en-GB" kern="0" dirty="0" err="1">
                <a:solidFill>
                  <a:prstClr val="black"/>
                </a:solidFill>
                <a:latin typeface="Calibri" panose="020F0502020204030204"/>
              </a:rPr>
              <a:t>auth</a:t>
            </a:r>
            <a:endParaRPr lang="en-GB" kern="0" dirty="0">
              <a:solidFill>
                <a:prstClr val="black"/>
              </a:solidFill>
              <a:latin typeface="Calibri" panose="020F0502020204030204"/>
            </a:endParaRPr>
          </a:p>
        </p:txBody>
      </p:sp>
      <p:grpSp>
        <p:nvGrpSpPr>
          <p:cNvPr id="11" name="Group 248"/>
          <p:cNvGrpSpPr/>
          <p:nvPr/>
        </p:nvGrpSpPr>
        <p:grpSpPr>
          <a:xfrm>
            <a:off x="9040817" y="1622647"/>
            <a:ext cx="880893" cy="682307"/>
            <a:chOff x="6754098" y="4120308"/>
            <a:chExt cx="1927193" cy="1399143"/>
          </a:xfrm>
        </p:grpSpPr>
        <p:sp>
          <p:nvSpPr>
            <p:cNvPr id="12" name="Freeform 5"/>
            <p:cNvSpPr>
              <a:spLocks noChangeAspect="1"/>
            </p:cNvSpPr>
            <p:nvPr/>
          </p:nvSpPr>
          <p:spPr bwMode="auto">
            <a:xfrm>
              <a:off x="6754098" y="4120308"/>
              <a:ext cx="959590" cy="139914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4472C4">
                <a:lumMod val="75000"/>
              </a:srgbClr>
            </a:solidFill>
            <a:ln w="12700">
              <a:solidFill>
                <a:srgbClr val="002060"/>
              </a:solidFill>
              <a:headEnd/>
              <a:tailEnd/>
            </a:ln>
            <a:effectLst>
              <a:glow rad="63500">
                <a:srgbClr val="70AD47">
                  <a:satMod val="175000"/>
                  <a:alpha val="40000"/>
                </a:srgbClr>
              </a:glow>
              <a:outerShdw blurRad="40000" dist="23000" dir="5400000" rotWithShape="0">
                <a:srgbClr val="000000">
                  <a:alpha val="35000"/>
                </a:srgbClr>
              </a:outerShdw>
            </a:effectLst>
          </p:spPr>
          <p:txBody>
            <a:bodyPr wrap="none" anchor="ctr"/>
            <a:lstStyle/>
            <a:p>
              <a:pPr defTabSz="914309">
                <a:defRPr/>
              </a:pPr>
              <a:endParaRPr lang="en-US" kern="0">
                <a:solidFill>
                  <a:prstClr val="white"/>
                </a:solidFill>
                <a:latin typeface="Calibri" panose="020F0502020204030204"/>
              </a:endParaRPr>
            </a:p>
          </p:txBody>
        </p:sp>
        <p:sp>
          <p:nvSpPr>
            <p:cNvPr id="13" name="Freeform 6"/>
            <p:cNvSpPr>
              <a:spLocks noChangeAspect="1"/>
            </p:cNvSpPr>
            <p:nvPr/>
          </p:nvSpPr>
          <p:spPr bwMode="auto">
            <a:xfrm flipH="1">
              <a:off x="7721701" y="4120308"/>
              <a:ext cx="959590" cy="139914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4472C4">
                <a:lumMod val="75000"/>
              </a:srgbClr>
            </a:solidFill>
            <a:ln w="12700">
              <a:solidFill>
                <a:srgbClr val="002060"/>
              </a:solidFill>
              <a:headEnd/>
              <a:tailEnd/>
            </a:ln>
            <a:effectLst>
              <a:glow rad="63500">
                <a:srgbClr val="70AD47">
                  <a:satMod val="175000"/>
                  <a:alpha val="40000"/>
                </a:srgbClr>
              </a:glow>
              <a:outerShdw blurRad="40000" dist="23000" dir="5400000" rotWithShape="0">
                <a:srgbClr val="000000">
                  <a:alpha val="35000"/>
                </a:srgbClr>
              </a:outerShdw>
            </a:effectLst>
          </p:spPr>
          <p:txBody>
            <a:bodyPr wrap="none" anchor="ctr"/>
            <a:lstStyle/>
            <a:p>
              <a:pPr defTabSz="914309">
                <a:defRPr/>
              </a:pPr>
              <a:endParaRPr lang="en-US" kern="0">
                <a:solidFill>
                  <a:prstClr val="white"/>
                </a:solidFill>
                <a:latin typeface="Calibri" panose="020F0502020204030204"/>
              </a:endParaRPr>
            </a:p>
          </p:txBody>
        </p:sp>
        <p:sp>
          <p:nvSpPr>
            <p:cNvPr id="14" name="Line 7"/>
            <p:cNvSpPr>
              <a:spLocks noChangeAspect="1" noChangeShapeType="1"/>
            </p:cNvSpPr>
            <p:nvPr/>
          </p:nvSpPr>
          <p:spPr bwMode="auto">
            <a:xfrm flipH="1">
              <a:off x="7487729" y="4468342"/>
              <a:ext cx="92015" cy="119126"/>
            </a:xfrm>
            <a:prstGeom prst="line">
              <a:avLst/>
            </a:prstGeom>
            <a:noFill/>
            <a:ln w="19050">
              <a:solidFill>
                <a:srgbClr val="00CCFF"/>
              </a:solidFill>
              <a:round/>
              <a:headEnd/>
              <a:tailEnd/>
            </a:ln>
            <a:effectLst>
              <a:outerShdw dist="17961" dir="2700000" algn="ctr" rotWithShape="0">
                <a:srgbClr val="E7E6E6"/>
              </a:outerShdw>
            </a:effectLst>
          </p:spPr>
          <p:txBody>
            <a:bodyPr wrap="none" anchor="ctr"/>
            <a:lstStyle/>
            <a:p>
              <a:pPr defTabSz="914309">
                <a:defRPr/>
              </a:pPr>
              <a:endParaRPr lang="en-US" kern="0">
                <a:solidFill>
                  <a:prstClr val="black"/>
                </a:solidFill>
                <a:latin typeface="Calibri" panose="020F0502020204030204"/>
              </a:endParaRPr>
            </a:p>
          </p:txBody>
        </p:sp>
        <p:sp>
          <p:nvSpPr>
            <p:cNvPr id="15" name="Freeform 8"/>
            <p:cNvSpPr>
              <a:spLocks noChangeAspect="1"/>
            </p:cNvSpPr>
            <p:nvPr/>
          </p:nvSpPr>
          <p:spPr bwMode="auto">
            <a:xfrm flipV="1">
              <a:off x="7598147" y="4580460"/>
              <a:ext cx="260272" cy="91096"/>
            </a:xfrm>
            <a:custGeom>
              <a:avLst/>
              <a:gdLst/>
              <a:ahLst/>
              <a:cxnLst>
                <a:cxn ang="0">
                  <a:pos x="0" y="41"/>
                </a:cxn>
                <a:cxn ang="0">
                  <a:pos x="40" y="1"/>
                </a:cxn>
                <a:cxn ang="0">
                  <a:pos x="92" y="37"/>
                </a:cxn>
              </a:cxnLst>
              <a:rect l="0" t="0" r="r" b="b"/>
              <a:pathLst>
                <a:path w="92" h="41">
                  <a:moveTo>
                    <a:pt x="0" y="41"/>
                  </a:moveTo>
                  <a:cubicBezTo>
                    <a:pt x="12" y="21"/>
                    <a:pt x="25" y="2"/>
                    <a:pt x="40" y="1"/>
                  </a:cubicBezTo>
                  <a:cubicBezTo>
                    <a:pt x="55" y="0"/>
                    <a:pt x="73" y="18"/>
                    <a:pt x="92" y="37"/>
                  </a:cubicBezTo>
                </a:path>
              </a:pathLst>
            </a:custGeom>
            <a:noFill/>
            <a:ln w="6350" cap="flat" cmpd="sng" algn="ctr">
              <a:solidFill>
                <a:srgbClr val="ED7D31"/>
              </a:solidFill>
              <a:prstDash val="solid"/>
              <a:miter lim="800000"/>
              <a:headEnd type="none" w="med" len="med"/>
              <a:tailEnd type="none" w="med" len="med"/>
            </a:ln>
            <a:effectLst/>
          </p:spPr>
          <p:txBody>
            <a:bodyPr wrap="none" anchor="ctr"/>
            <a:lstStyle/>
            <a:p>
              <a:pPr defTabSz="914309">
                <a:defRPr/>
              </a:pPr>
              <a:endParaRPr lang="en-US" kern="0">
                <a:solidFill>
                  <a:prstClr val="black"/>
                </a:solidFill>
                <a:latin typeface="Calibri" panose="020F0502020204030204"/>
              </a:endParaRPr>
            </a:p>
          </p:txBody>
        </p:sp>
        <p:sp>
          <p:nvSpPr>
            <p:cNvPr id="16" name="Freeform 9"/>
            <p:cNvSpPr>
              <a:spLocks noChangeAspect="1"/>
            </p:cNvSpPr>
            <p:nvPr/>
          </p:nvSpPr>
          <p:spPr bwMode="auto">
            <a:xfrm>
              <a:off x="7600776" y="5021926"/>
              <a:ext cx="197176" cy="289639"/>
            </a:xfrm>
            <a:custGeom>
              <a:avLst/>
              <a:gdLst/>
              <a:ahLst/>
              <a:cxnLst>
                <a:cxn ang="0">
                  <a:pos x="0" y="0"/>
                </a:cxn>
                <a:cxn ang="0">
                  <a:pos x="36" y="120"/>
                </a:cxn>
                <a:cxn ang="0">
                  <a:pos x="116" y="168"/>
                </a:cxn>
              </a:cxnLst>
              <a:rect l="0" t="0" r="r" b="b"/>
              <a:pathLst>
                <a:path w="116" h="168">
                  <a:moveTo>
                    <a:pt x="0" y="0"/>
                  </a:moveTo>
                  <a:cubicBezTo>
                    <a:pt x="8" y="46"/>
                    <a:pt x="17" y="92"/>
                    <a:pt x="36" y="120"/>
                  </a:cubicBezTo>
                  <a:cubicBezTo>
                    <a:pt x="55" y="148"/>
                    <a:pt x="85" y="158"/>
                    <a:pt x="116" y="168"/>
                  </a:cubicBezTo>
                </a:path>
              </a:pathLst>
            </a:custGeom>
            <a:noFill/>
            <a:ln w="6350" cap="flat" cmpd="sng" algn="ctr">
              <a:solidFill>
                <a:srgbClr val="ED7D31"/>
              </a:solidFill>
              <a:prstDash val="solid"/>
              <a:miter lim="800000"/>
              <a:headEnd type="none" w="med" len="med"/>
              <a:tailEnd type="none" w="med" len="med"/>
            </a:ln>
            <a:effectLst/>
          </p:spPr>
          <p:txBody>
            <a:bodyPr wrap="none" anchor="ctr"/>
            <a:lstStyle/>
            <a:p>
              <a:pPr defTabSz="914309">
                <a:defRPr/>
              </a:pPr>
              <a:endParaRPr lang="en-US" kern="0">
                <a:solidFill>
                  <a:prstClr val="black"/>
                </a:solidFill>
                <a:latin typeface="Calibri" panose="020F0502020204030204"/>
              </a:endParaRPr>
            </a:p>
          </p:txBody>
        </p:sp>
        <p:sp>
          <p:nvSpPr>
            <p:cNvPr id="17" name="Freeform 10"/>
            <p:cNvSpPr>
              <a:spLocks noChangeAspect="1"/>
            </p:cNvSpPr>
            <p:nvPr/>
          </p:nvSpPr>
          <p:spPr bwMode="auto">
            <a:xfrm>
              <a:off x="7619179" y="5031269"/>
              <a:ext cx="202434" cy="282632"/>
            </a:xfrm>
            <a:custGeom>
              <a:avLst/>
              <a:gdLst/>
              <a:ahLst/>
              <a:cxnLst>
                <a:cxn ang="0">
                  <a:pos x="112" y="0"/>
                </a:cxn>
                <a:cxn ang="0">
                  <a:pos x="76" y="128"/>
                </a:cxn>
                <a:cxn ang="0">
                  <a:pos x="0" y="172"/>
                </a:cxn>
              </a:cxnLst>
              <a:rect l="0" t="0" r="r" b="b"/>
              <a:pathLst>
                <a:path w="112" h="172">
                  <a:moveTo>
                    <a:pt x="112" y="0"/>
                  </a:moveTo>
                  <a:cubicBezTo>
                    <a:pt x="103" y="49"/>
                    <a:pt x="95" y="99"/>
                    <a:pt x="76" y="128"/>
                  </a:cubicBezTo>
                  <a:cubicBezTo>
                    <a:pt x="57" y="157"/>
                    <a:pt x="28" y="164"/>
                    <a:pt x="0" y="172"/>
                  </a:cubicBezTo>
                </a:path>
              </a:pathLst>
            </a:custGeom>
            <a:noFill/>
            <a:ln w="19050" cap="flat" cmpd="sng">
              <a:solidFill>
                <a:srgbClr val="00CCFF"/>
              </a:solidFill>
              <a:prstDash val="solid"/>
              <a:round/>
              <a:headEnd type="none" w="med" len="med"/>
              <a:tailEnd type="none" w="med" len="med"/>
            </a:ln>
            <a:effectLst>
              <a:outerShdw dist="17961" dir="2700000" algn="ctr" rotWithShape="0">
                <a:srgbClr val="E7E6E6"/>
              </a:outerShdw>
            </a:effectLst>
          </p:spPr>
          <p:txBody>
            <a:bodyPr wrap="none" anchor="ctr"/>
            <a:lstStyle/>
            <a:p>
              <a:pPr defTabSz="914309">
                <a:defRPr/>
              </a:pPr>
              <a:endParaRPr lang="en-US" kern="0">
                <a:solidFill>
                  <a:prstClr val="black"/>
                </a:solidFill>
                <a:latin typeface="Calibri" panose="020F0502020204030204"/>
              </a:endParaRPr>
            </a:p>
          </p:txBody>
        </p:sp>
        <p:sp>
          <p:nvSpPr>
            <p:cNvPr id="18" name="Line 11"/>
            <p:cNvSpPr>
              <a:spLocks noChangeAspect="1" noChangeShapeType="1"/>
            </p:cNvSpPr>
            <p:nvPr/>
          </p:nvSpPr>
          <p:spPr bwMode="auto">
            <a:xfrm flipH="1">
              <a:off x="7298439" y="4533745"/>
              <a:ext cx="252385" cy="383071"/>
            </a:xfrm>
            <a:prstGeom prst="line">
              <a:avLst/>
            </a:prstGeom>
            <a:noFill/>
            <a:ln w="6350" cap="flat" cmpd="sng" algn="ctr">
              <a:solidFill>
                <a:srgbClr val="ED7D31"/>
              </a:solidFill>
              <a:prstDash val="solid"/>
              <a:miter lim="800000"/>
              <a:headEnd/>
              <a:tailEnd/>
            </a:ln>
            <a:effectLst/>
          </p:spPr>
          <p:txBody>
            <a:bodyPr wrap="none" anchor="ctr"/>
            <a:lstStyle/>
            <a:p>
              <a:pPr defTabSz="914309">
                <a:defRPr/>
              </a:pPr>
              <a:endParaRPr lang="en-US" kern="0">
                <a:solidFill>
                  <a:prstClr val="black"/>
                </a:solidFill>
                <a:latin typeface="Calibri" panose="020F0502020204030204"/>
              </a:endParaRPr>
            </a:p>
          </p:txBody>
        </p:sp>
        <p:sp>
          <p:nvSpPr>
            <p:cNvPr id="19" name="Line 12"/>
            <p:cNvSpPr>
              <a:spLocks noChangeAspect="1" noChangeShapeType="1"/>
            </p:cNvSpPr>
            <p:nvPr/>
          </p:nvSpPr>
          <p:spPr bwMode="auto">
            <a:xfrm flipH="1">
              <a:off x="7032910" y="4909808"/>
              <a:ext cx="278676" cy="348034"/>
            </a:xfrm>
            <a:prstGeom prst="line">
              <a:avLst/>
            </a:prstGeom>
            <a:noFill/>
            <a:ln w="6350" cap="flat" cmpd="sng" algn="ctr">
              <a:solidFill>
                <a:srgbClr val="ED7D31"/>
              </a:solidFill>
              <a:prstDash val="solid"/>
              <a:miter lim="800000"/>
              <a:headEnd/>
              <a:tailEnd/>
            </a:ln>
            <a:effectLst/>
          </p:spPr>
          <p:txBody>
            <a:bodyPr wrap="none" anchor="ctr"/>
            <a:lstStyle/>
            <a:p>
              <a:pPr defTabSz="914309">
                <a:defRPr/>
              </a:pPr>
              <a:endParaRPr lang="en-US" kern="0">
                <a:solidFill>
                  <a:prstClr val="black"/>
                </a:solidFill>
                <a:latin typeface="Calibri" panose="020F0502020204030204"/>
              </a:endParaRPr>
            </a:p>
          </p:txBody>
        </p:sp>
        <p:sp>
          <p:nvSpPr>
            <p:cNvPr id="20" name="Line 13"/>
            <p:cNvSpPr>
              <a:spLocks noChangeAspect="1" noChangeShapeType="1"/>
            </p:cNvSpPr>
            <p:nvPr/>
          </p:nvSpPr>
          <p:spPr bwMode="auto">
            <a:xfrm flipH="1">
              <a:off x="7303698" y="4956524"/>
              <a:ext cx="278676" cy="350370"/>
            </a:xfrm>
            <a:prstGeom prst="line">
              <a:avLst/>
            </a:prstGeom>
            <a:noFill/>
            <a:ln w="6350" cap="flat" cmpd="sng" algn="ctr">
              <a:solidFill>
                <a:srgbClr val="ED7D31"/>
              </a:solidFill>
              <a:prstDash val="solid"/>
              <a:miter lim="800000"/>
              <a:headEnd/>
              <a:tailEnd/>
            </a:ln>
            <a:effectLst/>
          </p:spPr>
          <p:txBody>
            <a:bodyPr wrap="none" anchor="ctr"/>
            <a:lstStyle/>
            <a:p>
              <a:pPr defTabSz="914309">
                <a:defRPr/>
              </a:pPr>
              <a:endParaRPr lang="en-US" kern="0">
                <a:solidFill>
                  <a:prstClr val="black"/>
                </a:solidFill>
                <a:latin typeface="Calibri" panose="020F0502020204030204"/>
              </a:endParaRPr>
            </a:p>
          </p:txBody>
        </p:sp>
        <p:sp>
          <p:nvSpPr>
            <p:cNvPr id="21" name="Line 14"/>
            <p:cNvSpPr>
              <a:spLocks noChangeAspect="1" noChangeShapeType="1"/>
            </p:cNvSpPr>
            <p:nvPr/>
          </p:nvSpPr>
          <p:spPr bwMode="auto">
            <a:xfrm>
              <a:off x="7558712" y="4944845"/>
              <a:ext cx="36806" cy="401757"/>
            </a:xfrm>
            <a:prstGeom prst="line">
              <a:avLst/>
            </a:prstGeom>
            <a:noFill/>
            <a:ln w="6350" cap="flat" cmpd="sng" algn="ctr">
              <a:solidFill>
                <a:srgbClr val="ED7D31"/>
              </a:solidFill>
              <a:prstDash val="solid"/>
              <a:miter lim="800000"/>
              <a:headEnd/>
              <a:tailEnd/>
            </a:ln>
            <a:effectLst/>
          </p:spPr>
          <p:txBody>
            <a:bodyPr wrap="none" anchor="ctr"/>
            <a:lstStyle/>
            <a:p>
              <a:pPr defTabSz="914309">
                <a:defRPr/>
              </a:pPr>
              <a:endParaRPr lang="en-US" kern="0">
                <a:solidFill>
                  <a:prstClr val="black"/>
                </a:solidFill>
                <a:latin typeface="Calibri" panose="020F0502020204030204"/>
              </a:endParaRPr>
            </a:p>
          </p:txBody>
        </p:sp>
        <p:sp>
          <p:nvSpPr>
            <p:cNvPr id="22" name="Line 15"/>
            <p:cNvSpPr>
              <a:spLocks noChangeAspect="1" noChangeShapeType="1"/>
            </p:cNvSpPr>
            <p:nvPr/>
          </p:nvSpPr>
          <p:spPr bwMode="auto">
            <a:xfrm>
              <a:off x="7558712" y="4508051"/>
              <a:ext cx="0" cy="460152"/>
            </a:xfrm>
            <a:prstGeom prst="line">
              <a:avLst/>
            </a:prstGeom>
            <a:noFill/>
            <a:ln w="6350" cap="flat" cmpd="sng" algn="ctr">
              <a:solidFill>
                <a:srgbClr val="ED7D31"/>
              </a:solidFill>
              <a:prstDash val="solid"/>
              <a:miter lim="800000"/>
              <a:headEnd/>
              <a:tailEnd/>
            </a:ln>
            <a:effectLst/>
          </p:spPr>
          <p:txBody>
            <a:bodyPr wrap="none" anchor="ctr"/>
            <a:lstStyle/>
            <a:p>
              <a:pPr defTabSz="914309">
                <a:defRPr/>
              </a:pPr>
              <a:endParaRPr lang="en-US" kern="0">
                <a:solidFill>
                  <a:prstClr val="black"/>
                </a:solidFill>
                <a:latin typeface="Calibri" panose="020F0502020204030204"/>
              </a:endParaRPr>
            </a:p>
          </p:txBody>
        </p:sp>
        <p:sp>
          <p:nvSpPr>
            <p:cNvPr id="23" name="Oval 16"/>
            <p:cNvSpPr>
              <a:spLocks noChangeAspect="1" noChangeArrowheads="1"/>
            </p:cNvSpPr>
            <p:nvPr/>
          </p:nvSpPr>
          <p:spPr bwMode="auto">
            <a:xfrm>
              <a:off x="7458810" y="4444983"/>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sp>
          <p:nvSpPr>
            <p:cNvPr id="24" name="Oval 17"/>
            <p:cNvSpPr>
              <a:spLocks noChangeAspect="1" noChangeArrowheads="1"/>
            </p:cNvSpPr>
            <p:nvPr/>
          </p:nvSpPr>
          <p:spPr bwMode="auto">
            <a:xfrm>
              <a:off x="7211682" y="4830391"/>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sp>
          <p:nvSpPr>
            <p:cNvPr id="25" name="Oval 18"/>
            <p:cNvSpPr>
              <a:spLocks noChangeAspect="1" noChangeArrowheads="1"/>
            </p:cNvSpPr>
            <p:nvPr/>
          </p:nvSpPr>
          <p:spPr bwMode="auto">
            <a:xfrm>
              <a:off x="7458810" y="4879442"/>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sp>
          <p:nvSpPr>
            <p:cNvPr id="26" name="Oval 19"/>
            <p:cNvSpPr>
              <a:spLocks noChangeAspect="1" noChangeArrowheads="1"/>
            </p:cNvSpPr>
            <p:nvPr/>
          </p:nvSpPr>
          <p:spPr bwMode="auto">
            <a:xfrm>
              <a:off x="6938264" y="5157402"/>
              <a:ext cx="184032" cy="172849"/>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sp>
          <p:nvSpPr>
            <p:cNvPr id="27" name="Oval 20"/>
            <p:cNvSpPr>
              <a:spLocks noChangeAspect="1" noChangeArrowheads="1"/>
            </p:cNvSpPr>
            <p:nvPr/>
          </p:nvSpPr>
          <p:spPr bwMode="auto">
            <a:xfrm>
              <a:off x="7214311" y="5213462"/>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sp>
          <p:nvSpPr>
            <p:cNvPr id="28" name="Oval 21"/>
            <p:cNvSpPr>
              <a:spLocks noChangeAspect="1" noChangeArrowheads="1"/>
            </p:cNvSpPr>
            <p:nvPr/>
          </p:nvSpPr>
          <p:spPr bwMode="auto">
            <a:xfrm>
              <a:off x="7487729" y="5253171"/>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sp>
          <p:nvSpPr>
            <p:cNvPr id="29" name="Line 23"/>
            <p:cNvSpPr>
              <a:spLocks noChangeAspect="1" noChangeShapeType="1"/>
            </p:cNvSpPr>
            <p:nvPr/>
          </p:nvSpPr>
          <p:spPr bwMode="auto">
            <a:xfrm>
              <a:off x="7821593" y="4475004"/>
              <a:ext cx="97571" cy="121626"/>
            </a:xfrm>
            <a:prstGeom prst="line">
              <a:avLst/>
            </a:prstGeom>
            <a:noFill/>
            <a:ln w="19050">
              <a:solidFill>
                <a:srgbClr val="00CCFF"/>
              </a:solidFill>
              <a:round/>
              <a:headEnd/>
              <a:tailEnd/>
            </a:ln>
            <a:effectLst>
              <a:outerShdw dist="17961" dir="2700000" algn="ctr" rotWithShape="0">
                <a:srgbClr val="E7E6E6"/>
              </a:outerShdw>
            </a:effectLst>
          </p:spPr>
          <p:txBody>
            <a:bodyPr wrap="none" anchor="ctr"/>
            <a:lstStyle/>
            <a:p>
              <a:pPr defTabSz="914309">
                <a:defRPr/>
              </a:pPr>
              <a:endParaRPr lang="en-US" kern="0">
                <a:solidFill>
                  <a:prstClr val="black"/>
                </a:solidFill>
                <a:latin typeface="Calibri" panose="020F0502020204030204"/>
              </a:endParaRPr>
            </a:p>
          </p:txBody>
        </p:sp>
        <p:sp>
          <p:nvSpPr>
            <p:cNvPr id="30" name="Line 24"/>
            <p:cNvSpPr>
              <a:spLocks noChangeAspect="1" noChangeShapeType="1"/>
            </p:cNvSpPr>
            <p:nvPr/>
          </p:nvSpPr>
          <p:spPr bwMode="auto">
            <a:xfrm>
              <a:off x="7848077" y="4540682"/>
              <a:ext cx="257867" cy="380688"/>
            </a:xfrm>
            <a:prstGeom prst="line">
              <a:avLst/>
            </a:prstGeom>
            <a:noFill/>
            <a:ln w="6350" cap="flat" cmpd="sng" algn="ctr">
              <a:solidFill>
                <a:srgbClr val="ED7D31"/>
              </a:solidFill>
              <a:prstDash val="solid"/>
              <a:miter lim="800000"/>
              <a:headEnd/>
              <a:tailEnd/>
            </a:ln>
            <a:effectLst/>
          </p:spPr>
          <p:txBody>
            <a:bodyPr wrap="none" anchor="ctr"/>
            <a:lstStyle/>
            <a:p>
              <a:pPr defTabSz="914309">
                <a:defRPr/>
              </a:pPr>
              <a:endParaRPr lang="en-US" kern="0">
                <a:solidFill>
                  <a:prstClr val="black"/>
                </a:solidFill>
                <a:latin typeface="Calibri" panose="020F0502020204030204"/>
              </a:endParaRPr>
            </a:p>
          </p:txBody>
        </p:sp>
        <p:sp>
          <p:nvSpPr>
            <p:cNvPr id="31" name="Line 25"/>
            <p:cNvSpPr>
              <a:spLocks noChangeAspect="1" noChangeShapeType="1"/>
            </p:cNvSpPr>
            <p:nvPr/>
          </p:nvSpPr>
          <p:spPr bwMode="auto">
            <a:xfrm>
              <a:off x="8087824" y="4914071"/>
              <a:ext cx="278775" cy="344201"/>
            </a:xfrm>
            <a:prstGeom prst="line">
              <a:avLst/>
            </a:prstGeom>
            <a:noFill/>
            <a:ln w="6350" cap="flat" cmpd="sng" algn="ctr">
              <a:solidFill>
                <a:srgbClr val="ED7D31"/>
              </a:solidFill>
              <a:prstDash val="solid"/>
              <a:miter lim="800000"/>
              <a:headEnd/>
              <a:tailEnd/>
            </a:ln>
            <a:effectLst/>
          </p:spPr>
          <p:txBody>
            <a:bodyPr wrap="none" anchor="ctr"/>
            <a:lstStyle/>
            <a:p>
              <a:pPr defTabSz="914309">
                <a:defRPr/>
              </a:pPr>
              <a:endParaRPr lang="en-US" kern="0">
                <a:solidFill>
                  <a:prstClr val="black"/>
                </a:solidFill>
                <a:latin typeface="Calibri" panose="020F0502020204030204"/>
              </a:endParaRPr>
            </a:p>
          </p:txBody>
        </p:sp>
        <p:sp>
          <p:nvSpPr>
            <p:cNvPr id="32" name="Line 26"/>
            <p:cNvSpPr>
              <a:spLocks noChangeAspect="1" noChangeShapeType="1"/>
            </p:cNvSpPr>
            <p:nvPr/>
          </p:nvSpPr>
          <p:spPr bwMode="auto">
            <a:xfrm>
              <a:off x="7821593" y="4963939"/>
              <a:ext cx="278775" cy="344201"/>
            </a:xfrm>
            <a:prstGeom prst="line">
              <a:avLst/>
            </a:prstGeom>
            <a:noFill/>
            <a:ln w="6350" cap="flat" cmpd="sng" algn="ctr">
              <a:solidFill>
                <a:srgbClr val="ED7D31"/>
              </a:solidFill>
              <a:prstDash val="solid"/>
              <a:miter lim="800000"/>
              <a:headEnd/>
              <a:tailEnd/>
            </a:ln>
            <a:effectLst/>
          </p:spPr>
          <p:txBody>
            <a:bodyPr wrap="none" anchor="ctr"/>
            <a:lstStyle/>
            <a:p>
              <a:pPr defTabSz="914309">
                <a:defRPr/>
              </a:pPr>
              <a:endParaRPr lang="en-US" kern="0">
                <a:solidFill>
                  <a:prstClr val="black"/>
                </a:solidFill>
                <a:latin typeface="Calibri" panose="020F0502020204030204"/>
              </a:endParaRPr>
            </a:p>
          </p:txBody>
        </p:sp>
        <p:sp>
          <p:nvSpPr>
            <p:cNvPr id="33" name="Line 27"/>
            <p:cNvSpPr>
              <a:spLocks noChangeAspect="1" noChangeShapeType="1"/>
            </p:cNvSpPr>
            <p:nvPr/>
          </p:nvSpPr>
          <p:spPr bwMode="auto">
            <a:xfrm flipH="1">
              <a:off x="7806261" y="4949343"/>
              <a:ext cx="37635" cy="398932"/>
            </a:xfrm>
            <a:prstGeom prst="line">
              <a:avLst/>
            </a:prstGeom>
            <a:noFill/>
            <a:ln w="6350" cap="flat" cmpd="sng" algn="ctr">
              <a:solidFill>
                <a:srgbClr val="ED7D31"/>
              </a:solidFill>
              <a:prstDash val="solid"/>
              <a:miter lim="800000"/>
              <a:headEnd/>
              <a:tailEnd/>
            </a:ln>
            <a:effectLst/>
          </p:spPr>
          <p:txBody>
            <a:bodyPr wrap="none" anchor="ctr"/>
            <a:lstStyle/>
            <a:p>
              <a:pPr defTabSz="914309">
                <a:defRPr/>
              </a:pPr>
              <a:endParaRPr lang="en-US" kern="0">
                <a:solidFill>
                  <a:prstClr val="black"/>
                </a:solidFill>
                <a:latin typeface="Calibri" panose="020F0502020204030204"/>
              </a:endParaRPr>
            </a:p>
          </p:txBody>
        </p:sp>
        <p:sp>
          <p:nvSpPr>
            <p:cNvPr id="34" name="Line 28"/>
            <p:cNvSpPr>
              <a:spLocks noChangeAspect="1" noChangeShapeType="1"/>
            </p:cNvSpPr>
            <p:nvPr/>
          </p:nvSpPr>
          <p:spPr bwMode="auto">
            <a:xfrm flipH="1">
              <a:off x="7843895" y="4518790"/>
              <a:ext cx="0" cy="448799"/>
            </a:xfrm>
            <a:prstGeom prst="line">
              <a:avLst/>
            </a:prstGeom>
            <a:noFill/>
            <a:ln w="6350" cap="flat" cmpd="sng" algn="ctr">
              <a:solidFill>
                <a:srgbClr val="ED7D31"/>
              </a:solidFill>
              <a:prstDash val="solid"/>
              <a:miter lim="800000"/>
              <a:headEnd/>
              <a:tailEnd/>
            </a:ln>
            <a:effectLst/>
          </p:spPr>
          <p:txBody>
            <a:bodyPr wrap="none" anchor="ctr"/>
            <a:lstStyle/>
            <a:p>
              <a:pPr defTabSz="914309">
                <a:defRPr/>
              </a:pPr>
              <a:endParaRPr lang="en-US" kern="0">
                <a:solidFill>
                  <a:prstClr val="black"/>
                </a:solidFill>
                <a:latin typeface="Calibri" panose="020F0502020204030204"/>
              </a:endParaRPr>
            </a:p>
          </p:txBody>
        </p:sp>
        <p:sp>
          <p:nvSpPr>
            <p:cNvPr id="35" name="Oval 29"/>
            <p:cNvSpPr>
              <a:spLocks noChangeAspect="1" noChangeArrowheads="1"/>
            </p:cNvSpPr>
            <p:nvPr/>
          </p:nvSpPr>
          <p:spPr bwMode="auto">
            <a:xfrm flipH="1">
              <a:off x="7758870" y="4454327"/>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sp>
          <p:nvSpPr>
            <p:cNvPr id="36" name="Oval 30"/>
            <p:cNvSpPr>
              <a:spLocks noChangeAspect="1" noChangeArrowheads="1"/>
            </p:cNvSpPr>
            <p:nvPr/>
          </p:nvSpPr>
          <p:spPr bwMode="auto">
            <a:xfrm flipH="1">
              <a:off x="8008373" y="4831367"/>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sp>
          <p:nvSpPr>
            <p:cNvPr id="37" name="Oval 31"/>
            <p:cNvSpPr>
              <a:spLocks noChangeAspect="1" noChangeArrowheads="1"/>
            </p:cNvSpPr>
            <p:nvPr/>
          </p:nvSpPr>
          <p:spPr bwMode="auto">
            <a:xfrm flipH="1">
              <a:off x="7758870" y="4884883"/>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sp>
          <p:nvSpPr>
            <p:cNvPr id="38" name="Oval 32"/>
            <p:cNvSpPr>
              <a:spLocks noChangeAspect="1" noChangeArrowheads="1"/>
            </p:cNvSpPr>
            <p:nvPr/>
          </p:nvSpPr>
          <p:spPr bwMode="auto">
            <a:xfrm flipH="1">
              <a:off x="8282965" y="5160972"/>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sp>
          <p:nvSpPr>
            <p:cNvPr id="39" name="Oval 33"/>
            <p:cNvSpPr>
              <a:spLocks noChangeAspect="1" noChangeArrowheads="1"/>
            </p:cNvSpPr>
            <p:nvPr/>
          </p:nvSpPr>
          <p:spPr bwMode="auto">
            <a:xfrm flipH="1">
              <a:off x="8004191" y="5215704"/>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sp>
          <p:nvSpPr>
            <p:cNvPr id="40" name="Oval 34"/>
            <p:cNvSpPr>
              <a:spLocks noChangeAspect="1" noChangeArrowheads="1"/>
            </p:cNvSpPr>
            <p:nvPr/>
          </p:nvSpPr>
          <p:spPr bwMode="auto">
            <a:xfrm flipH="1">
              <a:off x="7729598" y="5254624"/>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09">
                <a:defRPr/>
              </a:pPr>
              <a:endParaRPr lang="en-US" kern="0">
                <a:solidFill>
                  <a:prstClr val="white"/>
                </a:solidFill>
                <a:latin typeface="Calibri" panose="020F0502020204030204"/>
              </a:endParaRPr>
            </a:p>
          </p:txBody>
        </p:sp>
      </p:grpSp>
      <p:cxnSp>
        <p:nvCxnSpPr>
          <p:cNvPr id="41" name="Straight Connector 40"/>
          <p:cNvCxnSpPr>
            <a:endCxn id="10" idx="1"/>
          </p:cNvCxnSpPr>
          <p:nvPr/>
        </p:nvCxnSpPr>
        <p:spPr>
          <a:xfrm>
            <a:off x="5266571" y="3878715"/>
            <a:ext cx="3485822" cy="0"/>
          </a:xfrm>
          <a:prstGeom prst="line">
            <a:avLst/>
          </a:prstGeom>
          <a:noFill/>
          <a:ln w="19050" cap="flat" cmpd="sng" algn="ctr">
            <a:solidFill>
              <a:sysClr val="windowText" lastClr="000000"/>
            </a:solidFill>
            <a:prstDash val="dash"/>
            <a:miter lim="800000"/>
          </a:ln>
          <a:effectLst/>
        </p:spPr>
      </p:cxnSp>
      <p:sp>
        <p:nvSpPr>
          <p:cNvPr id="42" name="TextBox 41"/>
          <p:cNvSpPr txBox="1"/>
          <p:nvPr/>
        </p:nvSpPr>
        <p:spPr>
          <a:xfrm>
            <a:off x="8512747" y="4713748"/>
            <a:ext cx="1819141" cy="369285"/>
          </a:xfrm>
          <a:prstGeom prst="rect">
            <a:avLst/>
          </a:prstGeom>
          <a:noFill/>
          <a:ln>
            <a:solidFill>
              <a:sysClr val="windowText" lastClr="000000"/>
            </a:solidFill>
          </a:ln>
        </p:spPr>
        <p:txBody>
          <a:bodyPr wrap="square" rtlCol="0">
            <a:spAutoFit/>
          </a:bodyPr>
          <a:lstStyle/>
          <a:p>
            <a:pPr algn="ctr" defTabSz="914309">
              <a:defRPr/>
            </a:pPr>
            <a:r>
              <a:rPr lang="en-GB" kern="0" dirty="0">
                <a:solidFill>
                  <a:prstClr val="black"/>
                </a:solidFill>
                <a:latin typeface="Calibri" panose="020F0502020204030204"/>
              </a:rPr>
              <a:t>On-premises</a:t>
            </a:r>
          </a:p>
        </p:txBody>
      </p:sp>
      <p:sp>
        <p:nvSpPr>
          <p:cNvPr id="43" name="Rectangle 42"/>
          <p:cNvSpPr/>
          <p:nvPr/>
        </p:nvSpPr>
        <p:spPr>
          <a:xfrm>
            <a:off x="6652644" y="3293117"/>
            <a:ext cx="353894" cy="1162717"/>
          </a:xfrm>
          <a:prstGeom prst="rect">
            <a:avLst/>
          </a:prstGeom>
          <a:solidFill>
            <a:srgbClr val="E7E6E6">
              <a:lumMod val="75000"/>
            </a:srgbClr>
          </a:solidFill>
          <a:ln w="12700" cap="flat" cmpd="sng" algn="ctr">
            <a:noFill/>
            <a:prstDash val="solid"/>
            <a:miter lim="800000"/>
          </a:ln>
          <a:effectLst/>
        </p:spPr>
        <p:txBody>
          <a:bodyPr rtlCol="0" anchor="ctr"/>
          <a:lstStyle/>
          <a:p>
            <a:pPr algn="ctr" defTabSz="914309">
              <a:defRPr/>
            </a:pPr>
            <a:endParaRPr lang="en-GB" kern="0">
              <a:solidFill>
                <a:prstClr val="white"/>
              </a:solidFill>
              <a:latin typeface="Calibri" panose="020F0502020204030204"/>
            </a:endParaRPr>
          </a:p>
        </p:txBody>
      </p:sp>
      <p:sp>
        <p:nvSpPr>
          <p:cNvPr id="44" name="TextBox 43"/>
          <p:cNvSpPr txBox="1"/>
          <p:nvPr/>
        </p:nvSpPr>
        <p:spPr>
          <a:xfrm>
            <a:off x="9323429" y="2281706"/>
            <a:ext cx="781308" cy="369285"/>
          </a:xfrm>
          <a:prstGeom prst="rect">
            <a:avLst/>
          </a:prstGeom>
          <a:noFill/>
        </p:spPr>
        <p:txBody>
          <a:bodyPr wrap="square" rtlCol="0">
            <a:spAutoFit/>
          </a:bodyPr>
          <a:lstStyle/>
          <a:p>
            <a:pPr algn="ctr" defTabSz="914309"/>
            <a:r>
              <a:rPr lang="en-GB" dirty="0">
                <a:solidFill>
                  <a:prstClr val="black"/>
                </a:solidFill>
                <a:latin typeface="Calibri" panose="020F0502020204030204"/>
              </a:rPr>
              <a:t>AD</a:t>
            </a:r>
          </a:p>
        </p:txBody>
      </p:sp>
      <p:sp>
        <p:nvSpPr>
          <p:cNvPr id="45" name="TextBox 44"/>
          <p:cNvSpPr txBox="1"/>
          <p:nvPr/>
        </p:nvSpPr>
        <p:spPr>
          <a:xfrm>
            <a:off x="3270042" y="1605183"/>
            <a:ext cx="389800" cy="369285"/>
          </a:xfrm>
          <a:prstGeom prst="rect">
            <a:avLst/>
          </a:prstGeom>
          <a:noFill/>
        </p:spPr>
        <p:txBody>
          <a:bodyPr wrap="none" rtlCol="0">
            <a:spAutoFit/>
          </a:bodyPr>
          <a:lstStyle/>
          <a:p>
            <a:pPr defTabSz="914309"/>
            <a:r>
              <a:rPr lang="en-GB" dirty="0">
                <a:solidFill>
                  <a:prstClr val="black"/>
                </a:solidFill>
                <a:latin typeface="Calibri" panose="020F0502020204030204"/>
                <a:sym typeface="Wingdings" panose="05000000000000000000" pitchFamily="2" charset="2"/>
              </a:rPr>
              <a:t></a:t>
            </a:r>
            <a:endParaRPr lang="en-GB" dirty="0">
              <a:solidFill>
                <a:prstClr val="black"/>
              </a:solidFill>
              <a:latin typeface="Calibri" panose="020F0502020204030204"/>
            </a:endParaRPr>
          </a:p>
        </p:txBody>
      </p:sp>
      <p:sp>
        <p:nvSpPr>
          <p:cNvPr id="46" name="TextBox 45"/>
          <p:cNvSpPr txBox="1"/>
          <p:nvPr/>
        </p:nvSpPr>
        <p:spPr>
          <a:xfrm>
            <a:off x="3270042" y="3540622"/>
            <a:ext cx="389800" cy="369285"/>
          </a:xfrm>
          <a:prstGeom prst="rect">
            <a:avLst/>
          </a:prstGeom>
          <a:noFill/>
        </p:spPr>
        <p:txBody>
          <a:bodyPr wrap="none" rtlCol="0">
            <a:spAutoFit/>
          </a:bodyPr>
          <a:lstStyle/>
          <a:p>
            <a:pPr defTabSz="914309"/>
            <a:r>
              <a:rPr lang="en-GB" dirty="0">
                <a:solidFill>
                  <a:prstClr val="black"/>
                </a:solidFill>
                <a:latin typeface="Calibri" panose="020F0502020204030204"/>
                <a:sym typeface="Wingdings" panose="05000000000000000000" pitchFamily="2" charset="2"/>
              </a:rPr>
              <a:t></a:t>
            </a:r>
            <a:endParaRPr lang="en-GB" dirty="0">
              <a:solidFill>
                <a:prstClr val="black"/>
              </a:solidFill>
              <a:latin typeface="Calibri" panose="020F0502020204030204"/>
            </a:endParaRPr>
          </a:p>
        </p:txBody>
      </p:sp>
      <p:sp>
        <p:nvSpPr>
          <p:cNvPr id="47" name="TextBox 46"/>
          <p:cNvSpPr txBox="1"/>
          <p:nvPr/>
        </p:nvSpPr>
        <p:spPr>
          <a:xfrm>
            <a:off x="6461633" y="3545818"/>
            <a:ext cx="389800" cy="369285"/>
          </a:xfrm>
          <a:prstGeom prst="rect">
            <a:avLst/>
          </a:prstGeom>
          <a:noFill/>
        </p:spPr>
        <p:txBody>
          <a:bodyPr wrap="none" rtlCol="0">
            <a:spAutoFit/>
          </a:bodyPr>
          <a:lstStyle/>
          <a:p>
            <a:pPr defTabSz="914309"/>
            <a:r>
              <a:rPr lang="en-GB" dirty="0">
                <a:solidFill>
                  <a:prstClr val="black"/>
                </a:solidFill>
                <a:latin typeface="Calibri" panose="020F0502020204030204"/>
                <a:sym typeface="Wingdings" panose="05000000000000000000" pitchFamily="2" charset="2"/>
              </a:rPr>
              <a:t></a:t>
            </a:r>
            <a:endParaRPr lang="en-GB" dirty="0">
              <a:solidFill>
                <a:prstClr val="black"/>
              </a:solidFill>
              <a:latin typeface="Calibri" panose="020F0502020204030204"/>
            </a:endParaRPr>
          </a:p>
        </p:txBody>
      </p:sp>
      <p:sp>
        <p:nvSpPr>
          <p:cNvPr id="48" name="TextBox 47"/>
          <p:cNvSpPr txBox="1"/>
          <p:nvPr/>
        </p:nvSpPr>
        <p:spPr>
          <a:xfrm>
            <a:off x="2229408" y="4728177"/>
            <a:ext cx="1019690" cy="369285"/>
          </a:xfrm>
          <a:prstGeom prst="rect">
            <a:avLst/>
          </a:prstGeom>
          <a:noFill/>
          <a:ln>
            <a:solidFill>
              <a:sysClr val="windowText" lastClr="000000"/>
            </a:solidFill>
          </a:ln>
        </p:spPr>
        <p:txBody>
          <a:bodyPr wrap="square" rtlCol="0">
            <a:spAutoFit/>
          </a:bodyPr>
          <a:lstStyle/>
          <a:p>
            <a:pPr algn="ctr" defTabSz="914309">
              <a:defRPr/>
            </a:pPr>
            <a:r>
              <a:rPr lang="en-GB" kern="0" dirty="0">
                <a:solidFill>
                  <a:prstClr val="black"/>
                </a:solidFill>
                <a:latin typeface="Calibri" panose="020F0502020204030204"/>
              </a:rPr>
              <a:t>Internet</a:t>
            </a:r>
          </a:p>
        </p:txBody>
      </p:sp>
      <p:pic>
        <p:nvPicPr>
          <p:cNvPr id="49" name="Picture 4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48536" y="4097809"/>
            <a:ext cx="358951" cy="358024"/>
          </a:xfrm>
          <a:prstGeom prst="rect">
            <a:avLst/>
          </a:prstGeom>
        </p:spPr>
      </p:pic>
      <p:pic>
        <p:nvPicPr>
          <p:cNvPr id="50" name="Picture 4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08911" y="2953561"/>
            <a:ext cx="692119" cy="614027"/>
          </a:xfrm>
          <a:prstGeom prst="rect">
            <a:avLst/>
          </a:prstGeom>
        </p:spPr>
      </p:pic>
      <p:cxnSp>
        <p:nvCxnSpPr>
          <p:cNvPr id="51" name="Straight Arrow Connector 50"/>
          <p:cNvCxnSpPr/>
          <p:nvPr/>
        </p:nvCxnSpPr>
        <p:spPr>
          <a:xfrm flipV="1">
            <a:off x="7001030" y="2389193"/>
            <a:ext cx="1784221" cy="802810"/>
          </a:xfrm>
          <a:prstGeom prst="straightConnector1">
            <a:avLst/>
          </a:prstGeom>
          <a:noFill/>
          <a:ln w="19050" cap="flat" cmpd="sng" algn="ctr">
            <a:solidFill>
              <a:sysClr val="windowText" lastClr="000000"/>
            </a:solidFill>
            <a:prstDash val="solid"/>
            <a:miter lim="800000"/>
            <a:headEnd type="triangle" w="med" len="med"/>
            <a:tailEnd type="triangle" w="med" len="med"/>
          </a:ln>
          <a:effectLst/>
        </p:spPr>
      </p:cxnSp>
      <p:pic>
        <p:nvPicPr>
          <p:cNvPr id="52" name="Picture 5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08911" y="2953538"/>
            <a:ext cx="692119" cy="614027"/>
          </a:xfrm>
          <a:prstGeom prst="rect">
            <a:avLst/>
          </a:prstGeom>
        </p:spPr>
      </p:pic>
      <p:pic>
        <p:nvPicPr>
          <p:cNvPr id="53" name="Picture 5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718878" y="2109410"/>
            <a:ext cx="497203" cy="441103"/>
          </a:xfrm>
          <a:prstGeom prst="rect">
            <a:avLst/>
          </a:prstGeom>
        </p:spPr>
      </p:pic>
      <p:sp>
        <p:nvSpPr>
          <p:cNvPr id="54" name="TextBox 53"/>
          <p:cNvSpPr txBox="1"/>
          <p:nvPr/>
        </p:nvSpPr>
        <p:spPr>
          <a:xfrm>
            <a:off x="8591014" y="2488271"/>
            <a:ext cx="781308" cy="369285"/>
          </a:xfrm>
          <a:prstGeom prst="rect">
            <a:avLst/>
          </a:prstGeom>
          <a:noFill/>
        </p:spPr>
        <p:txBody>
          <a:bodyPr wrap="square" rtlCol="0">
            <a:spAutoFit/>
          </a:bodyPr>
          <a:lstStyle/>
          <a:p>
            <a:pPr algn="ctr" defTabSz="914309"/>
            <a:r>
              <a:rPr lang="en-GB" dirty="0">
                <a:solidFill>
                  <a:prstClr val="black"/>
                </a:solidFill>
                <a:latin typeface="Calibri" panose="020F0502020204030204"/>
              </a:rPr>
              <a:t>KDC</a:t>
            </a:r>
          </a:p>
        </p:txBody>
      </p:sp>
      <p:sp>
        <p:nvSpPr>
          <p:cNvPr id="55" name="TextBox 54"/>
          <p:cNvSpPr txBox="1"/>
          <p:nvPr/>
        </p:nvSpPr>
        <p:spPr>
          <a:xfrm>
            <a:off x="7024412" y="2626280"/>
            <a:ext cx="781308" cy="369285"/>
          </a:xfrm>
          <a:prstGeom prst="rect">
            <a:avLst/>
          </a:prstGeom>
          <a:noFill/>
        </p:spPr>
        <p:txBody>
          <a:bodyPr wrap="square" rtlCol="0">
            <a:spAutoFit/>
          </a:bodyPr>
          <a:lstStyle/>
          <a:p>
            <a:pPr algn="ctr" defTabSz="914309"/>
            <a:r>
              <a:rPr lang="en-GB" dirty="0">
                <a:solidFill>
                  <a:prstClr val="black"/>
                </a:solidFill>
                <a:latin typeface="Calibri" panose="020F0502020204030204"/>
              </a:rPr>
              <a:t>KCD</a:t>
            </a:r>
          </a:p>
        </p:txBody>
      </p:sp>
      <p:sp>
        <p:nvSpPr>
          <p:cNvPr id="56" name="TextBox 55"/>
          <p:cNvSpPr txBox="1"/>
          <p:nvPr/>
        </p:nvSpPr>
        <p:spPr>
          <a:xfrm>
            <a:off x="7422243" y="2864762"/>
            <a:ext cx="1819141" cy="523153"/>
          </a:xfrm>
          <a:prstGeom prst="rect">
            <a:avLst/>
          </a:prstGeom>
          <a:noFill/>
        </p:spPr>
        <p:txBody>
          <a:bodyPr wrap="square" rtlCol="0">
            <a:spAutoFit/>
          </a:bodyPr>
          <a:lstStyle/>
          <a:p>
            <a:pPr algn="ctr" defTabSz="914309"/>
            <a:r>
              <a:rPr lang="en-GB" sz="1400" dirty="0">
                <a:solidFill>
                  <a:prstClr val="black"/>
                </a:solidFill>
                <a:latin typeface="Calibri" panose="020F0502020204030204"/>
              </a:rPr>
              <a:t>Kerberos token injected into header</a:t>
            </a:r>
          </a:p>
        </p:txBody>
      </p:sp>
      <p:cxnSp>
        <p:nvCxnSpPr>
          <p:cNvPr id="57" name="Straight Arrow Connector 56"/>
          <p:cNvCxnSpPr/>
          <p:nvPr/>
        </p:nvCxnSpPr>
        <p:spPr>
          <a:xfrm>
            <a:off x="7066401" y="3694522"/>
            <a:ext cx="1600236" cy="0"/>
          </a:xfrm>
          <a:prstGeom prst="straightConnector1">
            <a:avLst/>
          </a:prstGeom>
          <a:noFill/>
          <a:ln w="19050" cap="flat" cmpd="sng" algn="ctr">
            <a:solidFill>
              <a:sysClr val="windowText" lastClr="000000"/>
            </a:solidFill>
            <a:prstDash val="solid"/>
            <a:miter lim="800000"/>
            <a:headEnd type="none" w="med" len="med"/>
            <a:tailEnd type="triangle" w="med" len="med"/>
          </a:ln>
          <a:effectLst/>
        </p:spPr>
      </p:cxnSp>
      <p:sp>
        <p:nvSpPr>
          <p:cNvPr id="58" name="Folded Corner 57"/>
          <p:cNvSpPr/>
          <p:nvPr/>
        </p:nvSpPr>
        <p:spPr>
          <a:xfrm rot="10800000">
            <a:off x="7584274" y="3484152"/>
            <a:ext cx="258368" cy="298451"/>
          </a:xfrm>
          <a:prstGeom prst="foldedCorner">
            <a:avLst>
              <a:gd name="adj" fmla="val 47231"/>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914309">
              <a:defRPr/>
            </a:pPr>
            <a:endParaRPr lang="en-GB" kern="0">
              <a:solidFill>
                <a:prstClr val="white"/>
              </a:solidFill>
              <a:latin typeface="Calibri" panose="020F0502020204030204"/>
            </a:endParaRPr>
          </a:p>
        </p:txBody>
      </p:sp>
      <p:cxnSp>
        <p:nvCxnSpPr>
          <p:cNvPr id="59" name="Curved Connector 58"/>
          <p:cNvCxnSpPr>
            <a:stCxn id="50" idx="3"/>
            <a:endCxn id="58" idx="2"/>
          </p:cNvCxnSpPr>
          <p:nvPr/>
        </p:nvCxnSpPr>
        <p:spPr>
          <a:xfrm>
            <a:off x="7001030" y="3260574"/>
            <a:ext cx="712427" cy="223577"/>
          </a:xfrm>
          <a:prstGeom prst="curvedConnector2">
            <a:avLst/>
          </a:prstGeom>
          <a:noFill/>
          <a:ln w="19050" cap="flat" cmpd="sng" algn="ctr">
            <a:solidFill>
              <a:sysClr val="windowText" lastClr="000000"/>
            </a:solidFill>
            <a:prstDash val="solid"/>
            <a:miter lim="800000"/>
            <a:tailEnd type="triangle"/>
          </a:ln>
          <a:effectLst/>
        </p:spPr>
      </p:cxnSp>
      <p:sp>
        <p:nvSpPr>
          <p:cNvPr id="60" name="TextBox 59"/>
          <p:cNvSpPr txBox="1"/>
          <p:nvPr/>
        </p:nvSpPr>
        <p:spPr>
          <a:xfrm>
            <a:off x="8456560" y="3815215"/>
            <a:ext cx="389800" cy="369285"/>
          </a:xfrm>
          <a:prstGeom prst="rect">
            <a:avLst/>
          </a:prstGeom>
          <a:noFill/>
        </p:spPr>
        <p:txBody>
          <a:bodyPr wrap="none" rtlCol="0">
            <a:spAutoFit/>
          </a:bodyPr>
          <a:lstStyle/>
          <a:p>
            <a:pPr defTabSz="914309"/>
            <a:r>
              <a:rPr lang="en-GB" dirty="0">
                <a:solidFill>
                  <a:prstClr val="black"/>
                </a:solidFill>
                <a:latin typeface="Calibri" panose="020F0502020204030204"/>
                <a:sym typeface="Wingdings" panose="05000000000000000000" pitchFamily="2" charset="2"/>
              </a:rPr>
              <a:t></a:t>
            </a:r>
            <a:endParaRPr lang="en-GB" dirty="0">
              <a:solidFill>
                <a:prstClr val="black"/>
              </a:solidFill>
              <a:latin typeface="Calibri" panose="020F0502020204030204"/>
            </a:endParaRPr>
          </a:p>
        </p:txBody>
      </p:sp>
      <p:sp>
        <p:nvSpPr>
          <p:cNvPr id="61" name="TextBox 60"/>
          <p:cNvSpPr txBox="1"/>
          <p:nvPr/>
        </p:nvSpPr>
        <p:spPr>
          <a:xfrm>
            <a:off x="6333406" y="1923672"/>
            <a:ext cx="1819141" cy="369285"/>
          </a:xfrm>
          <a:prstGeom prst="rect">
            <a:avLst/>
          </a:prstGeom>
          <a:noFill/>
        </p:spPr>
        <p:txBody>
          <a:bodyPr wrap="square" rtlCol="0">
            <a:spAutoFit/>
          </a:bodyPr>
          <a:lstStyle/>
          <a:p>
            <a:pPr algn="ctr" defTabSz="914309"/>
            <a:r>
              <a:rPr lang="en-GB" dirty="0">
                <a:solidFill>
                  <a:prstClr val="black"/>
                </a:solidFill>
                <a:latin typeface="Calibri" panose="020F0502020204030204"/>
              </a:rPr>
              <a:t>Possible sync</a:t>
            </a:r>
          </a:p>
        </p:txBody>
      </p:sp>
      <p:sp>
        <p:nvSpPr>
          <p:cNvPr id="62" name="Rectangle 61"/>
          <p:cNvSpPr/>
          <p:nvPr/>
        </p:nvSpPr>
        <p:spPr>
          <a:xfrm>
            <a:off x="3569966" y="1472830"/>
            <a:ext cx="2186743" cy="3624631"/>
          </a:xfrm>
          <a:prstGeom prst="rect">
            <a:avLst/>
          </a:prstGeom>
          <a:noFill/>
          <a:ln w="12700" cap="flat" cmpd="sng" algn="ctr">
            <a:solidFill>
              <a:sysClr val="windowText" lastClr="000000"/>
            </a:solidFill>
            <a:prstDash val="solid"/>
            <a:miter lim="800000"/>
          </a:ln>
          <a:effectLst/>
        </p:spPr>
        <p:txBody>
          <a:bodyPr rtlCol="0" anchor="ctr"/>
          <a:lstStyle/>
          <a:p>
            <a:pPr algn="ctr" defTabSz="914309">
              <a:defRPr/>
            </a:pPr>
            <a:endParaRPr lang="en-GB" kern="0">
              <a:solidFill>
                <a:prstClr val="white"/>
              </a:solidFill>
              <a:latin typeface="Calibri" panose="020F0502020204030204"/>
            </a:endParaRPr>
          </a:p>
        </p:txBody>
      </p:sp>
      <p:cxnSp>
        <p:nvCxnSpPr>
          <p:cNvPr id="64" name="Straight Connector 63"/>
          <p:cNvCxnSpPr/>
          <p:nvPr/>
        </p:nvCxnSpPr>
        <p:spPr>
          <a:xfrm flipH="1">
            <a:off x="3568085" y="2045582"/>
            <a:ext cx="590655" cy="0"/>
          </a:xfrm>
          <a:prstGeom prst="line">
            <a:avLst/>
          </a:prstGeom>
          <a:noFill/>
          <a:ln w="38100" cap="rnd" cmpd="sng" algn="ctr">
            <a:solidFill>
              <a:sysClr val="windowText" lastClr="000000"/>
            </a:solidFill>
            <a:prstDash val="solid"/>
            <a:miter lim="800000"/>
            <a:tailEnd type="oval"/>
          </a:ln>
          <a:effectLst/>
        </p:spPr>
      </p:cxnSp>
      <p:cxnSp>
        <p:nvCxnSpPr>
          <p:cNvPr id="65" name="Straight Connector 64"/>
          <p:cNvCxnSpPr/>
          <p:nvPr/>
        </p:nvCxnSpPr>
        <p:spPr>
          <a:xfrm flipH="1">
            <a:off x="3569967" y="3878064"/>
            <a:ext cx="379228" cy="0"/>
          </a:xfrm>
          <a:prstGeom prst="line">
            <a:avLst/>
          </a:prstGeom>
          <a:noFill/>
          <a:ln w="38100" cap="rnd" cmpd="sng" algn="ctr">
            <a:solidFill>
              <a:sysClr val="windowText" lastClr="000000"/>
            </a:solidFill>
            <a:prstDash val="solid"/>
            <a:miter lim="800000"/>
            <a:tailEnd type="oval"/>
          </a:ln>
          <a:effectLst/>
        </p:spPr>
      </p:cxnSp>
      <p:sp>
        <p:nvSpPr>
          <p:cNvPr id="66" name="Rectangle 65"/>
          <p:cNvSpPr/>
          <p:nvPr/>
        </p:nvSpPr>
        <p:spPr>
          <a:xfrm>
            <a:off x="5009852" y="3502192"/>
            <a:ext cx="239999" cy="157660"/>
          </a:xfrm>
          <a:prstGeom prst="rect">
            <a:avLst/>
          </a:prstGeom>
          <a:noFill/>
          <a:ln w="12700" cap="flat" cmpd="sng" algn="ctr">
            <a:noFill/>
            <a:prstDash val="solid"/>
            <a:miter lim="800000"/>
          </a:ln>
          <a:effectLst/>
        </p:spPr>
        <p:txBody>
          <a:bodyPr rtlCol="0" anchor="ctr"/>
          <a:lstStyle/>
          <a:p>
            <a:pPr algn="ctr" defTabSz="914309">
              <a:defRPr/>
            </a:pPr>
            <a:endParaRPr lang="en-GB" kern="0">
              <a:solidFill>
                <a:prstClr val="black"/>
              </a:solidFill>
              <a:latin typeface="Calibri" panose="020F0502020204030204"/>
            </a:endParaRPr>
          </a:p>
        </p:txBody>
      </p:sp>
      <p:sp>
        <p:nvSpPr>
          <p:cNvPr id="67" name="TextBox 66"/>
          <p:cNvSpPr txBox="1"/>
          <p:nvPr/>
        </p:nvSpPr>
        <p:spPr>
          <a:xfrm>
            <a:off x="4717748" y="1452131"/>
            <a:ext cx="1094838" cy="369285"/>
          </a:xfrm>
          <a:prstGeom prst="rect">
            <a:avLst/>
          </a:prstGeom>
          <a:noFill/>
        </p:spPr>
        <p:txBody>
          <a:bodyPr wrap="square" rtlCol="0">
            <a:spAutoFit/>
          </a:bodyPr>
          <a:lstStyle/>
          <a:p>
            <a:pPr algn="ctr" defTabSz="914309"/>
            <a:r>
              <a:rPr lang="en-GB" dirty="0">
                <a:solidFill>
                  <a:prstClr val="black"/>
                </a:solidFill>
                <a:latin typeface="Calibri" panose="020F0502020204030204"/>
              </a:rPr>
              <a:t>Azure AD</a:t>
            </a:r>
          </a:p>
        </p:txBody>
      </p:sp>
      <p:sp>
        <p:nvSpPr>
          <p:cNvPr id="68" name="TextBox 67"/>
          <p:cNvSpPr txBox="1"/>
          <p:nvPr/>
        </p:nvSpPr>
        <p:spPr>
          <a:xfrm>
            <a:off x="4163463" y="4728177"/>
            <a:ext cx="959139" cy="369285"/>
          </a:xfrm>
          <a:prstGeom prst="rect">
            <a:avLst/>
          </a:prstGeom>
          <a:noFill/>
          <a:ln>
            <a:solidFill>
              <a:sysClr val="windowText" lastClr="000000"/>
            </a:solidFill>
          </a:ln>
        </p:spPr>
        <p:txBody>
          <a:bodyPr wrap="square" rtlCol="0">
            <a:spAutoFit/>
          </a:bodyPr>
          <a:lstStyle/>
          <a:p>
            <a:pPr algn="ctr" defTabSz="914309">
              <a:defRPr/>
            </a:pPr>
            <a:r>
              <a:rPr lang="en-GB" kern="0" dirty="0">
                <a:solidFill>
                  <a:prstClr val="black"/>
                </a:solidFill>
                <a:latin typeface="Calibri" panose="020F0502020204030204"/>
              </a:rPr>
              <a:t>Azure</a:t>
            </a:r>
          </a:p>
        </p:txBody>
      </p:sp>
      <p:pic>
        <p:nvPicPr>
          <p:cNvPr id="69" name="Picture 6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22169" y="1488799"/>
            <a:ext cx="1008926" cy="1016042"/>
          </a:xfrm>
          <a:prstGeom prst="rect">
            <a:avLst/>
          </a:prstGeom>
        </p:spPr>
      </p:pic>
      <p:sp>
        <p:nvSpPr>
          <p:cNvPr id="70" name="Rectangle 69"/>
          <p:cNvSpPr/>
          <p:nvPr/>
        </p:nvSpPr>
        <p:spPr>
          <a:xfrm>
            <a:off x="3949195" y="3212304"/>
            <a:ext cx="1291307" cy="1161875"/>
          </a:xfrm>
          <a:prstGeom prst="rect">
            <a:avLst/>
          </a:prstGeom>
          <a:noFill/>
          <a:ln w="12700" cap="flat" cmpd="sng" algn="ctr">
            <a:solidFill>
              <a:srgbClr val="5B9BD5"/>
            </a:solidFill>
            <a:prstDash val="solid"/>
            <a:miter lim="800000"/>
          </a:ln>
          <a:effectLst/>
        </p:spPr>
        <p:txBody>
          <a:bodyPr rtlCol="0" anchor="ctr"/>
          <a:lstStyle/>
          <a:p>
            <a:pPr algn="ctr" defTabSz="914309">
              <a:defRPr/>
            </a:pPr>
            <a:br>
              <a:rPr lang="en-GB" kern="0" dirty="0">
                <a:solidFill>
                  <a:prstClr val="black"/>
                </a:solidFill>
                <a:latin typeface="Calibri" panose="020F0502020204030204"/>
              </a:rPr>
            </a:br>
            <a:r>
              <a:rPr lang="en-GB" kern="0" dirty="0">
                <a:solidFill>
                  <a:prstClr val="black"/>
                </a:solidFill>
                <a:latin typeface="Calibri" panose="020F0502020204030204"/>
              </a:rPr>
              <a:t>Published:</a:t>
            </a:r>
          </a:p>
          <a:p>
            <a:pPr algn="ctr" defTabSz="914309">
              <a:defRPr/>
            </a:pPr>
            <a:r>
              <a:rPr lang="en-GB" kern="0" dirty="0">
                <a:solidFill>
                  <a:prstClr val="black"/>
                </a:solidFill>
                <a:latin typeface="Calibri" panose="020F0502020204030204"/>
              </a:rPr>
              <a:t>app1 with </a:t>
            </a:r>
            <a:r>
              <a:rPr lang="en-GB" kern="0" dirty="0" err="1">
                <a:solidFill>
                  <a:prstClr val="black"/>
                </a:solidFill>
                <a:latin typeface="Calibri" panose="020F0502020204030204"/>
              </a:rPr>
              <a:t>preauth</a:t>
            </a:r>
            <a:r>
              <a:rPr lang="en-GB" kern="0" dirty="0">
                <a:solidFill>
                  <a:prstClr val="black"/>
                </a:solidFill>
                <a:latin typeface="Calibri" panose="020F0502020204030204"/>
              </a:rPr>
              <a:t> </a:t>
            </a:r>
          </a:p>
        </p:txBody>
      </p:sp>
      <p:sp>
        <p:nvSpPr>
          <p:cNvPr id="73" name="Rectangle 72"/>
          <p:cNvSpPr/>
          <p:nvPr/>
        </p:nvSpPr>
        <p:spPr>
          <a:xfrm rot="19307826">
            <a:off x="4653217" y="2188036"/>
            <a:ext cx="401886" cy="65999"/>
          </a:xfrm>
          <a:prstGeom prst="rect">
            <a:avLst/>
          </a:prstGeom>
          <a:noFill/>
          <a:ln w="12700" cap="flat" cmpd="sng" algn="ctr">
            <a:noFill/>
            <a:prstDash val="solid"/>
            <a:miter lim="800000"/>
          </a:ln>
          <a:effectLst/>
        </p:spPr>
        <p:txBody>
          <a:bodyPr rtlCol="0" anchor="ctr"/>
          <a:lstStyle/>
          <a:p>
            <a:pPr algn="ctr" defTabSz="914309">
              <a:defRPr/>
            </a:pPr>
            <a:endParaRPr lang="en-GB" kern="0">
              <a:solidFill>
                <a:prstClr val="white"/>
              </a:solidFill>
              <a:latin typeface="Calibri" panose="020F0502020204030204"/>
            </a:endParaRPr>
          </a:p>
        </p:txBody>
      </p:sp>
      <p:sp>
        <p:nvSpPr>
          <p:cNvPr id="75" name="Left Arrow 74"/>
          <p:cNvSpPr/>
          <p:nvPr/>
        </p:nvSpPr>
        <p:spPr>
          <a:xfrm>
            <a:off x="5307730" y="1783204"/>
            <a:ext cx="3510329" cy="259477"/>
          </a:xfrm>
          <a:prstGeom prst="leftArrow">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309">
              <a:defRPr/>
            </a:pPr>
            <a:endParaRPr lang="en-GB" kern="0">
              <a:solidFill>
                <a:prstClr val="white"/>
              </a:solidFill>
              <a:latin typeface="Calibri" panose="020F0502020204030204"/>
            </a:endParaRPr>
          </a:p>
        </p:txBody>
      </p:sp>
      <p:cxnSp>
        <p:nvCxnSpPr>
          <p:cNvPr id="77" name="Curved Connector 76"/>
          <p:cNvCxnSpPr/>
          <p:nvPr/>
        </p:nvCxnSpPr>
        <p:spPr>
          <a:xfrm rot="16200000" flipV="1">
            <a:off x="4522353" y="2612904"/>
            <a:ext cx="244669" cy="1"/>
          </a:xfrm>
          <a:prstGeom prst="curvedConnector3">
            <a:avLst>
              <a:gd name="adj1" fmla="val 50000"/>
            </a:avLst>
          </a:prstGeom>
          <a:noFill/>
          <a:ln w="19050" cap="flat" cmpd="sng" algn="ctr">
            <a:solidFill>
              <a:sysClr val="windowText" lastClr="000000"/>
            </a:solidFill>
            <a:prstDash val="solid"/>
            <a:miter lim="800000"/>
            <a:tailEnd type="triangle"/>
          </a:ln>
          <a:effectLst/>
        </p:spPr>
      </p:cxnSp>
      <p:sp>
        <p:nvSpPr>
          <p:cNvPr id="78" name="Rectangle 77"/>
          <p:cNvSpPr/>
          <p:nvPr/>
        </p:nvSpPr>
        <p:spPr>
          <a:xfrm>
            <a:off x="5037737" y="3506773"/>
            <a:ext cx="239999" cy="157660"/>
          </a:xfrm>
          <a:prstGeom prst="rect">
            <a:avLst/>
          </a:prstGeom>
          <a:noFill/>
          <a:ln w="12700" cap="flat" cmpd="sng" algn="ctr">
            <a:noFill/>
            <a:prstDash val="solid"/>
            <a:miter lim="800000"/>
          </a:ln>
          <a:effectLst/>
        </p:spPr>
        <p:txBody>
          <a:bodyPr rtlCol="0" anchor="ctr"/>
          <a:lstStyle/>
          <a:p>
            <a:pPr algn="ctr" defTabSz="914309">
              <a:defRPr/>
            </a:pPr>
            <a:endParaRPr lang="en-GB" kern="0">
              <a:solidFill>
                <a:prstClr val="black"/>
              </a:solidFill>
              <a:latin typeface="Calibri" panose="020F0502020204030204"/>
            </a:endParaRPr>
          </a:p>
        </p:txBody>
      </p:sp>
      <p:sp>
        <p:nvSpPr>
          <p:cNvPr id="79" name="TextBox 78"/>
          <p:cNvSpPr txBox="1"/>
          <p:nvPr/>
        </p:nvSpPr>
        <p:spPr>
          <a:xfrm>
            <a:off x="3629375" y="2437404"/>
            <a:ext cx="1094838" cy="261577"/>
          </a:xfrm>
          <a:prstGeom prst="rect">
            <a:avLst/>
          </a:prstGeom>
          <a:noFill/>
        </p:spPr>
        <p:txBody>
          <a:bodyPr wrap="square" rtlCol="0">
            <a:spAutoFit/>
          </a:bodyPr>
          <a:lstStyle/>
          <a:p>
            <a:pPr algn="ctr" defTabSz="914309"/>
            <a:r>
              <a:rPr lang="en-GB" sz="1100" dirty="0">
                <a:solidFill>
                  <a:prstClr val="black"/>
                </a:solidFill>
                <a:latin typeface="Calibri" panose="020F0502020204030204"/>
              </a:rPr>
              <a:t>Authentication</a:t>
            </a:r>
          </a:p>
        </p:txBody>
      </p:sp>
      <p:grpSp>
        <p:nvGrpSpPr>
          <p:cNvPr id="80" name="Group 79"/>
          <p:cNvGrpSpPr/>
          <p:nvPr/>
        </p:nvGrpSpPr>
        <p:grpSpPr>
          <a:xfrm>
            <a:off x="3623340" y="2640635"/>
            <a:ext cx="2030186" cy="970051"/>
            <a:chOff x="3534499" y="1275042"/>
            <a:chExt cx="2030445" cy="970175"/>
          </a:xfrm>
        </p:grpSpPr>
        <p:pic>
          <p:nvPicPr>
            <p:cNvPr id="81" name="Picture 80"/>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534499" y="1275042"/>
              <a:ext cx="2013032" cy="970175"/>
            </a:xfrm>
            <a:prstGeom prst="rect">
              <a:avLst/>
            </a:prstGeom>
          </p:spPr>
        </p:pic>
        <p:sp>
          <p:nvSpPr>
            <p:cNvPr id="82" name="TextBox 81"/>
            <p:cNvSpPr txBox="1"/>
            <p:nvPr/>
          </p:nvSpPr>
          <p:spPr>
            <a:xfrm>
              <a:off x="3581890" y="1358697"/>
              <a:ext cx="1983054" cy="830997"/>
            </a:xfrm>
            <a:prstGeom prst="rect">
              <a:avLst/>
            </a:prstGeom>
            <a:noFill/>
          </p:spPr>
          <p:txBody>
            <a:bodyPr wrap="square" rtlCol="0">
              <a:spAutoFit/>
            </a:bodyPr>
            <a:lstStyle/>
            <a:p>
              <a:pPr algn="ctr" defTabSz="914309"/>
              <a:r>
                <a:rPr lang="en-GB" sz="1600" dirty="0">
                  <a:solidFill>
                    <a:prstClr val="white"/>
                  </a:solidFill>
                  <a:latin typeface="Calibri" panose="020F0502020204030204"/>
                </a:rPr>
                <a:t>Azure AD </a:t>
              </a:r>
              <a:br>
                <a:rPr lang="en-GB" sz="1600" dirty="0">
                  <a:solidFill>
                    <a:prstClr val="white"/>
                  </a:solidFill>
                  <a:latin typeface="Calibri" panose="020F0502020204030204"/>
                </a:rPr>
              </a:br>
              <a:r>
                <a:rPr lang="en-GB" sz="1600" dirty="0">
                  <a:solidFill>
                    <a:prstClr val="white"/>
                  </a:solidFill>
                  <a:latin typeface="Calibri" panose="020F0502020204030204"/>
                </a:rPr>
                <a:t>Application</a:t>
              </a:r>
              <a:br>
                <a:rPr lang="en-GB" sz="1600" dirty="0">
                  <a:solidFill>
                    <a:prstClr val="white"/>
                  </a:solidFill>
                  <a:latin typeface="Calibri" panose="020F0502020204030204"/>
                </a:rPr>
              </a:br>
              <a:r>
                <a:rPr lang="en-GB" sz="1600" dirty="0">
                  <a:solidFill>
                    <a:prstClr val="white"/>
                  </a:solidFill>
                  <a:latin typeface="Calibri" panose="020F0502020204030204"/>
                </a:rPr>
                <a:t>Proxy</a:t>
              </a:r>
            </a:p>
          </p:txBody>
        </p:sp>
      </p:grpSp>
      <p:sp>
        <p:nvSpPr>
          <p:cNvPr id="9" name="TextBox 8"/>
          <p:cNvSpPr txBox="1"/>
          <p:nvPr/>
        </p:nvSpPr>
        <p:spPr>
          <a:xfrm>
            <a:off x="5849147" y="4116087"/>
            <a:ext cx="1819141" cy="923212"/>
          </a:xfrm>
          <a:prstGeom prst="rect">
            <a:avLst/>
          </a:prstGeom>
          <a:solidFill>
            <a:schemeClr val="bg1"/>
          </a:solidFill>
        </p:spPr>
        <p:txBody>
          <a:bodyPr wrap="square" rtlCol="0">
            <a:spAutoFit/>
          </a:bodyPr>
          <a:lstStyle/>
          <a:p>
            <a:pPr algn="ctr" defTabSz="914309"/>
            <a:r>
              <a:rPr lang="en-GB" dirty="0">
                <a:solidFill>
                  <a:prstClr val="black"/>
                </a:solidFill>
                <a:latin typeface="Calibri" panose="020F0502020204030204"/>
              </a:rPr>
              <a:t>Azure AD</a:t>
            </a:r>
            <a:br>
              <a:rPr lang="en-GB" dirty="0">
                <a:solidFill>
                  <a:prstClr val="black"/>
                </a:solidFill>
                <a:latin typeface="Calibri" panose="020F0502020204030204"/>
              </a:rPr>
            </a:br>
            <a:r>
              <a:rPr lang="en-GB" dirty="0">
                <a:solidFill>
                  <a:prstClr val="black"/>
                </a:solidFill>
                <a:latin typeface="Calibri" panose="020F0502020204030204"/>
              </a:rPr>
              <a:t>Application Proxy</a:t>
            </a:r>
            <a:br>
              <a:rPr lang="en-GB" dirty="0">
                <a:solidFill>
                  <a:prstClr val="black"/>
                </a:solidFill>
                <a:latin typeface="Calibri" panose="020F0502020204030204"/>
              </a:rPr>
            </a:br>
            <a:r>
              <a:rPr lang="en-GB" dirty="0">
                <a:solidFill>
                  <a:prstClr val="black"/>
                </a:solidFill>
                <a:latin typeface="Calibri" panose="020F0502020204030204"/>
              </a:rPr>
              <a:t>Connector</a:t>
            </a:r>
          </a:p>
        </p:txBody>
      </p:sp>
      <p:sp>
        <p:nvSpPr>
          <p:cNvPr id="83" name="Text Placeholder 1"/>
          <p:cNvSpPr txBox="1">
            <a:spLocks/>
          </p:cNvSpPr>
          <p:nvPr/>
        </p:nvSpPr>
        <p:spPr>
          <a:xfrm>
            <a:off x="137301" y="5688798"/>
            <a:ext cx="12160285" cy="683264"/>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GB" dirty="0">
                <a:solidFill>
                  <a:schemeClr val="tx2"/>
                </a:solidFill>
              </a:rPr>
              <a:t>The computer running the connector must be domain joined</a:t>
            </a:r>
          </a:p>
        </p:txBody>
      </p:sp>
    </p:spTree>
    <p:extLst>
      <p:ext uri="{BB962C8B-B14F-4D97-AF65-F5344CB8AC3E}">
        <p14:creationId xmlns:p14="http://schemas.microsoft.com/office/powerpoint/2010/main" val="2636946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fade">
                                      <p:cBhvr>
                                        <p:cTn id="13" dur="500"/>
                                        <p:tgtEl>
                                          <p:spTgt spid="5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fade">
                                      <p:cBhvr>
                                        <p:cTn id="16" dur="500"/>
                                        <p:tgtEl>
                                          <p:spTgt spid="5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fade">
                                      <p:cBhvr>
                                        <p:cTn id="21" dur="500"/>
                                        <p:tgtEl>
                                          <p:spTgt spid="5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8"/>
                                        </p:tgtEl>
                                        <p:attrNameLst>
                                          <p:attrName>style.visibility</p:attrName>
                                        </p:attrNameLst>
                                      </p:cBhvr>
                                      <p:to>
                                        <p:strVal val="visible"/>
                                      </p:to>
                                    </p:set>
                                    <p:animEffect transition="in" filter="fade">
                                      <p:cBhvr>
                                        <p:cTn id="24" dur="500"/>
                                        <p:tgtEl>
                                          <p:spTgt spid="58"/>
                                        </p:tgtEl>
                                      </p:cBhvr>
                                    </p:animEffect>
                                  </p:childTnLst>
                                </p:cTn>
                              </p:par>
                              <p:par>
                                <p:cTn id="25" presetID="10" presetClass="entr" presetSubtype="0" fill="hold" nodeType="with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fade">
                                      <p:cBhvr>
                                        <p:cTn id="27" dur="500"/>
                                        <p:tgtEl>
                                          <p:spTgt spid="5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6"/>
                                        </p:tgtEl>
                                        <p:attrNameLst>
                                          <p:attrName>style.visibility</p:attrName>
                                        </p:attrNameLst>
                                      </p:cBhvr>
                                      <p:to>
                                        <p:strVal val="visible"/>
                                      </p:to>
                                    </p:set>
                                    <p:animEffect transition="in" filter="fade">
                                      <p:cBhvr>
                                        <p:cTn id="30" dur="500"/>
                                        <p:tgtEl>
                                          <p:spTgt spid="5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83">
                                            <p:txEl>
                                              <p:pRg st="0" end="0"/>
                                            </p:txEl>
                                          </p:spTgt>
                                        </p:tgtEl>
                                        <p:attrNameLst>
                                          <p:attrName>style.visibility</p:attrName>
                                        </p:attrNameLst>
                                      </p:cBhvr>
                                      <p:to>
                                        <p:strVal val="visible"/>
                                      </p:to>
                                    </p:set>
                                    <p:animEffect transition="in" filter="fade">
                                      <p:cBhvr>
                                        <p:cTn id="35" dur="500"/>
                                        <p:tgtEl>
                                          <p:spTgt spid="8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p:bldP spid="56" grpId="0"/>
      <p:bldP spid="58" grpId="0" animBg="1"/>
      <p:bldP spid="83" grpId="0" build="p"/>
    </p:bld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bwMode="auto">
          <a:xfrm>
            <a:off x="97545" y="1428792"/>
            <a:ext cx="7271880" cy="3733732"/>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GB" dirty="0"/>
              <a:t>Enabling KCD</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09387" y="1799306"/>
            <a:ext cx="6014838" cy="1245216"/>
          </a:xfrm>
          <a:prstGeom prst="rect">
            <a:avLst/>
          </a:prstGeom>
        </p:spPr>
      </p:pic>
      <p:sp>
        <p:nvSpPr>
          <p:cNvPr id="6" name="TextBox 5"/>
          <p:cNvSpPr txBox="1"/>
          <p:nvPr/>
        </p:nvSpPr>
        <p:spPr>
          <a:xfrm>
            <a:off x="2764517" y="4495071"/>
            <a:ext cx="1904579" cy="600126"/>
          </a:xfrm>
          <a:prstGeom prst="rect">
            <a:avLst/>
          </a:prstGeom>
          <a:noFill/>
        </p:spPr>
        <p:txBody>
          <a:bodyPr wrap="none" lIns="182857" tIns="146285" rIns="182857" bIns="146285" rtlCol="0">
            <a:spAutoFit/>
          </a:bodyPr>
          <a:lstStyle/>
          <a:p>
            <a:pPr algn="ctr">
              <a:lnSpc>
                <a:spcPct val="90000"/>
              </a:lnSpc>
              <a:spcAft>
                <a:spcPts val="600"/>
              </a:spcAft>
            </a:pPr>
            <a:r>
              <a:rPr lang="en-GB" sz="2200" dirty="0">
                <a:gradFill>
                  <a:gsLst>
                    <a:gs pos="2917">
                      <a:schemeClr val="tx1"/>
                    </a:gs>
                    <a:gs pos="30000">
                      <a:schemeClr val="tx1"/>
                    </a:gs>
                  </a:gsLst>
                  <a:lin ang="5400000" scaled="0"/>
                </a:gradFill>
              </a:rPr>
              <a:t>Azure portal</a:t>
            </a:r>
          </a:p>
        </p:txBody>
      </p:sp>
      <p:pic>
        <p:nvPicPr>
          <p:cNvPr id="9" name="Pictur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4604" y="3331143"/>
            <a:ext cx="6884405" cy="1163928"/>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820165" y="295683"/>
            <a:ext cx="3860884" cy="4325808"/>
          </a:xfrm>
          <a:prstGeom prst="rect">
            <a:avLst/>
          </a:prstGeom>
        </p:spPr>
      </p:pic>
      <p:sp>
        <p:nvSpPr>
          <p:cNvPr id="15" name="Text Placeholder 1"/>
          <p:cNvSpPr>
            <a:spLocks noGrp="1"/>
          </p:cNvSpPr>
          <p:nvPr>
            <p:ph type="body" sz="quarter" idx="10"/>
          </p:nvPr>
        </p:nvSpPr>
        <p:spPr>
          <a:xfrm>
            <a:off x="1" y="5478886"/>
            <a:ext cx="12434888" cy="1181862"/>
          </a:xfrm>
        </p:spPr>
        <p:txBody>
          <a:bodyPr/>
          <a:lstStyle/>
          <a:p>
            <a:pPr marL="0" indent="0">
              <a:buNone/>
            </a:pPr>
            <a:r>
              <a:rPr lang="en-GB" dirty="0"/>
              <a:t>Before you start, always check you can access the                   application from the intranet using </a:t>
            </a:r>
            <a:r>
              <a:rPr lang="en-GB" dirty="0">
                <a:solidFill>
                  <a:srgbClr val="0078D7"/>
                </a:solidFill>
              </a:rPr>
              <a:t>Kerberos</a:t>
            </a:r>
          </a:p>
        </p:txBody>
      </p:sp>
      <p:sp>
        <p:nvSpPr>
          <p:cNvPr id="12" name="TextBox 11"/>
          <p:cNvSpPr txBox="1"/>
          <p:nvPr/>
        </p:nvSpPr>
        <p:spPr>
          <a:xfrm>
            <a:off x="7685653" y="4574061"/>
            <a:ext cx="4560253" cy="904825"/>
          </a:xfrm>
          <a:prstGeom prst="rect">
            <a:avLst/>
          </a:prstGeom>
          <a:noFill/>
        </p:spPr>
        <p:txBody>
          <a:bodyPr wrap="square" lIns="182857" tIns="146285" rIns="182857" bIns="146285" rtlCol="0">
            <a:spAutoFit/>
          </a:bodyPr>
          <a:lstStyle/>
          <a:p>
            <a:pPr>
              <a:lnSpc>
                <a:spcPct val="90000"/>
              </a:lnSpc>
              <a:spcAft>
                <a:spcPts val="600"/>
              </a:spcAft>
            </a:pPr>
            <a:r>
              <a:rPr lang="en-GB" sz="2200" dirty="0">
                <a:gradFill>
                  <a:gsLst>
                    <a:gs pos="2917">
                      <a:schemeClr val="tx1"/>
                    </a:gs>
                    <a:gs pos="30000">
                      <a:schemeClr val="tx1"/>
                    </a:gs>
                  </a:gsLst>
                  <a:lin ang="5400000" scaled="0"/>
                </a:gradFill>
              </a:rPr>
              <a:t>On-premises AD computer account running the connector</a:t>
            </a:r>
          </a:p>
        </p:txBody>
      </p:sp>
    </p:spTree>
    <p:extLst>
      <p:ext uri="{BB962C8B-B14F-4D97-AF65-F5344CB8AC3E}">
        <p14:creationId xmlns:p14="http://schemas.microsoft.com/office/powerpoint/2010/main" val="7448840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
                                            <p:txEl>
                                              <p:pRg st="0" end="0"/>
                                            </p:txEl>
                                          </p:spTgt>
                                        </p:tgtEl>
                                        <p:attrNameLst>
                                          <p:attrName>style.visibility</p:attrName>
                                        </p:attrNameLst>
                                      </p:cBhvr>
                                      <p:to>
                                        <p:strVal val="visible"/>
                                      </p:to>
                                    </p:set>
                                    <p:animEffect transition="in" filter="fade">
                                      <p:cBhvr>
                                        <p:cTn id="26" dur="500"/>
                                        <p:tgtEl>
                                          <p:spTgt spid="15">
                                            <p:txEl>
                                              <p:pRg st="0" end="0"/>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6" grpId="0"/>
      <p:bldP spid="15" grpId="0" build="p"/>
      <p:bldP spid="12" grpId="0"/>
    </p:bld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66168" y="1212850"/>
            <a:ext cx="11702552" cy="3927229"/>
          </a:xfrm>
        </p:spPr>
        <p:txBody>
          <a:bodyPr/>
          <a:lstStyle/>
          <a:p>
            <a:pPr lvl="1"/>
            <a:r>
              <a:rPr lang="en-US" dirty="0">
                <a:latin typeface="+mj-lt"/>
              </a:rPr>
              <a:t>These may be used in conjunction with a more specific conversation with application development teams or those integrated in more details of application integration</a:t>
            </a:r>
          </a:p>
          <a:p>
            <a:pPr lvl="1"/>
            <a:r>
              <a:rPr lang="en-US" dirty="0">
                <a:latin typeface="+mj-lt"/>
              </a:rPr>
              <a:t>There will generally not be enough time in a regular SAW to go through these unless needed.</a:t>
            </a:r>
          </a:p>
          <a:p>
            <a:pPr lvl="1"/>
            <a:r>
              <a:rPr lang="en-US" dirty="0">
                <a:latin typeface="+mj-lt"/>
              </a:rPr>
              <a:t>As with most things, a demonstration walking through a demo of </a:t>
            </a:r>
            <a:r>
              <a:rPr lang="en-US" dirty="0">
                <a:latin typeface="+mj-lt"/>
                <a:hlinkClick r:id="rId3"/>
              </a:rPr>
              <a:t>http://myapps.microsoft.com</a:t>
            </a:r>
            <a:r>
              <a:rPr lang="en-US" dirty="0">
                <a:latin typeface="+mj-lt"/>
              </a:rPr>
              <a:t> may suffice along with walking through the application gallery.</a:t>
            </a:r>
          </a:p>
        </p:txBody>
      </p:sp>
      <p:sp>
        <p:nvSpPr>
          <p:cNvPr id="6" name="Text Placeholder 5"/>
          <p:cNvSpPr>
            <a:spLocks noGrp="1"/>
          </p:cNvSpPr>
          <p:nvPr>
            <p:ph type="body" sz="quarter" idx="11"/>
          </p:nvPr>
        </p:nvSpPr>
        <p:spPr/>
        <p:txBody>
          <a:bodyPr/>
          <a:lstStyle/>
          <a:p>
            <a:pPr algn="ctr"/>
            <a:r>
              <a:rPr lang="en-US" dirty="0"/>
              <a:t>DELETE THIS SLIDE BEFORE DELIVERY</a:t>
            </a:r>
          </a:p>
        </p:txBody>
      </p:sp>
      <p:sp>
        <p:nvSpPr>
          <p:cNvPr id="4" name="Title 3"/>
          <p:cNvSpPr>
            <a:spLocks noGrp="1"/>
          </p:cNvSpPr>
          <p:nvPr>
            <p:ph type="title"/>
          </p:nvPr>
        </p:nvSpPr>
        <p:spPr/>
        <p:txBody>
          <a:bodyPr/>
          <a:lstStyle/>
          <a:p>
            <a:r>
              <a:rPr lang="en-US" dirty="0">
                <a:latin typeface="+mj-lt"/>
              </a:rPr>
              <a:t>Application Integration Addendum Slides</a:t>
            </a:r>
          </a:p>
        </p:txBody>
      </p:sp>
    </p:spTree>
    <p:extLst>
      <p:ext uri="{BB962C8B-B14F-4D97-AF65-F5344CB8AC3E}">
        <p14:creationId xmlns:p14="http://schemas.microsoft.com/office/powerpoint/2010/main" val="75502867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45FB6-EDC8-4F1D-BE29-EA11FADAE8A3}"/>
              </a:ext>
            </a:extLst>
          </p:cNvPr>
          <p:cNvSpPr>
            <a:spLocks noGrp="1"/>
          </p:cNvSpPr>
          <p:nvPr>
            <p:ph type="title"/>
          </p:nvPr>
        </p:nvSpPr>
        <p:spPr/>
        <p:txBody>
          <a:bodyPr/>
          <a:lstStyle/>
          <a:p>
            <a:pPr algn="ctr"/>
            <a:r>
              <a:rPr lang="en-US"/>
              <a:t>Cross-Platform APIs for Identity </a:t>
            </a:r>
            <a:br>
              <a:rPr lang="en-US"/>
            </a:br>
            <a:r>
              <a:rPr lang="en-US"/>
              <a:t>Management </a:t>
            </a:r>
          </a:p>
        </p:txBody>
      </p:sp>
      <p:grpSp>
        <p:nvGrpSpPr>
          <p:cNvPr id="19" name="Group 18">
            <a:extLst>
              <a:ext uri="{FF2B5EF4-FFF2-40B4-BE49-F238E27FC236}">
                <a16:creationId xmlns:a16="http://schemas.microsoft.com/office/drawing/2014/main" id="{6A702416-8854-41B8-AE6D-2AC4D1CCC4E9}"/>
              </a:ext>
            </a:extLst>
          </p:cNvPr>
          <p:cNvGrpSpPr/>
          <p:nvPr/>
        </p:nvGrpSpPr>
        <p:grpSpPr>
          <a:xfrm>
            <a:off x="2506987" y="1934147"/>
            <a:ext cx="8434032" cy="2783028"/>
            <a:chOff x="2507306" y="1631624"/>
            <a:chExt cx="8435109" cy="2783383"/>
          </a:xfrm>
        </p:grpSpPr>
        <p:pic>
          <p:nvPicPr>
            <p:cNvPr id="195" name="Picture 194">
              <a:extLst>
                <a:ext uri="{FF2B5EF4-FFF2-40B4-BE49-F238E27FC236}">
                  <a16:creationId xmlns:a16="http://schemas.microsoft.com/office/drawing/2014/main" id="{C369E8C6-8345-47EC-AE8B-8E7F34BE57FA}"/>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2250" t="2250" r="2250" b="2250"/>
            <a:stretch/>
          </p:blipFill>
          <p:spPr>
            <a:xfrm>
              <a:off x="3021192" y="2862671"/>
              <a:ext cx="657051" cy="657051"/>
            </a:xfrm>
            <a:prstGeom prst="ellipse">
              <a:avLst/>
            </a:prstGeom>
          </p:spPr>
        </p:pic>
        <p:pic>
          <p:nvPicPr>
            <p:cNvPr id="202" name="Picture 201">
              <a:extLst>
                <a:ext uri="{FF2B5EF4-FFF2-40B4-BE49-F238E27FC236}">
                  <a16:creationId xmlns:a16="http://schemas.microsoft.com/office/drawing/2014/main" id="{524E21D2-AAAD-4258-9217-A21DE8F7C95D}"/>
                </a:ext>
              </a:extLst>
            </p:cNvPr>
            <p:cNvPicPr>
              <a:picLocks noChangeAspect="1"/>
            </p:cNvPicPr>
            <p:nvPr/>
          </p:nvPicPr>
          <p:blipFill rotWithShape="1">
            <a:blip r:embed="rId4">
              <a:extLst>
                <a:ext uri="{28A0092B-C50C-407E-A947-70E740481C1C}">
                  <a14:useLocalDpi xmlns:a14="http://schemas.microsoft.com/office/drawing/2010/main" val="0"/>
                </a:ext>
              </a:extLst>
            </a:blip>
            <a:srcRect b="21127"/>
            <a:stretch/>
          </p:blipFill>
          <p:spPr>
            <a:xfrm>
              <a:off x="2666782" y="2296090"/>
              <a:ext cx="827499" cy="457200"/>
            </a:xfrm>
            <a:prstGeom prst="rect">
              <a:avLst/>
            </a:prstGeom>
          </p:spPr>
        </p:pic>
        <p:grpSp>
          <p:nvGrpSpPr>
            <p:cNvPr id="205" name="Group 204">
              <a:extLst>
                <a:ext uri="{FF2B5EF4-FFF2-40B4-BE49-F238E27FC236}">
                  <a16:creationId xmlns:a16="http://schemas.microsoft.com/office/drawing/2014/main" id="{AD1623B5-A3B8-4589-A7A1-E8B0A208AD81}"/>
                </a:ext>
              </a:extLst>
            </p:cNvPr>
            <p:cNvGrpSpPr/>
            <p:nvPr/>
          </p:nvGrpSpPr>
          <p:grpSpPr>
            <a:xfrm>
              <a:off x="8343108" y="1980198"/>
              <a:ext cx="1457529" cy="507831"/>
              <a:chOff x="6131596" y="2578675"/>
              <a:chExt cx="1457529" cy="507831"/>
            </a:xfrm>
          </p:grpSpPr>
          <p:sp>
            <p:nvSpPr>
              <p:cNvPr id="206" name="Freeform: Shape 205">
                <a:extLst>
                  <a:ext uri="{FF2B5EF4-FFF2-40B4-BE49-F238E27FC236}">
                    <a16:creationId xmlns:a16="http://schemas.microsoft.com/office/drawing/2014/main" id="{AE11288E-F85C-4D16-94C2-0816CDC4DBB8}"/>
                  </a:ext>
                </a:extLst>
              </p:cNvPr>
              <p:cNvSpPr/>
              <p:nvPr/>
            </p:nvSpPr>
            <p:spPr bwMode="auto">
              <a:xfrm>
                <a:off x="6131596" y="2669481"/>
                <a:ext cx="306688" cy="300026"/>
              </a:xfrm>
              <a:custGeom>
                <a:avLst/>
                <a:gdLst>
                  <a:gd name="connsiteX0" fmla="*/ 218287 w 411956"/>
                  <a:gd name="connsiteY0" fmla="*/ 248555 h 403008"/>
                  <a:gd name="connsiteX1" fmla="*/ 218287 w 411956"/>
                  <a:gd name="connsiteY1" fmla="*/ 285131 h 403008"/>
                  <a:gd name="connsiteX2" fmla="*/ 376640 w 411956"/>
                  <a:gd name="connsiteY2" fmla="*/ 285131 h 403008"/>
                  <a:gd name="connsiteX3" fmla="*/ 376640 w 411956"/>
                  <a:gd name="connsiteY3" fmla="*/ 248555 h 403008"/>
                  <a:gd name="connsiteX4" fmla="*/ 114493 w 411956"/>
                  <a:gd name="connsiteY4" fmla="*/ 237413 h 403008"/>
                  <a:gd name="connsiteX5" fmla="*/ 45967 w 411956"/>
                  <a:gd name="connsiteY5" fmla="*/ 305939 h 403008"/>
                  <a:gd name="connsiteX6" fmla="*/ 114493 w 411956"/>
                  <a:gd name="connsiteY6" fmla="*/ 374465 h 403008"/>
                  <a:gd name="connsiteX7" fmla="*/ 183019 w 411956"/>
                  <a:gd name="connsiteY7" fmla="*/ 305939 h 403008"/>
                  <a:gd name="connsiteX8" fmla="*/ 114493 w 411956"/>
                  <a:gd name="connsiteY8" fmla="*/ 237413 h 403008"/>
                  <a:gd name="connsiteX9" fmla="*/ 218287 w 411956"/>
                  <a:gd name="connsiteY9" fmla="*/ 167789 h 403008"/>
                  <a:gd name="connsiteX10" fmla="*/ 218287 w 411956"/>
                  <a:gd name="connsiteY10" fmla="*/ 204365 h 403008"/>
                  <a:gd name="connsiteX11" fmla="*/ 376640 w 411956"/>
                  <a:gd name="connsiteY11" fmla="*/ 204365 h 403008"/>
                  <a:gd name="connsiteX12" fmla="*/ 376640 w 411956"/>
                  <a:gd name="connsiteY12" fmla="*/ 167789 h 403008"/>
                  <a:gd name="connsiteX13" fmla="*/ 35316 w 411956"/>
                  <a:gd name="connsiteY13" fmla="*/ 167789 h 403008"/>
                  <a:gd name="connsiteX14" fmla="*/ 35316 w 411956"/>
                  <a:gd name="connsiteY14" fmla="*/ 204365 h 403008"/>
                  <a:gd name="connsiteX15" fmla="*/ 193669 w 411956"/>
                  <a:gd name="connsiteY15" fmla="*/ 204365 h 403008"/>
                  <a:gd name="connsiteX16" fmla="*/ 193669 w 411956"/>
                  <a:gd name="connsiteY16" fmla="*/ 167789 h 403008"/>
                  <a:gd name="connsiteX17" fmla="*/ 218287 w 411956"/>
                  <a:gd name="connsiteY17" fmla="*/ 98166 h 403008"/>
                  <a:gd name="connsiteX18" fmla="*/ 218287 w 411956"/>
                  <a:gd name="connsiteY18" fmla="*/ 134742 h 403008"/>
                  <a:gd name="connsiteX19" fmla="*/ 376640 w 411956"/>
                  <a:gd name="connsiteY19" fmla="*/ 134742 h 403008"/>
                  <a:gd name="connsiteX20" fmla="*/ 376640 w 411956"/>
                  <a:gd name="connsiteY20" fmla="*/ 98166 h 403008"/>
                  <a:gd name="connsiteX21" fmla="*/ 35316 w 411956"/>
                  <a:gd name="connsiteY21" fmla="*/ 98166 h 403008"/>
                  <a:gd name="connsiteX22" fmla="*/ 35316 w 411956"/>
                  <a:gd name="connsiteY22" fmla="*/ 134742 h 403008"/>
                  <a:gd name="connsiteX23" fmla="*/ 193669 w 411956"/>
                  <a:gd name="connsiteY23" fmla="*/ 134742 h 403008"/>
                  <a:gd name="connsiteX24" fmla="*/ 193669 w 411956"/>
                  <a:gd name="connsiteY24" fmla="*/ 98166 h 403008"/>
                  <a:gd name="connsiteX25" fmla="*/ 218287 w 411956"/>
                  <a:gd name="connsiteY25" fmla="*/ 28543 h 403008"/>
                  <a:gd name="connsiteX26" fmla="*/ 218287 w 411956"/>
                  <a:gd name="connsiteY26" fmla="*/ 65119 h 403008"/>
                  <a:gd name="connsiteX27" fmla="*/ 376640 w 411956"/>
                  <a:gd name="connsiteY27" fmla="*/ 65119 h 403008"/>
                  <a:gd name="connsiteX28" fmla="*/ 376640 w 411956"/>
                  <a:gd name="connsiteY28" fmla="*/ 28543 h 403008"/>
                  <a:gd name="connsiteX29" fmla="*/ 35316 w 411956"/>
                  <a:gd name="connsiteY29" fmla="*/ 28543 h 403008"/>
                  <a:gd name="connsiteX30" fmla="*/ 35316 w 411956"/>
                  <a:gd name="connsiteY30" fmla="*/ 65119 h 403008"/>
                  <a:gd name="connsiteX31" fmla="*/ 193669 w 411956"/>
                  <a:gd name="connsiteY31" fmla="*/ 65119 h 403008"/>
                  <a:gd name="connsiteX32" fmla="*/ 193669 w 411956"/>
                  <a:gd name="connsiteY32" fmla="*/ 28543 h 403008"/>
                  <a:gd name="connsiteX33" fmla="*/ 0 w 411956"/>
                  <a:gd name="connsiteY33" fmla="*/ 0 h 403008"/>
                  <a:gd name="connsiteX34" fmla="*/ 411956 w 411956"/>
                  <a:gd name="connsiteY34" fmla="*/ 0 h 403008"/>
                  <a:gd name="connsiteX35" fmla="*/ 411956 w 411956"/>
                  <a:gd name="connsiteY35" fmla="*/ 403008 h 403008"/>
                  <a:gd name="connsiteX36" fmla="*/ 0 w 411956"/>
                  <a:gd name="connsiteY36" fmla="*/ 403008 h 40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1956" h="403008">
                    <a:moveTo>
                      <a:pt x="218287" y="248555"/>
                    </a:moveTo>
                    <a:lnTo>
                      <a:pt x="218287" y="285131"/>
                    </a:lnTo>
                    <a:lnTo>
                      <a:pt x="376640" y="285131"/>
                    </a:lnTo>
                    <a:lnTo>
                      <a:pt x="376640" y="248555"/>
                    </a:lnTo>
                    <a:close/>
                    <a:moveTo>
                      <a:pt x="114493" y="237413"/>
                    </a:moveTo>
                    <a:cubicBezTo>
                      <a:pt x="76647" y="237413"/>
                      <a:pt x="45967" y="268093"/>
                      <a:pt x="45967" y="305939"/>
                    </a:cubicBezTo>
                    <a:cubicBezTo>
                      <a:pt x="45967" y="343785"/>
                      <a:pt x="76647" y="374465"/>
                      <a:pt x="114493" y="374465"/>
                    </a:cubicBezTo>
                    <a:cubicBezTo>
                      <a:pt x="152339" y="374465"/>
                      <a:pt x="183019" y="343785"/>
                      <a:pt x="183019" y="305939"/>
                    </a:cubicBezTo>
                    <a:cubicBezTo>
                      <a:pt x="183019" y="268093"/>
                      <a:pt x="152339" y="237413"/>
                      <a:pt x="114493" y="237413"/>
                    </a:cubicBezTo>
                    <a:close/>
                    <a:moveTo>
                      <a:pt x="218287" y="167789"/>
                    </a:moveTo>
                    <a:lnTo>
                      <a:pt x="218287" y="204365"/>
                    </a:lnTo>
                    <a:lnTo>
                      <a:pt x="376640" y="204365"/>
                    </a:lnTo>
                    <a:lnTo>
                      <a:pt x="376640" y="167789"/>
                    </a:lnTo>
                    <a:close/>
                    <a:moveTo>
                      <a:pt x="35316" y="167789"/>
                    </a:moveTo>
                    <a:lnTo>
                      <a:pt x="35316" y="204365"/>
                    </a:lnTo>
                    <a:lnTo>
                      <a:pt x="193669" y="204365"/>
                    </a:lnTo>
                    <a:lnTo>
                      <a:pt x="193669" y="167789"/>
                    </a:lnTo>
                    <a:close/>
                    <a:moveTo>
                      <a:pt x="218287" y="98166"/>
                    </a:moveTo>
                    <a:lnTo>
                      <a:pt x="218287" y="134742"/>
                    </a:lnTo>
                    <a:lnTo>
                      <a:pt x="376640" y="134742"/>
                    </a:lnTo>
                    <a:lnTo>
                      <a:pt x="376640" y="98166"/>
                    </a:lnTo>
                    <a:close/>
                    <a:moveTo>
                      <a:pt x="35316" y="98166"/>
                    </a:moveTo>
                    <a:lnTo>
                      <a:pt x="35316" y="134742"/>
                    </a:lnTo>
                    <a:lnTo>
                      <a:pt x="193669" y="134742"/>
                    </a:lnTo>
                    <a:lnTo>
                      <a:pt x="193669" y="98166"/>
                    </a:lnTo>
                    <a:close/>
                    <a:moveTo>
                      <a:pt x="218287" y="28543"/>
                    </a:moveTo>
                    <a:lnTo>
                      <a:pt x="218287" y="65119"/>
                    </a:lnTo>
                    <a:lnTo>
                      <a:pt x="376640" y="65119"/>
                    </a:lnTo>
                    <a:lnTo>
                      <a:pt x="376640" y="28543"/>
                    </a:lnTo>
                    <a:close/>
                    <a:moveTo>
                      <a:pt x="35316" y="28543"/>
                    </a:moveTo>
                    <a:lnTo>
                      <a:pt x="35316" y="65119"/>
                    </a:lnTo>
                    <a:lnTo>
                      <a:pt x="193669" y="65119"/>
                    </a:lnTo>
                    <a:lnTo>
                      <a:pt x="193669" y="28543"/>
                    </a:lnTo>
                    <a:close/>
                    <a:moveTo>
                      <a:pt x="0" y="0"/>
                    </a:moveTo>
                    <a:lnTo>
                      <a:pt x="411956" y="0"/>
                    </a:lnTo>
                    <a:lnTo>
                      <a:pt x="411956" y="403008"/>
                    </a:lnTo>
                    <a:lnTo>
                      <a:pt x="0" y="403008"/>
                    </a:lnTo>
                    <a:close/>
                  </a:path>
                </a:pathLst>
              </a:custGeom>
              <a:solidFill>
                <a:srgbClr val="FF8B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Autofit/>
              </a:bodyPr>
              <a:lstStyle/>
              <a:p>
                <a:pPr algn="ctr" defTabSz="932379" fontAlgn="base">
                  <a:lnSpc>
                    <a:spcPct val="90000"/>
                  </a:lnSpc>
                  <a:spcBef>
                    <a:spcPct val="0"/>
                  </a:spcBef>
                  <a:spcAft>
                    <a:spcPct val="0"/>
                  </a:spcAft>
                </a:pPr>
                <a:endParaRPr lang="en-US" sz="3000">
                  <a:gradFill>
                    <a:gsLst>
                      <a:gs pos="0">
                        <a:srgbClr val="FFFFFF"/>
                      </a:gs>
                      <a:gs pos="100000">
                        <a:srgbClr val="FFFFFF"/>
                      </a:gs>
                    </a:gsLst>
                    <a:lin ang="5400000" scaled="0"/>
                  </a:gradFill>
                  <a:ea typeface="Segoe UI" pitchFamily="34" charset="0"/>
                  <a:cs typeface="Segoe UI" pitchFamily="34" charset="0"/>
                </a:endParaRPr>
              </a:p>
            </p:txBody>
          </p:sp>
          <p:sp>
            <p:nvSpPr>
              <p:cNvPr id="207" name="Rectangle 206">
                <a:extLst>
                  <a:ext uri="{FF2B5EF4-FFF2-40B4-BE49-F238E27FC236}">
                    <a16:creationId xmlns:a16="http://schemas.microsoft.com/office/drawing/2014/main" id="{9FB6E32A-068D-438A-A07C-7719AB5D45A5}"/>
                  </a:ext>
                </a:extLst>
              </p:cNvPr>
              <p:cNvSpPr/>
              <p:nvPr/>
            </p:nvSpPr>
            <p:spPr>
              <a:xfrm>
                <a:off x="6394567" y="2578675"/>
                <a:ext cx="1194558" cy="507831"/>
              </a:xfrm>
              <a:prstGeom prst="rect">
                <a:avLst/>
              </a:prstGeom>
            </p:spPr>
            <p:txBody>
              <a:bodyPr wrap="none" anchor="ctr">
                <a:spAutoFit/>
              </a:bodyPr>
              <a:lstStyle/>
              <a:p>
                <a:pPr defTabSz="932379" fontAlgn="base">
                  <a:lnSpc>
                    <a:spcPct val="90000"/>
                  </a:lnSpc>
                  <a:spcBef>
                    <a:spcPts val="600"/>
                  </a:spcBef>
                  <a:spcAft>
                    <a:spcPct val="0"/>
                  </a:spcAft>
                </a:pPr>
                <a:r>
                  <a:rPr lang="en-US" sz="3000" spc="-150">
                    <a:latin typeface="Segoe UI Semibold" panose="020B0702040204020203" pitchFamily="34" charset="0"/>
                    <a:ea typeface="Segoe UI" pitchFamily="34" charset="0"/>
                    <a:cs typeface="Segoe UI Semibold" panose="020B0702040204020203" pitchFamily="34" charset="0"/>
                  </a:rPr>
                  <a:t>OData</a:t>
                </a:r>
              </a:p>
            </p:txBody>
          </p:sp>
        </p:grpSp>
        <p:sp>
          <p:nvSpPr>
            <p:cNvPr id="210" name="Rectangle 209">
              <a:extLst>
                <a:ext uri="{FF2B5EF4-FFF2-40B4-BE49-F238E27FC236}">
                  <a16:creationId xmlns:a16="http://schemas.microsoft.com/office/drawing/2014/main" id="{BA1101E0-1D57-48C6-8CCB-0D081FBB289D}"/>
                </a:ext>
              </a:extLst>
            </p:cNvPr>
            <p:cNvSpPr/>
            <p:nvPr/>
          </p:nvSpPr>
          <p:spPr>
            <a:xfrm>
              <a:off x="9031973" y="3907176"/>
              <a:ext cx="1446230" cy="507831"/>
            </a:xfrm>
            <a:prstGeom prst="rect">
              <a:avLst/>
            </a:prstGeom>
          </p:spPr>
          <p:txBody>
            <a:bodyPr wrap="none" anchor="ctr">
              <a:spAutoFit/>
            </a:bodyPr>
            <a:lstStyle/>
            <a:p>
              <a:pPr defTabSz="932379" fontAlgn="base">
                <a:lnSpc>
                  <a:spcPct val="90000"/>
                </a:lnSpc>
                <a:spcBef>
                  <a:spcPts val="600"/>
                </a:spcBef>
                <a:spcAft>
                  <a:spcPct val="0"/>
                </a:spcAft>
              </a:pPr>
              <a:r>
                <a:rPr lang="en-US" sz="3000" spc="-150">
                  <a:latin typeface="Segoe UI Semibold" panose="020B0702040204020203" pitchFamily="34" charset="0"/>
                  <a:ea typeface="Segoe UI" pitchFamily="34" charset="0"/>
                  <a:cs typeface="Segoe UI Semibold" panose="020B0702040204020203" pitchFamily="34" charset="0"/>
                </a:rPr>
                <a:t>{ JSON }</a:t>
              </a:r>
              <a:endParaRPr lang="en-US" sz="3000" spc="-150">
                <a:ea typeface="Segoe UI" pitchFamily="34" charset="0"/>
                <a:cs typeface="Segoe UI Semibold" panose="020B0702040204020203" pitchFamily="34" charset="0"/>
              </a:endParaRPr>
            </a:p>
          </p:txBody>
        </p:sp>
        <p:pic>
          <p:nvPicPr>
            <p:cNvPr id="196" name="Picture 195">
              <a:extLst>
                <a:ext uri="{FF2B5EF4-FFF2-40B4-BE49-F238E27FC236}">
                  <a16:creationId xmlns:a16="http://schemas.microsoft.com/office/drawing/2014/main" id="{55DF5FC0-A4E6-4B07-AADF-3270D048A4C8}"/>
                </a:ext>
              </a:extLst>
            </p:cNvPr>
            <p:cNvPicPr>
              <a:picLocks noChangeAspect="1"/>
            </p:cNvPicPr>
            <p:nvPr/>
          </p:nvPicPr>
          <p:blipFill rotWithShape="1">
            <a:blip r:embed="rId5">
              <a:extLst>
                <a:ext uri="{28A0092B-C50C-407E-A947-70E740481C1C}">
                  <a14:useLocalDpi xmlns:a14="http://schemas.microsoft.com/office/drawing/2010/main" val="0"/>
                </a:ext>
              </a:extLst>
            </a:blip>
            <a:srcRect l="717" t="717" r="717" b="717"/>
            <a:stretch/>
          </p:blipFill>
          <p:spPr>
            <a:xfrm>
              <a:off x="3284046" y="1631624"/>
              <a:ext cx="657051" cy="657051"/>
            </a:xfrm>
            <a:prstGeom prst="ellipse">
              <a:avLst/>
            </a:prstGeom>
          </p:spPr>
        </p:pic>
        <p:sp>
          <p:nvSpPr>
            <p:cNvPr id="199" name="Rectangle 198">
              <a:extLst>
                <a:ext uri="{FF2B5EF4-FFF2-40B4-BE49-F238E27FC236}">
                  <a16:creationId xmlns:a16="http://schemas.microsoft.com/office/drawing/2014/main" id="{81939F04-445B-40F7-933E-D227D28A0097}"/>
                </a:ext>
              </a:extLst>
            </p:cNvPr>
            <p:cNvSpPr/>
            <p:nvPr/>
          </p:nvSpPr>
          <p:spPr>
            <a:xfrm>
              <a:off x="9203358" y="2453953"/>
              <a:ext cx="1636987" cy="507831"/>
            </a:xfrm>
            <a:prstGeom prst="rect">
              <a:avLst/>
            </a:prstGeom>
          </p:spPr>
          <p:txBody>
            <a:bodyPr wrap="none" anchor="ctr">
              <a:spAutoFit/>
            </a:bodyPr>
            <a:lstStyle/>
            <a:p>
              <a:pPr defTabSz="932379" fontAlgn="base">
                <a:lnSpc>
                  <a:spcPct val="90000"/>
                </a:lnSpc>
                <a:spcBef>
                  <a:spcPts val="600"/>
                </a:spcBef>
                <a:spcAft>
                  <a:spcPct val="0"/>
                </a:spcAft>
              </a:pPr>
              <a:r>
                <a:rPr lang="en-US" sz="3000" spc="-150">
                  <a:solidFill>
                    <a:srgbClr val="3A0070"/>
                  </a:solidFill>
                  <a:latin typeface="Segoe UI Semibold" panose="020B0702040204020203" pitchFamily="34" charset="0"/>
                  <a:ea typeface="Segoe UI" pitchFamily="34" charset="0"/>
                  <a:cs typeface="Segoe UI Semibold" panose="020B0702040204020203" pitchFamily="34" charset="0"/>
                </a:rPr>
                <a:t>SAML </a:t>
              </a:r>
              <a:r>
                <a:rPr lang="en-US" sz="3000" spc="-150">
                  <a:solidFill>
                    <a:srgbClr val="3A0070"/>
                  </a:solidFill>
                  <a:ea typeface="Segoe UI" pitchFamily="34" charset="0"/>
                  <a:cs typeface="Segoe UI Semibold" panose="020B0702040204020203" pitchFamily="34" charset="0"/>
                </a:rPr>
                <a:t>2.0</a:t>
              </a:r>
            </a:p>
          </p:txBody>
        </p:sp>
        <p:grpSp>
          <p:nvGrpSpPr>
            <p:cNvPr id="213" name="Group 212">
              <a:extLst>
                <a:ext uri="{FF2B5EF4-FFF2-40B4-BE49-F238E27FC236}">
                  <a16:creationId xmlns:a16="http://schemas.microsoft.com/office/drawing/2014/main" id="{2997B43C-A180-4D72-98B9-8397E970268C}"/>
                </a:ext>
              </a:extLst>
            </p:cNvPr>
            <p:cNvGrpSpPr/>
            <p:nvPr/>
          </p:nvGrpSpPr>
          <p:grpSpPr>
            <a:xfrm>
              <a:off x="9363946" y="3041049"/>
              <a:ext cx="1578469" cy="563231"/>
              <a:chOff x="8729665" y="2566791"/>
              <a:chExt cx="1578469" cy="563231"/>
            </a:xfrm>
          </p:grpSpPr>
          <p:pic>
            <p:nvPicPr>
              <p:cNvPr id="214" name="Picture 2" descr="http://www.simplecloud.info/img/logo/SCIM_B-and-W_792x270.png">
                <a:extLst>
                  <a:ext uri="{FF2B5EF4-FFF2-40B4-BE49-F238E27FC236}">
                    <a16:creationId xmlns:a16="http://schemas.microsoft.com/office/drawing/2014/main" id="{0AF60828-3C85-4D7C-84C3-4640D3E849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29665" y="2668328"/>
                <a:ext cx="963675" cy="328525"/>
              </a:xfrm>
              <a:prstGeom prst="rect">
                <a:avLst/>
              </a:prstGeom>
              <a:noFill/>
              <a:extLst>
                <a:ext uri="{909E8E84-426E-40DD-AFC4-6F175D3DCCD1}">
                  <a14:hiddenFill xmlns:a14="http://schemas.microsoft.com/office/drawing/2010/main">
                    <a:solidFill>
                      <a:srgbClr val="FFFFFF"/>
                    </a:solidFill>
                  </a14:hiddenFill>
                </a:ext>
              </a:extLst>
            </p:spPr>
          </p:pic>
          <p:sp>
            <p:nvSpPr>
              <p:cNvPr id="215" name="Rectangle 214">
                <a:extLst>
                  <a:ext uri="{FF2B5EF4-FFF2-40B4-BE49-F238E27FC236}">
                    <a16:creationId xmlns:a16="http://schemas.microsoft.com/office/drawing/2014/main" id="{0A87E2A7-4CDB-42D8-A2C7-47F10A497B13}"/>
                  </a:ext>
                </a:extLst>
              </p:cNvPr>
              <p:cNvSpPr/>
              <p:nvPr/>
            </p:nvSpPr>
            <p:spPr>
              <a:xfrm>
                <a:off x="9615316" y="2566791"/>
                <a:ext cx="692818" cy="563231"/>
              </a:xfrm>
              <a:prstGeom prst="rect">
                <a:avLst/>
              </a:prstGeom>
            </p:spPr>
            <p:txBody>
              <a:bodyPr wrap="none" anchor="ctr">
                <a:spAutoFit/>
              </a:bodyPr>
              <a:lstStyle/>
              <a:p>
                <a:pPr defTabSz="932379" fontAlgn="base">
                  <a:lnSpc>
                    <a:spcPct val="90000"/>
                  </a:lnSpc>
                  <a:spcBef>
                    <a:spcPts val="600"/>
                  </a:spcBef>
                  <a:spcAft>
                    <a:spcPct val="0"/>
                  </a:spcAft>
                </a:pPr>
                <a:r>
                  <a:rPr lang="en-US" sz="3400" spc="-150">
                    <a:solidFill>
                      <a:srgbClr val="040707"/>
                    </a:solidFill>
                    <a:ea typeface="Segoe UI" pitchFamily="34" charset="0"/>
                    <a:cs typeface="Segoe UI Semibold" panose="020B0702040204020203" pitchFamily="34" charset="0"/>
                  </a:rPr>
                  <a:t>2.0</a:t>
                </a:r>
              </a:p>
            </p:txBody>
          </p:sp>
        </p:grpSp>
        <p:sp>
          <p:nvSpPr>
            <p:cNvPr id="218" name="Rectangle 217">
              <a:extLst>
                <a:ext uri="{FF2B5EF4-FFF2-40B4-BE49-F238E27FC236}">
                  <a16:creationId xmlns:a16="http://schemas.microsoft.com/office/drawing/2014/main" id="{FCB273C2-9E2B-431B-920C-4A1CA71BF4B0}"/>
                </a:ext>
              </a:extLst>
            </p:cNvPr>
            <p:cNvSpPr/>
            <p:nvPr/>
          </p:nvSpPr>
          <p:spPr>
            <a:xfrm>
              <a:off x="2507306" y="3509799"/>
              <a:ext cx="1258678" cy="867930"/>
            </a:xfrm>
            <a:prstGeom prst="rect">
              <a:avLst/>
            </a:prstGeom>
          </p:spPr>
          <p:txBody>
            <a:bodyPr wrap="none" anchor="ctr">
              <a:spAutoFit/>
            </a:bodyPr>
            <a:lstStyle/>
            <a:p>
              <a:pPr defTabSz="932379" fontAlgn="base">
                <a:lnSpc>
                  <a:spcPct val="90000"/>
                </a:lnSpc>
                <a:spcBef>
                  <a:spcPts val="600"/>
                </a:spcBef>
                <a:spcAft>
                  <a:spcPct val="0"/>
                </a:spcAft>
              </a:pPr>
              <a:r>
                <a:rPr lang="en-US" sz="2800" spc="-150">
                  <a:latin typeface="Segoe UI" panose="020B0502040204020203" pitchFamily="34" charset="0"/>
                  <a:cs typeface="Segoe UI" panose="020B0502040204020203" pitchFamily="34" charset="0"/>
                </a:rPr>
                <a:t>Token</a:t>
              </a:r>
              <a:br>
                <a:rPr lang="en-US" sz="2800" spc="-150">
                  <a:latin typeface="Segoe UI" panose="020B0502040204020203" pitchFamily="34" charset="0"/>
                  <a:cs typeface="Segoe UI" panose="020B0502040204020203" pitchFamily="34" charset="0"/>
                </a:rPr>
              </a:br>
              <a:r>
                <a:rPr lang="en-US" sz="2800" spc="-150">
                  <a:latin typeface="Segoe UI" panose="020B0502040204020203" pitchFamily="34" charset="0"/>
                  <a:cs typeface="Segoe UI" panose="020B0502040204020203" pitchFamily="34" charset="0"/>
                </a:rPr>
                <a:t>Binding</a:t>
              </a:r>
            </a:p>
          </p:txBody>
        </p:sp>
      </p:grpSp>
      <p:grpSp>
        <p:nvGrpSpPr>
          <p:cNvPr id="46" name="Group 45">
            <a:extLst>
              <a:ext uri="{FF2B5EF4-FFF2-40B4-BE49-F238E27FC236}">
                <a16:creationId xmlns:a16="http://schemas.microsoft.com/office/drawing/2014/main" id="{FFF3C9D8-AA2E-4E6A-AB01-67B40FEC9CD9}"/>
              </a:ext>
            </a:extLst>
          </p:cNvPr>
          <p:cNvGrpSpPr/>
          <p:nvPr/>
        </p:nvGrpSpPr>
        <p:grpSpPr>
          <a:xfrm>
            <a:off x="457142" y="479810"/>
            <a:ext cx="1371425" cy="1371425"/>
            <a:chOff x="7309594" y="4368800"/>
            <a:chExt cx="1371600" cy="1371600"/>
          </a:xfrm>
        </p:grpSpPr>
        <p:sp>
          <p:nvSpPr>
            <p:cNvPr id="47" name="Oval 46">
              <a:extLst>
                <a:ext uri="{FF2B5EF4-FFF2-40B4-BE49-F238E27FC236}">
                  <a16:creationId xmlns:a16="http://schemas.microsoft.com/office/drawing/2014/main" id="{554FD00E-A8DC-4860-9814-D27C7429F637}"/>
                </a:ext>
              </a:extLst>
            </p:cNvPr>
            <p:cNvSpPr/>
            <p:nvPr/>
          </p:nvSpPr>
          <p:spPr bwMode="auto">
            <a:xfrm>
              <a:off x="7309594" y="4368800"/>
              <a:ext cx="1371600" cy="13716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10" rIns="179262" bIns="143410"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kern="0">
                <a:gradFill>
                  <a:gsLst>
                    <a:gs pos="0">
                      <a:srgbClr val="FFFFFF"/>
                    </a:gs>
                    <a:gs pos="100000">
                      <a:srgbClr val="FFFFFF"/>
                    </a:gs>
                  </a:gsLst>
                  <a:lin ang="5400000" scaled="0"/>
                </a:gradFill>
                <a:cs typeface="Segoe UI" pitchFamily="34" charset="0"/>
              </a:endParaRPr>
            </a:p>
          </p:txBody>
        </p:sp>
        <p:grpSp>
          <p:nvGrpSpPr>
            <p:cNvPr id="48" name="Group 47">
              <a:extLst>
                <a:ext uri="{FF2B5EF4-FFF2-40B4-BE49-F238E27FC236}">
                  <a16:creationId xmlns:a16="http://schemas.microsoft.com/office/drawing/2014/main" id="{D67E1C4A-9B5A-40BD-ABC4-07E5C34AF413}"/>
                </a:ext>
              </a:extLst>
            </p:cNvPr>
            <p:cNvGrpSpPr>
              <a:grpSpLocks noChangeAspect="1"/>
            </p:cNvGrpSpPr>
            <p:nvPr/>
          </p:nvGrpSpPr>
          <p:grpSpPr>
            <a:xfrm>
              <a:off x="7625197" y="4740936"/>
              <a:ext cx="740394" cy="627328"/>
              <a:chOff x="4947743" y="5339803"/>
              <a:chExt cx="825499" cy="706436"/>
            </a:xfrm>
          </p:grpSpPr>
          <p:sp>
            <p:nvSpPr>
              <p:cNvPr id="49" name="Freeform 5">
                <a:extLst>
                  <a:ext uri="{FF2B5EF4-FFF2-40B4-BE49-F238E27FC236}">
                    <a16:creationId xmlns:a16="http://schemas.microsoft.com/office/drawing/2014/main" id="{68093E3E-465A-427C-85DA-EE472AC055F0}"/>
                  </a:ext>
                </a:extLst>
              </p:cNvPr>
              <p:cNvSpPr>
                <a:spLocks/>
              </p:cNvSpPr>
              <p:nvPr/>
            </p:nvSpPr>
            <p:spPr bwMode="auto">
              <a:xfrm>
                <a:off x="5217618" y="5870026"/>
                <a:ext cx="211136" cy="106364"/>
              </a:xfrm>
              <a:custGeom>
                <a:avLst/>
                <a:gdLst>
                  <a:gd name="T0" fmla="*/ 42 w 48"/>
                  <a:gd name="T1" fmla="*/ 0 h 24"/>
                  <a:gd name="T2" fmla="*/ 42 w 48"/>
                  <a:gd name="T3" fmla="*/ 11 h 24"/>
                  <a:gd name="T4" fmla="*/ 48 w 48"/>
                  <a:gd name="T5" fmla="*/ 22 h 24"/>
                  <a:gd name="T6" fmla="*/ 45 w 48"/>
                  <a:gd name="T7" fmla="*/ 23 h 24"/>
                  <a:gd name="T8" fmla="*/ 3 w 48"/>
                  <a:gd name="T9" fmla="*/ 23 h 24"/>
                  <a:gd name="T10" fmla="*/ 0 w 48"/>
                  <a:gd name="T11" fmla="*/ 22 h 24"/>
                  <a:gd name="T12" fmla="*/ 6 w 48"/>
                  <a:gd name="T13" fmla="*/ 11 h 24"/>
                  <a:gd name="T14" fmla="*/ 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2" y="0"/>
                    </a:moveTo>
                    <a:cubicBezTo>
                      <a:pt x="42" y="11"/>
                      <a:pt x="42" y="11"/>
                      <a:pt x="42" y="11"/>
                    </a:cubicBezTo>
                    <a:cubicBezTo>
                      <a:pt x="48" y="22"/>
                      <a:pt x="48" y="22"/>
                      <a:pt x="48" y="22"/>
                    </a:cubicBezTo>
                    <a:cubicBezTo>
                      <a:pt x="48" y="24"/>
                      <a:pt x="47" y="23"/>
                      <a:pt x="45" y="23"/>
                    </a:cubicBezTo>
                    <a:cubicBezTo>
                      <a:pt x="3" y="23"/>
                      <a:pt x="3" y="23"/>
                      <a:pt x="3" y="23"/>
                    </a:cubicBezTo>
                    <a:cubicBezTo>
                      <a:pt x="1" y="23"/>
                      <a:pt x="0" y="24"/>
                      <a:pt x="0" y="22"/>
                    </a:cubicBezTo>
                    <a:cubicBezTo>
                      <a:pt x="6" y="11"/>
                      <a:pt x="6" y="11"/>
                      <a:pt x="6" y="11"/>
                    </a:cubicBezTo>
                    <a:cubicBezTo>
                      <a:pt x="6" y="0"/>
                      <a:pt x="6" y="0"/>
                      <a:pt x="6" y="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sp>
            <p:nvSpPr>
              <p:cNvPr id="50" name="Freeform 6">
                <a:extLst>
                  <a:ext uri="{FF2B5EF4-FFF2-40B4-BE49-F238E27FC236}">
                    <a16:creationId xmlns:a16="http://schemas.microsoft.com/office/drawing/2014/main" id="{01201512-7373-4955-8905-B2032C551FA0}"/>
                  </a:ext>
                </a:extLst>
              </p:cNvPr>
              <p:cNvSpPr>
                <a:spLocks/>
              </p:cNvSpPr>
              <p:nvPr/>
            </p:nvSpPr>
            <p:spPr bwMode="auto">
              <a:xfrm>
                <a:off x="4947743" y="5339803"/>
                <a:ext cx="742950" cy="531812"/>
              </a:xfrm>
              <a:custGeom>
                <a:avLst/>
                <a:gdLst>
                  <a:gd name="T0" fmla="*/ 118 w 168"/>
                  <a:gd name="T1" fmla="*/ 120 h 120"/>
                  <a:gd name="T2" fmla="*/ 10 w 168"/>
                  <a:gd name="T3" fmla="*/ 120 h 120"/>
                  <a:gd name="T4" fmla="*/ 0 w 168"/>
                  <a:gd name="T5" fmla="*/ 110 h 120"/>
                  <a:gd name="T6" fmla="*/ 0 w 168"/>
                  <a:gd name="T7" fmla="*/ 10 h 120"/>
                  <a:gd name="T8" fmla="*/ 10 w 168"/>
                  <a:gd name="T9" fmla="*/ 0 h 120"/>
                  <a:gd name="T10" fmla="*/ 158 w 168"/>
                  <a:gd name="T11" fmla="*/ 0 h 120"/>
                  <a:gd name="T12" fmla="*/ 168 w 168"/>
                  <a:gd name="T13" fmla="*/ 10 h 120"/>
                  <a:gd name="T14" fmla="*/ 168 w 168"/>
                  <a:gd name="T15" fmla="*/ 29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20">
                    <a:moveTo>
                      <a:pt x="118" y="120"/>
                    </a:moveTo>
                    <a:cubicBezTo>
                      <a:pt x="10" y="120"/>
                      <a:pt x="10" y="120"/>
                      <a:pt x="10" y="120"/>
                    </a:cubicBezTo>
                    <a:cubicBezTo>
                      <a:pt x="4" y="120"/>
                      <a:pt x="0" y="115"/>
                      <a:pt x="0" y="110"/>
                    </a:cubicBezTo>
                    <a:cubicBezTo>
                      <a:pt x="0" y="10"/>
                      <a:pt x="0" y="10"/>
                      <a:pt x="0" y="10"/>
                    </a:cubicBezTo>
                    <a:cubicBezTo>
                      <a:pt x="0" y="4"/>
                      <a:pt x="4" y="0"/>
                      <a:pt x="10" y="0"/>
                    </a:cubicBezTo>
                    <a:cubicBezTo>
                      <a:pt x="158" y="0"/>
                      <a:pt x="158" y="0"/>
                      <a:pt x="158" y="0"/>
                    </a:cubicBezTo>
                    <a:cubicBezTo>
                      <a:pt x="164" y="0"/>
                      <a:pt x="168" y="4"/>
                      <a:pt x="168" y="10"/>
                    </a:cubicBezTo>
                    <a:cubicBezTo>
                      <a:pt x="168" y="29"/>
                      <a:pt x="168" y="29"/>
                      <a:pt x="168" y="2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sp>
            <p:nvSpPr>
              <p:cNvPr id="51" name="Freeform 7">
                <a:extLst>
                  <a:ext uri="{FF2B5EF4-FFF2-40B4-BE49-F238E27FC236}">
                    <a16:creationId xmlns:a16="http://schemas.microsoft.com/office/drawing/2014/main" id="{541F8B95-2624-4D4E-A5ED-EC6407A665D8}"/>
                  </a:ext>
                </a:extLst>
              </p:cNvPr>
              <p:cNvSpPr>
                <a:spLocks/>
              </p:cNvSpPr>
              <p:nvPr/>
            </p:nvSpPr>
            <p:spPr bwMode="auto">
              <a:xfrm>
                <a:off x="4957269" y="5776364"/>
                <a:ext cx="511173" cy="0"/>
              </a:xfrm>
              <a:custGeom>
                <a:avLst/>
                <a:gdLst>
                  <a:gd name="T0" fmla="*/ 0 w 321"/>
                  <a:gd name="T1" fmla="*/ 179 w 321"/>
                  <a:gd name="T2" fmla="*/ 321 w 321"/>
                </a:gdLst>
                <a:ahLst/>
                <a:cxnLst>
                  <a:cxn ang="0">
                    <a:pos x="T0" y="0"/>
                  </a:cxn>
                  <a:cxn ang="0">
                    <a:pos x="T1" y="0"/>
                  </a:cxn>
                  <a:cxn ang="0">
                    <a:pos x="T2" y="0"/>
                  </a:cxn>
                </a:cxnLst>
                <a:rect l="0" t="0" r="r" b="b"/>
                <a:pathLst>
                  <a:path w="321">
                    <a:moveTo>
                      <a:pt x="0" y="0"/>
                    </a:moveTo>
                    <a:lnTo>
                      <a:pt x="179" y="0"/>
                    </a:lnTo>
                    <a:lnTo>
                      <a:pt x="321"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sp>
            <p:nvSpPr>
              <p:cNvPr id="52" name="Freeform 8">
                <a:extLst>
                  <a:ext uri="{FF2B5EF4-FFF2-40B4-BE49-F238E27FC236}">
                    <a16:creationId xmlns:a16="http://schemas.microsoft.com/office/drawing/2014/main" id="{69BD53F1-9FC3-464C-94DD-F80A2C1086A5}"/>
                  </a:ext>
                </a:extLst>
              </p:cNvPr>
              <p:cNvSpPr>
                <a:spLocks/>
              </p:cNvSpPr>
              <p:nvPr/>
            </p:nvSpPr>
            <p:spPr bwMode="auto">
              <a:xfrm>
                <a:off x="5468442" y="5466803"/>
                <a:ext cx="304800" cy="579436"/>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sp>
            <p:nvSpPr>
              <p:cNvPr id="53" name="Line 9">
                <a:extLst>
                  <a:ext uri="{FF2B5EF4-FFF2-40B4-BE49-F238E27FC236}">
                    <a16:creationId xmlns:a16="http://schemas.microsoft.com/office/drawing/2014/main" id="{10555513-8D4A-4180-8761-6493D455642C}"/>
                  </a:ext>
                </a:extLst>
              </p:cNvPr>
              <p:cNvSpPr>
                <a:spLocks noChangeShapeType="1"/>
              </p:cNvSpPr>
              <p:nvPr/>
            </p:nvSpPr>
            <p:spPr bwMode="auto">
              <a:xfrm flipH="1" flipV="1">
                <a:off x="5468442" y="5963690"/>
                <a:ext cx="3048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48" tIns="46624" rIns="93248" bIns="46624" numCol="1" anchor="t" anchorCtr="0" compatLnSpc="1">
                <a:prstTxWarp prst="textNoShape">
                  <a:avLst/>
                </a:prstTxWarp>
              </a:bodyPr>
              <a:lstStyle/>
              <a:p>
                <a:endParaRPr lang="en-US" sz="1836"/>
              </a:p>
            </p:txBody>
          </p:sp>
          <p:sp>
            <p:nvSpPr>
              <p:cNvPr id="54" name="Line 10">
                <a:extLst>
                  <a:ext uri="{FF2B5EF4-FFF2-40B4-BE49-F238E27FC236}">
                    <a16:creationId xmlns:a16="http://schemas.microsoft.com/office/drawing/2014/main" id="{8CD545F1-9AC3-4F4C-8142-C5E76DB6F695}"/>
                  </a:ext>
                </a:extLst>
              </p:cNvPr>
              <p:cNvSpPr>
                <a:spLocks noChangeShapeType="1"/>
              </p:cNvSpPr>
              <p:nvPr/>
            </p:nvSpPr>
            <p:spPr bwMode="auto">
              <a:xfrm>
                <a:off x="5468442" y="5543002"/>
                <a:ext cx="304800" cy="4763"/>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cxnSp>
        <p:nvCxnSpPr>
          <p:cNvPr id="57" name="Straight Arrow Connector 56">
            <a:extLst>
              <a:ext uri="{FF2B5EF4-FFF2-40B4-BE49-F238E27FC236}">
                <a16:creationId xmlns:a16="http://schemas.microsoft.com/office/drawing/2014/main" id="{5E50309C-A21B-468C-9BB6-55221E4E1464}"/>
              </a:ext>
            </a:extLst>
          </p:cNvPr>
          <p:cNvCxnSpPr>
            <a:cxnSpLocks/>
          </p:cNvCxnSpPr>
          <p:nvPr/>
        </p:nvCxnSpPr>
        <p:spPr>
          <a:xfrm flipH="1">
            <a:off x="8198391" y="3599013"/>
            <a:ext cx="1130148" cy="79885"/>
          </a:xfrm>
          <a:prstGeom prst="straightConnector1">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Arrow Connector 57">
            <a:extLst>
              <a:ext uri="{FF2B5EF4-FFF2-40B4-BE49-F238E27FC236}">
                <a16:creationId xmlns:a16="http://schemas.microsoft.com/office/drawing/2014/main" id="{778054A5-7929-408A-B4FC-7176E737C403}"/>
              </a:ext>
            </a:extLst>
          </p:cNvPr>
          <p:cNvCxnSpPr>
            <a:cxnSpLocks/>
          </p:cNvCxnSpPr>
          <p:nvPr/>
        </p:nvCxnSpPr>
        <p:spPr>
          <a:xfrm flipV="1">
            <a:off x="8198391" y="3010256"/>
            <a:ext cx="1049882" cy="333136"/>
          </a:xfrm>
          <a:prstGeom prst="straightConnector1">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a:extLst>
              <a:ext uri="{FF2B5EF4-FFF2-40B4-BE49-F238E27FC236}">
                <a16:creationId xmlns:a16="http://schemas.microsoft.com/office/drawing/2014/main" id="{388D690E-066F-4370-8D02-AFA9C1705092}"/>
              </a:ext>
            </a:extLst>
          </p:cNvPr>
          <p:cNvCxnSpPr>
            <a:cxnSpLocks/>
          </p:cNvCxnSpPr>
          <p:nvPr/>
        </p:nvCxnSpPr>
        <p:spPr>
          <a:xfrm>
            <a:off x="3940595" y="2536559"/>
            <a:ext cx="538108" cy="232266"/>
          </a:xfrm>
          <a:prstGeom prst="line">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Connector 59">
            <a:extLst>
              <a:ext uri="{FF2B5EF4-FFF2-40B4-BE49-F238E27FC236}">
                <a16:creationId xmlns:a16="http://schemas.microsoft.com/office/drawing/2014/main" id="{2DF03CED-7C0E-458B-A180-E9FCEA90A468}"/>
              </a:ext>
            </a:extLst>
          </p:cNvPr>
          <p:cNvCxnSpPr>
            <a:cxnSpLocks/>
          </p:cNvCxnSpPr>
          <p:nvPr/>
        </p:nvCxnSpPr>
        <p:spPr>
          <a:xfrm flipH="1">
            <a:off x="3514236" y="3573561"/>
            <a:ext cx="958952" cy="512250"/>
          </a:xfrm>
          <a:prstGeom prst="line">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Arrow Connector 60">
            <a:extLst>
              <a:ext uri="{FF2B5EF4-FFF2-40B4-BE49-F238E27FC236}">
                <a16:creationId xmlns:a16="http://schemas.microsoft.com/office/drawing/2014/main" id="{005E5A15-C3A5-4DD3-BA8E-B216C5A37653}"/>
              </a:ext>
            </a:extLst>
          </p:cNvPr>
          <p:cNvCxnSpPr>
            <a:cxnSpLocks/>
          </p:cNvCxnSpPr>
          <p:nvPr/>
        </p:nvCxnSpPr>
        <p:spPr>
          <a:xfrm flipV="1">
            <a:off x="8005046" y="2749164"/>
            <a:ext cx="453851" cy="422255"/>
          </a:xfrm>
          <a:prstGeom prst="straightConnector1">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62" name="Straight Connector 61">
            <a:extLst>
              <a:ext uri="{FF2B5EF4-FFF2-40B4-BE49-F238E27FC236}">
                <a16:creationId xmlns:a16="http://schemas.microsoft.com/office/drawing/2014/main" id="{337C5090-A20A-4D59-9026-540338B50AEE}"/>
              </a:ext>
            </a:extLst>
          </p:cNvPr>
          <p:cNvCxnSpPr>
            <a:cxnSpLocks/>
          </p:cNvCxnSpPr>
          <p:nvPr/>
        </p:nvCxnSpPr>
        <p:spPr>
          <a:xfrm>
            <a:off x="3712567" y="2973937"/>
            <a:ext cx="754649" cy="81733"/>
          </a:xfrm>
          <a:prstGeom prst="line">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63" name="Straight Connector 62">
            <a:extLst>
              <a:ext uri="{FF2B5EF4-FFF2-40B4-BE49-F238E27FC236}">
                <a16:creationId xmlns:a16="http://schemas.microsoft.com/office/drawing/2014/main" id="{46172F69-A157-4D6B-BD12-C0F8333C5B5A}"/>
              </a:ext>
            </a:extLst>
          </p:cNvPr>
          <p:cNvCxnSpPr>
            <a:cxnSpLocks/>
          </p:cNvCxnSpPr>
          <p:nvPr/>
        </p:nvCxnSpPr>
        <p:spPr>
          <a:xfrm>
            <a:off x="8122201" y="4021128"/>
            <a:ext cx="964064" cy="318789"/>
          </a:xfrm>
          <a:prstGeom prst="line">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64" name="Straight Arrow Connector 63">
            <a:extLst>
              <a:ext uri="{FF2B5EF4-FFF2-40B4-BE49-F238E27FC236}">
                <a16:creationId xmlns:a16="http://schemas.microsoft.com/office/drawing/2014/main" id="{E2F88D01-CBED-4F28-8D25-4BE0795DE203}"/>
              </a:ext>
            </a:extLst>
          </p:cNvPr>
          <p:cNvCxnSpPr>
            <a:cxnSpLocks/>
          </p:cNvCxnSpPr>
          <p:nvPr/>
        </p:nvCxnSpPr>
        <p:spPr>
          <a:xfrm flipV="1">
            <a:off x="3797720" y="3324525"/>
            <a:ext cx="655630" cy="124753"/>
          </a:xfrm>
          <a:prstGeom prst="straightConnector1">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sp>
        <p:nvSpPr>
          <p:cNvPr id="65" name="Rectangle 64">
            <a:extLst>
              <a:ext uri="{FF2B5EF4-FFF2-40B4-BE49-F238E27FC236}">
                <a16:creationId xmlns:a16="http://schemas.microsoft.com/office/drawing/2014/main" id="{90274207-B834-4BAB-906B-BB6BA3C6CDA2}"/>
              </a:ext>
            </a:extLst>
          </p:cNvPr>
          <p:cNvSpPr/>
          <p:nvPr/>
        </p:nvSpPr>
        <p:spPr>
          <a:xfrm>
            <a:off x="2103171" y="4945062"/>
            <a:ext cx="9142832" cy="19373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10" rIns="179262" bIns="143410" numCol="2" spcCol="182880" rtlCol="0" fromWordArt="0" anchor="t" anchorCtr="0" forceAA="0" compatLnSpc="1">
            <a:prstTxWarp prst="textNoShape">
              <a:avLst/>
            </a:prstTxWarp>
            <a:noAutofit/>
          </a:bodyPr>
          <a:lstStyle/>
          <a:p>
            <a:pPr defTabSz="914011" fontAlgn="base">
              <a:spcAft>
                <a:spcPts val="1200"/>
              </a:spcAft>
            </a:pPr>
            <a:r>
              <a:rPr lang="en-US" dirty="0">
                <a:solidFill>
                  <a:srgbClr val="353535"/>
                </a:solidFill>
                <a:latin typeface="Segoe UI" panose="020B0502040204020203" pitchFamily="34" charset="0"/>
                <a:ea typeface="Segoe UI" panose="020B0502040204020203" pitchFamily="34" charset="0"/>
                <a:cs typeface="Segoe UI" panose="020B0502040204020203" pitchFamily="34" charset="0"/>
              </a:rPr>
              <a:t>Supports consistent identity protocols across on-premises and cloud</a:t>
            </a:r>
          </a:p>
          <a:p>
            <a:pPr defTabSz="914011" fontAlgn="base">
              <a:spcAft>
                <a:spcPts val="1200"/>
              </a:spcAft>
            </a:pPr>
            <a:r>
              <a:rPr lang="en-US" dirty="0">
                <a:solidFill>
                  <a:srgbClr val="353535"/>
                </a:solidFill>
                <a:latin typeface="Segoe UI" panose="020B0502040204020203" pitchFamily="34" charset="0"/>
                <a:ea typeface="Segoe UI" panose="020B0502040204020203" pitchFamily="34" charset="0"/>
                <a:cs typeface="Segoe UI" panose="020B0502040204020203" pitchFamily="34" charset="0"/>
              </a:rPr>
              <a:t>Identity provider supports apps </a:t>
            </a:r>
            <a:br>
              <a:rPr lang="en-US" dirty="0">
                <a:solidFill>
                  <a:srgbClr val="353535"/>
                </a:solidFill>
                <a:latin typeface="Segoe UI" panose="020B0502040204020203" pitchFamily="34" charset="0"/>
                <a:ea typeface="Segoe UI" panose="020B0502040204020203" pitchFamily="34" charset="0"/>
                <a:cs typeface="Segoe UI" panose="020B0502040204020203" pitchFamily="34" charset="0"/>
              </a:rPr>
            </a:br>
            <a:r>
              <a:rPr lang="en-US" dirty="0">
                <a:solidFill>
                  <a:srgbClr val="353535"/>
                </a:solidFill>
                <a:latin typeface="Segoe UI" panose="020B0502040204020203" pitchFamily="34" charset="0"/>
                <a:ea typeface="Segoe UI" panose="020B0502040204020203" pitchFamily="34" charset="0"/>
                <a:cs typeface="Segoe UI" panose="020B0502040204020203" pitchFamily="34" charset="0"/>
              </a:rPr>
              <a:t>that run on-premises or in any cloud</a:t>
            </a:r>
          </a:p>
          <a:p>
            <a:pPr defTabSz="914011" fontAlgn="base">
              <a:spcAft>
                <a:spcPts val="1200"/>
              </a:spcAft>
            </a:pPr>
            <a:r>
              <a:rPr lang="en-US" dirty="0">
                <a:solidFill>
                  <a:srgbClr val="353535"/>
                </a:solidFill>
                <a:latin typeface="Segoe UI" panose="020B0502040204020203" pitchFamily="34" charset="0"/>
                <a:ea typeface="Segoe UI" panose="020B0502040204020203" pitchFamily="34" charset="0"/>
                <a:cs typeface="Segoe UI" panose="020B0502040204020203" pitchFamily="34" charset="0"/>
              </a:rPr>
              <a:t>Open-source authentication libraries:</a:t>
            </a:r>
          </a:p>
          <a:p>
            <a:pPr defTabSz="914011" fontAlgn="base">
              <a:spcAft>
                <a:spcPts val="1200"/>
              </a:spcAft>
            </a:pPr>
            <a:r>
              <a:rPr lang="en-US" dirty="0">
                <a:solidFill>
                  <a:srgbClr val="353535"/>
                </a:solidFill>
                <a:latin typeface="Segoe UI" panose="020B0502040204020203" pitchFamily="34" charset="0"/>
                <a:ea typeface="Segoe UI" panose="020B0502040204020203" pitchFamily="34" charset="0"/>
                <a:cs typeface="Segoe UI" panose="020B0502040204020203" pitchFamily="34" charset="0"/>
              </a:rPr>
              <a:t>.NET, iOS, Android, and JavaScript</a:t>
            </a:r>
          </a:p>
          <a:p>
            <a:pPr defTabSz="914011" fontAlgn="base">
              <a:spcAft>
                <a:spcPts val="1200"/>
              </a:spcAft>
            </a:pPr>
            <a:r>
              <a:rPr lang="en-US" dirty="0">
                <a:solidFill>
                  <a:srgbClr val="353535"/>
                </a:solidFill>
                <a:latin typeface="Segoe UI" panose="020B0502040204020203" pitchFamily="34" charset="0"/>
                <a:ea typeface="Segoe UI" panose="020B0502040204020203" pitchFamily="34" charset="0"/>
                <a:cs typeface="Segoe UI" panose="020B0502040204020203" pitchFamily="34" charset="0"/>
              </a:rPr>
              <a:t>Enterprise, Consumer apps</a:t>
            </a:r>
          </a:p>
        </p:txBody>
      </p:sp>
      <p:sp>
        <p:nvSpPr>
          <p:cNvPr id="37" name="Rectangle: Rounded Corners 36">
            <a:extLst>
              <a:ext uri="{FF2B5EF4-FFF2-40B4-BE49-F238E27FC236}">
                <a16:creationId xmlns:a16="http://schemas.microsoft.com/office/drawing/2014/main" id="{858AF78F-1EC8-4121-94B1-2E517BAE3D82}"/>
              </a:ext>
            </a:extLst>
          </p:cNvPr>
          <p:cNvSpPr>
            <a:spLocks/>
          </p:cNvSpPr>
          <p:nvPr/>
        </p:nvSpPr>
        <p:spPr bwMode="auto">
          <a:xfrm>
            <a:off x="4689814" y="2778804"/>
            <a:ext cx="3145028" cy="1989189"/>
          </a:xfrm>
          <a:prstGeom prst="roundRect">
            <a:avLst>
              <a:gd name="adj" fmla="val 6771"/>
            </a:avLst>
          </a:prstGeom>
          <a:solidFill>
            <a:schemeClr val="tx1">
              <a:alpha val="5000"/>
            </a:schemeClr>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89859" tIns="71887" rIns="89859" bIns="71887" numCol="1" spcCol="0" rtlCol="0" fromWordArt="0" anchor="t" anchorCtr="0" forceAA="0" compatLnSpc="1">
            <a:prstTxWarp prst="textNoShape">
              <a:avLst/>
            </a:prstTxWarp>
            <a:noAutofit/>
          </a:bodyPr>
          <a:lstStyle/>
          <a:p>
            <a:pPr algn="ctr" defTabSz="458240" fontAlgn="base">
              <a:lnSpc>
                <a:spcPct val="90000"/>
              </a:lnSpc>
              <a:spcBef>
                <a:spcPct val="0"/>
              </a:spcBef>
              <a:spcAft>
                <a:spcPct val="0"/>
              </a:spcAft>
              <a:defRPr/>
            </a:pPr>
            <a:endParaRPr lang="en-US" sz="1179"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TextBox 37">
            <a:extLst>
              <a:ext uri="{FF2B5EF4-FFF2-40B4-BE49-F238E27FC236}">
                <a16:creationId xmlns:a16="http://schemas.microsoft.com/office/drawing/2014/main" id="{9C9BE0D1-5920-4EDE-9B80-F3AAB637D4EF}"/>
              </a:ext>
            </a:extLst>
          </p:cNvPr>
          <p:cNvSpPr txBox="1"/>
          <p:nvPr/>
        </p:nvSpPr>
        <p:spPr>
          <a:xfrm>
            <a:off x="6720889" y="4480832"/>
            <a:ext cx="1048586" cy="281288"/>
          </a:xfrm>
          <a:prstGeom prst="rect">
            <a:avLst/>
          </a:prstGeom>
          <a:noFill/>
        </p:spPr>
        <p:txBody>
          <a:bodyPr wrap="none" lIns="89859" tIns="71887" rIns="89859" bIns="71887" rtlCol="0">
            <a:spAutoFit/>
          </a:bodyPr>
          <a:lstStyle/>
          <a:p>
            <a:pPr defTabSz="458372">
              <a:lnSpc>
                <a:spcPct val="90000"/>
              </a:lnSpc>
              <a:spcAft>
                <a:spcPts val="294"/>
              </a:spcAft>
              <a:defRPr/>
            </a:pPr>
            <a:r>
              <a:rPr lang="en-US" sz="983">
                <a:gradFill>
                  <a:gsLst>
                    <a:gs pos="2917">
                      <a:srgbClr val="505050"/>
                    </a:gs>
                    <a:gs pos="30000">
                      <a:srgbClr val="505050"/>
                    </a:gs>
                  </a:gsLst>
                  <a:lin ang="5400000" scaled="0"/>
                </a:gradFill>
                <a:latin typeface="Segoe UI" charset="0"/>
                <a:ea typeface="Segoe UI" charset="0"/>
                <a:cs typeface="Segoe UI" charset="0"/>
              </a:rPr>
              <a:t>“</a:t>
            </a:r>
            <a:r>
              <a:rPr lang="en-US" sz="983" i="1">
                <a:gradFill>
                  <a:gsLst>
                    <a:gs pos="2917">
                      <a:srgbClr val="505050"/>
                    </a:gs>
                    <a:gs pos="30000">
                      <a:srgbClr val="505050"/>
                    </a:gs>
                  </a:gsLst>
                  <a:lin ang="5400000" scaled="0"/>
                </a:gradFill>
                <a:latin typeface="Segoe UI" charset="0"/>
                <a:ea typeface="Segoe UI" charset="0"/>
                <a:cs typeface="Segoe UI" charset="0"/>
              </a:rPr>
              <a:t>Identity Fabric”</a:t>
            </a:r>
            <a:endParaRPr lang="en-US" sz="983">
              <a:gradFill>
                <a:gsLst>
                  <a:gs pos="2917">
                    <a:srgbClr val="505050"/>
                  </a:gs>
                  <a:gs pos="30000">
                    <a:srgbClr val="505050"/>
                  </a:gs>
                </a:gsLst>
                <a:lin ang="5400000" scaled="0"/>
              </a:gradFill>
              <a:latin typeface="Segoe UI" charset="0"/>
              <a:ea typeface="Segoe UI" charset="0"/>
              <a:cs typeface="Segoe UI" charset="0"/>
            </a:endParaRPr>
          </a:p>
        </p:txBody>
      </p:sp>
      <p:grpSp>
        <p:nvGrpSpPr>
          <p:cNvPr id="39" name="User">
            <a:extLst>
              <a:ext uri="{FF2B5EF4-FFF2-40B4-BE49-F238E27FC236}">
                <a16:creationId xmlns:a16="http://schemas.microsoft.com/office/drawing/2014/main" id="{05C6C2BB-A74F-403F-A269-5EECFA6ABF7B}"/>
              </a:ext>
            </a:extLst>
          </p:cNvPr>
          <p:cNvGrpSpPr>
            <a:grpSpLocks noChangeAspect="1"/>
          </p:cNvGrpSpPr>
          <p:nvPr/>
        </p:nvGrpSpPr>
        <p:grpSpPr>
          <a:xfrm>
            <a:off x="5926115" y="3417711"/>
            <a:ext cx="603417" cy="603417"/>
            <a:chOff x="5604197" y="2883222"/>
            <a:chExt cx="1228080" cy="1228080"/>
          </a:xfrm>
        </p:grpSpPr>
        <p:sp useBgFill="1">
          <p:nvSpPr>
            <p:cNvPr id="40" name="Oval 39">
              <a:extLst>
                <a:ext uri="{FF2B5EF4-FFF2-40B4-BE49-F238E27FC236}">
                  <a16:creationId xmlns:a16="http://schemas.microsoft.com/office/drawing/2014/main" id="{8BD1C334-1686-46CC-8ADC-36BC73CEC605}"/>
                </a:ext>
              </a:extLst>
            </p:cNvPr>
            <p:cNvSpPr/>
            <p:nvPr/>
          </p:nvSpPr>
          <p:spPr bwMode="auto">
            <a:xfrm>
              <a:off x="5604197" y="2883222"/>
              <a:ext cx="1228080" cy="1228080"/>
            </a:xfrm>
            <a:prstGeom prst="ellipse">
              <a:avLst/>
            </a:prstGeom>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859" tIns="71887" rIns="89859" bIns="71887" numCol="1" spcCol="0" rtlCol="0" fromWordArt="0" anchor="t" anchorCtr="0" forceAA="0" compatLnSpc="1">
              <a:prstTxWarp prst="textNoShape">
                <a:avLst/>
              </a:prstTxWarp>
              <a:noAutofit/>
            </a:bodyPr>
            <a:lstStyle/>
            <a:p>
              <a:pPr algn="ctr" defTabSz="458240" fontAlgn="base">
                <a:lnSpc>
                  <a:spcPct val="90000"/>
                </a:lnSpc>
                <a:spcBef>
                  <a:spcPct val="0"/>
                </a:spcBef>
                <a:spcAft>
                  <a:spcPct val="0"/>
                </a:spcAft>
              </a:pPr>
              <a:endParaRPr lang="en-US" sz="117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1" name="Group 40">
              <a:extLst>
                <a:ext uri="{FF2B5EF4-FFF2-40B4-BE49-F238E27FC236}">
                  <a16:creationId xmlns:a16="http://schemas.microsoft.com/office/drawing/2014/main" id="{B074E295-5E8D-42D9-A222-B6164B5DE85B}"/>
                </a:ext>
              </a:extLst>
            </p:cNvPr>
            <p:cNvGrpSpPr>
              <a:grpSpLocks noChangeAspect="1"/>
            </p:cNvGrpSpPr>
            <p:nvPr/>
          </p:nvGrpSpPr>
          <p:grpSpPr>
            <a:xfrm>
              <a:off x="5823280" y="3040062"/>
              <a:ext cx="789915" cy="914400"/>
              <a:chOff x="1276787" y="2998761"/>
              <a:chExt cx="326341" cy="377770"/>
            </a:xfrm>
          </p:grpSpPr>
          <p:sp>
            <p:nvSpPr>
              <p:cNvPr id="42" name="Oval 8">
                <a:extLst>
                  <a:ext uri="{FF2B5EF4-FFF2-40B4-BE49-F238E27FC236}">
                    <a16:creationId xmlns:a16="http://schemas.microsoft.com/office/drawing/2014/main" id="{4536A4EA-0B52-4842-92C4-FFC7FF6289D8}"/>
                  </a:ext>
                </a:extLst>
              </p:cNvPr>
              <p:cNvSpPr>
                <a:spLocks noChangeArrowheads="1"/>
              </p:cNvSpPr>
              <p:nvPr/>
            </p:nvSpPr>
            <p:spPr bwMode="auto">
              <a:xfrm>
                <a:off x="1324255" y="2998761"/>
                <a:ext cx="231405" cy="222712"/>
              </a:xfrm>
              <a:prstGeom prst="ellipse">
                <a:avLst/>
              </a:prstGeom>
              <a:noFill/>
              <a:ln w="12700" cap="flat">
                <a:solidFill>
                  <a:schemeClr val="accent4"/>
                </a:solidFill>
                <a:prstDash val="solid"/>
                <a:miter lim="800000"/>
                <a:headEnd/>
                <a:tailEnd/>
              </a:ln>
              <a:extLst/>
            </p:spPr>
            <p:txBody>
              <a:bodyPr vert="horz" wrap="square" lIns="45823" tIns="22911" rIns="45823" bIns="22911" numCol="1" anchor="t" anchorCtr="0" compatLnSpc="1">
                <a:prstTxWarp prst="textNoShape">
                  <a:avLst/>
                </a:prstTxWarp>
              </a:bodyPr>
              <a:lstStyle/>
              <a:p>
                <a:pPr defTabSz="458372"/>
                <a:endParaRPr lang="en-US" sz="902">
                  <a:solidFill>
                    <a:srgbClr val="353535"/>
                  </a:solidFill>
                  <a:latin typeface="Segoe UI Semilight"/>
                </a:endParaRPr>
              </a:p>
            </p:txBody>
          </p:sp>
          <p:sp>
            <p:nvSpPr>
              <p:cNvPr id="43" name="Freeform 9">
                <a:extLst>
                  <a:ext uri="{FF2B5EF4-FFF2-40B4-BE49-F238E27FC236}">
                    <a16:creationId xmlns:a16="http://schemas.microsoft.com/office/drawing/2014/main" id="{30E7E504-3E65-4A5B-9351-9DAB4C8F1E54}"/>
                  </a:ext>
                </a:extLst>
              </p:cNvPr>
              <p:cNvSpPr>
                <a:spLocks/>
              </p:cNvSpPr>
              <p:nvPr/>
            </p:nvSpPr>
            <p:spPr bwMode="auto">
              <a:xfrm>
                <a:off x="1276787" y="3221478"/>
                <a:ext cx="326341" cy="155053"/>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chemeClr val="accent4"/>
                </a:solidFill>
                <a:prstDash val="solid"/>
                <a:miter lim="800000"/>
                <a:headEnd/>
                <a:tailEnd/>
              </a:ln>
              <a:extLst/>
            </p:spPr>
            <p:txBody>
              <a:bodyPr vert="horz" wrap="square" lIns="45823" tIns="22911" rIns="45823" bIns="22911" numCol="1" anchor="t" anchorCtr="0" compatLnSpc="1">
                <a:prstTxWarp prst="textNoShape">
                  <a:avLst/>
                </a:prstTxWarp>
              </a:bodyPr>
              <a:lstStyle/>
              <a:p>
                <a:pPr defTabSz="458372"/>
                <a:endParaRPr lang="en-US" sz="902">
                  <a:solidFill>
                    <a:srgbClr val="353535"/>
                  </a:solidFill>
                  <a:latin typeface="Segoe UI Semilight"/>
                </a:endParaRPr>
              </a:p>
            </p:txBody>
          </p:sp>
        </p:grpSp>
      </p:grpSp>
      <p:sp useBgFill="1">
        <p:nvSpPr>
          <p:cNvPr id="44" name="Phone">
            <a:extLst>
              <a:ext uri="{FF2B5EF4-FFF2-40B4-BE49-F238E27FC236}">
                <a16:creationId xmlns:a16="http://schemas.microsoft.com/office/drawing/2014/main" id="{1274BF38-6AD9-44F5-BC49-45A228E1C0C7}"/>
              </a:ext>
            </a:extLst>
          </p:cNvPr>
          <p:cNvSpPr>
            <a:spLocks noEditPoints="1"/>
          </p:cNvSpPr>
          <p:nvPr/>
        </p:nvSpPr>
        <p:spPr bwMode="auto">
          <a:xfrm>
            <a:off x="6152944" y="3000606"/>
            <a:ext cx="166586" cy="27705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ln w="12700" cap="flat">
            <a:solidFill>
              <a:schemeClr val="tx1"/>
            </a:solidFill>
            <a:prstDash val="solid"/>
            <a:miter lim="800000"/>
            <a:headEnd/>
            <a:tailEnd/>
          </a:ln>
          <a:extLst/>
        </p:spPr>
        <p:txBody>
          <a:bodyPr vert="horz" wrap="square" lIns="44045" tIns="22023" rIns="44045" bIns="22023" numCol="1" anchor="t" anchorCtr="0" compatLnSpc="1">
            <a:prstTxWarp prst="textNoShape">
              <a:avLst/>
            </a:prstTxWarp>
          </a:bodyPr>
          <a:lstStyle/>
          <a:p>
            <a:pPr defTabSz="440506">
              <a:defRPr/>
            </a:pPr>
            <a:endParaRPr lang="en-US" sz="867" kern="0">
              <a:solidFill>
                <a:sysClr val="windowText" lastClr="000000"/>
              </a:solidFill>
              <a:latin typeface="Segoe UI Semilight"/>
            </a:endParaRPr>
          </a:p>
        </p:txBody>
      </p:sp>
      <p:sp useBgFill="1">
        <p:nvSpPr>
          <p:cNvPr id="45" name="Laptop">
            <a:extLst>
              <a:ext uri="{FF2B5EF4-FFF2-40B4-BE49-F238E27FC236}">
                <a16:creationId xmlns:a16="http://schemas.microsoft.com/office/drawing/2014/main" id="{04C5EB83-1CBE-4FB8-9D19-CC8A2E7CC6D9}"/>
              </a:ext>
            </a:extLst>
          </p:cNvPr>
          <p:cNvSpPr>
            <a:spLocks noEditPoints="1"/>
          </p:cNvSpPr>
          <p:nvPr/>
        </p:nvSpPr>
        <p:spPr bwMode="auto">
          <a:xfrm>
            <a:off x="6021972" y="4134237"/>
            <a:ext cx="411703" cy="27451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44045" tIns="22023" rIns="44045" bIns="22023" numCol="1" anchor="t" anchorCtr="0" compatLnSpc="1">
            <a:prstTxWarp prst="textNoShape">
              <a:avLst/>
            </a:prstTxWarp>
          </a:bodyPr>
          <a:lstStyle/>
          <a:p>
            <a:pPr defTabSz="440506">
              <a:defRPr/>
            </a:pPr>
            <a:endParaRPr lang="en-US" sz="867" kern="0">
              <a:solidFill>
                <a:sysClr val="windowText" lastClr="000000"/>
              </a:solidFill>
              <a:latin typeface="Segoe UI Semilight"/>
            </a:endParaRPr>
          </a:p>
        </p:txBody>
      </p:sp>
      <p:grpSp>
        <p:nvGrpSpPr>
          <p:cNvPr id="66" name="Group 65">
            <a:extLst>
              <a:ext uri="{FF2B5EF4-FFF2-40B4-BE49-F238E27FC236}">
                <a16:creationId xmlns:a16="http://schemas.microsoft.com/office/drawing/2014/main" id="{D3781472-7D87-4D0E-A2D9-617BABE1494E}"/>
              </a:ext>
            </a:extLst>
          </p:cNvPr>
          <p:cNvGrpSpPr/>
          <p:nvPr/>
        </p:nvGrpSpPr>
        <p:grpSpPr>
          <a:xfrm>
            <a:off x="6173786" y="3028385"/>
            <a:ext cx="126676" cy="186521"/>
            <a:chOff x="6904862" y="5736031"/>
            <a:chExt cx="275096" cy="405067"/>
          </a:xfrm>
        </p:grpSpPr>
        <p:sp useBgFill="1">
          <p:nvSpPr>
            <p:cNvPr id="67" name="Cloud app">
              <a:extLst>
                <a:ext uri="{FF2B5EF4-FFF2-40B4-BE49-F238E27FC236}">
                  <a16:creationId xmlns:a16="http://schemas.microsoft.com/office/drawing/2014/main" id="{0EF33D5E-6DEF-4C28-B489-4948028E8298}"/>
                </a:ext>
              </a:extLst>
            </p:cNvPr>
            <p:cNvSpPr/>
            <p:nvPr/>
          </p:nvSpPr>
          <p:spPr bwMode="auto">
            <a:xfrm>
              <a:off x="6904862" y="5736031"/>
              <a:ext cx="275096" cy="15183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859" tIns="71887" rIns="89859" bIns="71887" numCol="1" spcCol="0" rtlCol="0" fromWordArt="0" anchor="t" anchorCtr="0" forceAA="0" compatLnSpc="1">
              <a:prstTxWarp prst="textNoShape">
                <a:avLst/>
              </a:prstTxWarp>
              <a:noAutofit/>
            </a:bodyPr>
            <a:lstStyle/>
            <a:p>
              <a:pPr algn="ctr" defTabSz="458240" fontAlgn="base">
                <a:lnSpc>
                  <a:spcPct val="90000"/>
                </a:lnSpc>
                <a:spcBef>
                  <a:spcPct val="0"/>
                </a:spcBef>
                <a:spcAft>
                  <a:spcPct val="0"/>
                </a:spcAft>
                <a:defRPr/>
              </a:pPr>
              <a:endParaRPr lang="en-US" sz="1376"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8" name="On prem app">
              <a:extLst>
                <a:ext uri="{FF2B5EF4-FFF2-40B4-BE49-F238E27FC236}">
                  <a16:creationId xmlns:a16="http://schemas.microsoft.com/office/drawing/2014/main" id="{54891506-37B7-49B3-B076-F286BD5C9BF4}"/>
                </a:ext>
              </a:extLst>
            </p:cNvPr>
            <p:cNvGrpSpPr/>
            <p:nvPr/>
          </p:nvGrpSpPr>
          <p:grpSpPr>
            <a:xfrm>
              <a:off x="6935385" y="5927113"/>
              <a:ext cx="214051" cy="213985"/>
              <a:chOff x="-133771" y="-1448341"/>
              <a:chExt cx="9232900" cy="9229725"/>
            </a:xfrm>
            <a:solidFill>
              <a:srgbClr val="FFFFFF"/>
            </a:solidFill>
          </p:grpSpPr>
          <p:sp>
            <p:nvSpPr>
              <p:cNvPr id="70" name="Freeform 9">
                <a:extLst>
                  <a:ext uri="{FF2B5EF4-FFF2-40B4-BE49-F238E27FC236}">
                    <a16:creationId xmlns:a16="http://schemas.microsoft.com/office/drawing/2014/main" id="{77EFA8FC-C741-47DF-941D-CD7A0A160175}"/>
                  </a:ext>
                </a:extLst>
              </p:cNvPr>
              <p:cNvSpPr>
                <a:spLocks/>
              </p:cNvSpPr>
              <p:nvPr/>
            </p:nvSpPr>
            <p:spPr bwMode="auto">
              <a:xfrm>
                <a:off x="2074471" y="870657"/>
                <a:ext cx="2589254" cy="2587706"/>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885" kern="0">
                  <a:solidFill>
                    <a:sysClr val="windowText" lastClr="000000"/>
                  </a:solidFill>
                  <a:latin typeface="Segoe UI Semilight"/>
                </a:endParaRPr>
              </a:p>
            </p:txBody>
          </p:sp>
          <p:sp>
            <p:nvSpPr>
              <p:cNvPr id="71" name="Freeform 10">
                <a:extLst>
                  <a:ext uri="{FF2B5EF4-FFF2-40B4-BE49-F238E27FC236}">
                    <a16:creationId xmlns:a16="http://schemas.microsoft.com/office/drawing/2014/main" id="{04A53D68-5151-47BB-8BDF-7929E7D05C0A}"/>
                  </a:ext>
                </a:extLst>
              </p:cNvPr>
              <p:cNvSpPr>
                <a:spLocks noEditPoints="1"/>
              </p:cNvSpPr>
              <p:nvPr/>
            </p:nvSpPr>
            <p:spPr bwMode="auto">
              <a:xfrm>
                <a:off x="-133771" y="-1448341"/>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885" kern="0">
                  <a:solidFill>
                    <a:sysClr val="windowText" lastClr="000000"/>
                  </a:solidFill>
                  <a:latin typeface="Segoe UI Semilight"/>
                </a:endParaRPr>
              </a:p>
            </p:txBody>
          </p:sp>
        </p:grpSp>
      </p:grpSp>
      <p:grpSp>
        <p:nvGrpSpPr>
          <p:cNvPr id="72" name="Group 71">
            <a:extLst>
              <a:ext uri="{FF2B5EF4-FFF2-40B4-BE49-F238E27FC236}">
                <a16:creationId xmlns:a16="http://schemas.microsoft.com/office/drawing/2014/main" id="{12E818E1-08DF-4452-9437-62361CF534BA}"/>
              </a:ext>
            </a:extLst>
          </p:cNvPr>
          <p:cNvGrpSpPr/>
          <p:nvPr/>
        </p:nvGrpSpPr>
        <p:grpSpPr>
          <a:xfrm>
            <a:off x="6099520" y="4172222"/>
            <a:ext cx="256609" cy="113212"/>
            <a:chOff x="6104670" y="5950387"/>
            <a:chExt cx="575301" cy="261291"/>
          </a:xfrm>
        </p:grpSpPr>
        <p:sp useBgFill="1">
          <p:nvSpPr>
            <p:cNvPr id="73" name="Cloud app">
              <a:extLst>
                <a:ext uri="{FF2B5EF4-FFF2-40B4-BE49-F238E27FC236}">
                  <a16:creationId xmlns:a16="http://schemas.microsoft.com/office/drawing/2014/main" id="{EFB46B3D-E5BC-44A9-BC8A-7E2268E51A4D}"/>
                </a:ext>
              </a:extLst>
            </p:cNvPr>
            <p:cNvSpPr/>
            <p:nvPr/>
          </p:nvSpPr>
          <p:spPr bwMode="auto">
            <a:xfrm>
              <a:off x="6404875" y="6005116"/>
              <a:ext cx="275096" cy="151833"/>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859" tIns="71887" rIns="89859" bIns="71887" numCol="1" spcCol="0" rtlCol="0" fromWordArt="0" anchor="t" anchorCtr="0" forceAA="0" compatLnSpc="1">
              <a:prstTxWarp prst="textNoShape">
                <a:avLst/>
              </a:prstTxWarp>
              <a:noAutofit/>
            </a:bodyPr>
            <a:lstStyle/>
            <a:p>
              <a:pPr algn="ctr" defTabSz="458240" fontAlgn="base">
                <a:lnSpc>
                  <a:spcPct val="90000"/>
                </a:lnSpc>
                <a:spcBef>
                  <a:spcPct val="0"/>
                </a:spcBef>
                <a:spcAft>
                  <a:spcPct val="0"/>
                </a:spcAft>
                <a:defRPr/>
              </a:pPr>
              <a:endParaRPr lang="en-US" sz="1376"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4" name="On prem app">
              <a:extLst>
                <a:ext uri="{FF2B5EF4-FFF2-40B4-BE49-F238E27FC236}">
                  <a16:creationId xmlns:a16="http://schemas.microsoft.com/office/drawing/2014/main" id="{0B7A1D72-FC64-4E84-B109-495C92C03237}"/>
                </a:ext>
              </a:extLst>
            </p:cNvPr>
            <p:cNvGrpSpPr/>
            <p:nvPr/>
          </p:nvGrpSpPr>
          <p:grpSpPr>
            <a:xfrm>
              <a:off x="6104670" y="5950387"/>
              <a:ext cx="261372" cy="261291"/>
              <a:chOff x="-133771" y="-444418"/>
              <a:chExt cx="9232900" cy="9229725"/>
            </a:xfrm>
            <a:solidFill>
              <a:srgbClr val="FFFFFF"/>
            </a:solidFill>
          </p:grpSpPr>
          <p:sp>
            <p:nvSpPr>
              <p:cNvPr id="75" name="Freeform 9">
                <a:extLst>
                  <a:ext uri="{FF2B5EF4-FFF2-40B4-BE49-F238E27FC236}">
                    <a16:creationId xmlns:a16="http://schemas.microsoft.com/office/drawing/2014/main" id="{6C5524F1-BCF2-4519-B8D9-F06B57D9E7B2}"/>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885" kern="0">
                  <a:solidFill>
                    <a:sysClr val="windowText" lastClr="000000"/>
                  </a:solidFill>
                  <a:latin typeface="Segoe UI Semilight"/>
                </a:endParaRPr>
              </a:p>
            </p:txBody>
          </p:sp>
          <p:sp>
            <p:nvSpPr>
              <p:cNvPr id="76" name="Freeform 10">
                <a:extLst>
                  <a:ext uri="{FF2B5EF4-FFF2-40B4-BE49-F238E27FC236}">
                    <a16:creationId xmlns:a16="http://schemas.microsoft.com/office/drawing/2014/main" id="{93DE3632-1757-46FF-A393-5E08022D5BC9}"/>
                  </a:ext>
                </a:extLst>
              </p:cNvPr>
              <p:cNvSpPr>
                <a:spLocks noEditPoints="1"/>
              </p:cNvSpPr>
              <p:nvPr/>
            </p:nvSpPr>
            <p:spPr bwMode="auto">
              <a:xfrm>
                <a:off x="-133771"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885" kern="0">
                  <a:solidFill>
                    <a:sysClr val="windowText" lastClr="000000"/>
                  </a:solidFill>
                  <a:latin typeface="Segoe UI Semilight"/>
                </a:endParaRPr>
              </a:p>
            </p:txBody>
          </p:sp>
        </p:grpSp>
      </p:grpSp>
      <p:sp>
        <p:nvSpPr>
          <p:cNvPr id="77" name="Arc 76">
            <a:extLst>
              <a:ext uri="{FF2B5EF4-FFF2-40B4-BE49-F238E27FC236}">
                <a16:creationId xmlns:a16="http://schemas.microsoft.com/office/drawing/2014/main" id="{6A274E4A-1C9A-4B4F-845F-AD11B3DFD5C9}"/>
              </a:ext>
            </a:extLst>
          </p:cNvPr>
          <p:cNvSpPr/>
          <p:nvPr/>
        </p:nvSpPr>
        <p:spPr>
          <a:xfrm>
            <a:off x="4969015" y="3156440"/>
            <a:ext cx="2220817" cy="1146494"/>
          </a:xfrm>
          <a:prstGeom prst="arc">
            <a:avLst>
              <a:gd name="adj1" fmla="val 5469426"/>
              <a:gd name="adj2" fmla="val 16235125"/>
            </a:avLst>
          </a:prstGeom>
          <a:ln w="1905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458372"/>
            <a:endParaRPr lang="en-US" sz="885">
              <a:solidFill>
                <a:srgbClr val="353535"/>
              </a:solidFill>
              <a:latin typeface="Segoe UI Semilight"/>
            </a:endParaRPr>
          </a:p>
        </p:txBody>
      </p:sp>
      <p:sp>
        <p:nvSpPr>
          <p:cNvPr id="78" name="Arc 77">
            <a:extLst>
              <a:ext uri="{FF2B5EF4-FFF2-40B4-BE49-F238E27FC236}">
                <a16:creationId xmlns:a16="http://schemas.microsoft.com/office/drawing/2014/main" id="{E0EFEF70-DC98-4A08-A0FA-AE71B4ACB770}"/>
              </a:ext>
            </a:extLst>
          </p:cNvPr>
          <p:cNvSpPr/>
          <p:nvPr/>
        </p:nvSpPr>
        <p:spPr>
          <a:xfrm flipH="1">
            <a:off x="5272877" y="3156440"/>
            <a:ext cx="2220817" cy="1146494"/>
          </a:xfrm>
          <a:prstGeom prst="arc">
            <a:avLst>
              <a:gd name="adj1" fmla="val 5469426"/>
              <a:gd name="adj2" fmla="val 16235125"/>
            </a:avLst>
          </a:prstGeom>
          <a:ln w="1905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458372"/>
            <a:endParaRPr lang="en-US" sz="885">
              <a:solidFill>
                <a:srgbClr val="353535"/>
              </a:solidFill>
              <a:latin typeface="Segoe UI Semilight"/>
            </a:endParaRPr>
          </a:p>
        </p:txBody>
      </p:sp>
      <p:grpSp>
        <p:nvGrpSpPr>
          <p:cNvPr id="79" name="Group 78">
            <a:extLst>
              <a:ext uri="{FF2B5EF4-FFF2-40B4-BE49-F238E27FC236}">
                <a16:creationId xmlns:a16="http://schemas.microsoft.com/office/drawing/2014/main" id="{ED1F7FDC-050F-46AE-8B33-2DBE77591432}"/>
              </a:ext>
            </a:extLst>
          </p:cNvPr>
          <p:cNvGrpSpPr/>
          <p:nvPr/>
        </p:nvGrpSpPr>
        <p:grpSpPr>
          <a:xfrm>
            <a:off x="6947020" y="3170831"/>
            <a:ext cx="1110421" cy="678746"/>
            <a:chOff x="5195350" y="2681334"/>
            <a:chExt cx="1353167" cy="827126"/>
          </a:xfrm>
        </p:grpSpPr>
        <p:sp>
          <p:nvSpPr>
            <p:cNvPr id="80" name="App cloud">
              <a:extLst>
                <a:ext uri="{FF2B5EF4-FFF2-40B4-BE49-F238E27FC236}">
                  <a16:creationId xmlns:a16="http://schemas.microsoft.com/office/drawing/2014/main" id="{8E42ABCC-2B4A-4EF4-B769-6F3FE9346190}"/>
                </a:ext>
              </a:extLst>
            </p:cNvPr>
            <p:cNvSpPr/>
            <p:nvPr/>
          </p:nvSpPr>
          <p:spPr bwMode="auto">
            <a:xfrm>
              <a:off x="5426741" y="2681334"/>
              <a:ext cx="1121776" cy="61913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blipFill>
              <a:blip r:embed="rId7"/>
              <a:stretch>
                <a:fillRect/>
              </a:stretch>
            </a:blip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859" tIns="71887" rIns="89859" bIns="71887" numCol="1" spcCol="0" rtlCol="0" fromWordArt="0" anchor="t" anchorCtr="0" forceAA="0" compatLnSpc="1">
              <a:prstTxWarp prst="textNoShape">
                <a:avLst/>
              </a:prstTxWarp>
              <a:noAutofit/>
            </a:bodyPr>
            <a:lstStyle/>
            <a:p>
              <a:pPr algn="ctr" defTabSz="458240" fontAlgn="base">
                <a:lnSpc>
                  <a:spcPct val="90000"/>
                </a:lnSpc>
                <a:spcBef>
                  <a:spcPct val="0"/>
                </a:spcBef>
                <a:spcAft>
                  <a:spcPct val="0"/>
                </a:spcAft>
                <a:defRPr/>
              </a:pPr>
              <a:endParaRPr lang="en-US" sz="11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useBgFill="1">
          <p:nvSpPr>
            <p:cNvPr id="81" name="Cloud">
              <a:extLst>
                <a:ext uri="{FF2B5EF4-FFF2-40B4-BE49-F238E27FC236}">
                  <a16:creationId xmlns:a16="http://schemas.microsoft.com/office/drawing/2014/main" id="{61378653-B3E3-4F1B-B97A-E0A0AF22A35F}"/>
                </a:ext>
              </a:extLst>
            </p:cNvPr>
            <p:cNvSpPr/>
            <p:nvPr/>
          </p:nvSpPr>
          <p:spPr bwMode="auto">
            <a:xfrm>
              <a:off x="5195350" y="2769339"/>
              <a:ext cx="1339168" cy="739121"/>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859" tIns="71887" rIns="89859" bIns="71887" numCol="1" spcCol="0" rtlCol="0" fromWordArt="0" anchor="t" anchorCtr="0" forceAA="0" compatLnSpc="1">
              <a:prstTxWarp prst="textNoShape">
                <a:avLst/>
              </a:prstTxWarp>
              <a:noAutofit/>
            </a:bodyPr>
            <a:lstStyle/>
            <a:p>
              <a:pPr algn="ctr" defTabSz="458240" fontAlgn="base">
                <a:lnSpc>
                  <a:spcPct val="90000"/>
                </a:lnSpc>
                <a:spcBef>
                  <a:spcPct val="0"/>
                </a:spcBef>
                <a:spcAft>
                  <a:spcPct val="0"/>
                </a:spcAft>
                <a:defRPr/>
              </a:pPr>
              <a:endParaRPr lang="en-US" sz="11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Cloud text">
              <a:extLst>
                <a:ext uri="{FF2B5EF4-FFF2-40B4-BE49-F238E27FC236}">
                  <a16:creationId xmlns:a16="http://schemas.microsoft.com/office/drawing/2014/main" id="{CB263439-D52D-4C31-8D37-996CE85D65ED}"/>
                </a:ext>
              </a:extLst>
            </p:cNvPr>
            <p:cNvSpPr txBox="1">
              <a:spLocks/>
            </p:cNvSpPr>
            <p:nvPr/>
          </p:nvSpPr>
          <p:spPr>
            <a:xfrm>
              <a:off x="5318232" y="3049474"/>
              <a:ext cx="1175391" cy="200410"/>
            </a:xfrm>
            <a:prstGeom prst="rect">
              <a:avLst/>
            </a:prstGeom>
          </p:spPr>
          <p:txBody>
            <a:bodyPr vert="horz" wrap="square" lIns="71887" tIns="44929" rIns="71887" bIns="44929"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458372">
                <a:defRPr/>
              </a:pPr>
              <a:r>
                <a:rPr lang="en-US" sz="800" kern="0" spc="0">
                  <a:solidFill>
                    <a:srgbClr val="002050"/>
                  </a:solidFill>
                  <a:latin typeface="Segoe UI Semilight"/>
                  <a:cs typeface="Segoe UI Semilight" panose="020B0402040204020203" pitchFamily="34" charset="0"/>
                </a:rPr>
                <a:t>Microsoft Azure </a:t>
              </a:r>
              <a:br>
                <a:rPr lang="en-US" sz="800" kern="0" spc="0">
                  <a:solidFill>
                    <a:srgbClr val="002050"/>
                  </a:solidFill>
                  <a:latin typeface="Segoe UI Semilight"/>
                  <a:cs typeface="Segoe UI Semilight" panose="020B0402040204020203" pitchFamily="34" charset="0"/>
                </a:rPr>
              </a:br>
              <a:r>
                <a:rPr lang="en-US" sz="800" kern="0" spc="0">
                  <a:solidFill>
                    <a:srgbClr val="002050"/>
                  </a:solidFill>
                  <a:latin typeface="Segoe UI Semilight"/>
                  <a:cs typeface="Segoe UI Semilight" panose="020B0402040204020203" pitchFamily="34" charset="0"/>
                </a:rPr>
                <a:t>Active Directory</a:t>
              </a:r>
            </a:p>
          </p:txBody>
        </p:sp>
      </p:grpSp>
      <p:grpSp>
        <p:nvGrpSpPr>
          <p:cNvPr id="8" name="Group 7">
            <a:extLst>
              <a:ext uri="{FF2B5EF4-FFF2-40B4-BE49-F238E27FC236}">
                <a16:creationId xmlns:a16="http://schemas.microsoft.com/office/drawing/2014/main" id="{9F3CD57E-6CB2-45B4-94DE-92C94AB6D6C2}"/>
              </a:ext>
            </a:extLst>
          </p:cNvPr>
          <p:cNvGrpSpPr/>
          <p:nvPr/>
        </p:nvGrpSpPr>
        <p:grpSpPr>
          <a:xfrm>
            <a:off x="4473188" y="3668690"/>
            <a:ext cx="587292" cy="611580"/>
            <a:chOff x="4141664" y="2920022"/>
            <a:chExt cx="587367" cy="611658"/>
          </a:xfrm>
        </p:grpSpPr>
        <p:sp useBgFill="1">
          <p:nvSpPr>
            <p:cNvPr id="84" name="Oval 83">
              <a:extLst>
                <a:ext uri="{FF2B5EF4-FFF2-40B4-BE49-F238E27FC236}">
                  <a16:creationId xmlns:a16="http://schemas.microsoft.com/office/drawing/2014/main" id="{9C077D9A-8695-42BB-B42E-6C4A37BB3413}"/>
                </a:ext>
              </a:extLst>
            </p:cNvPr>
            <p:cNvSpPr>
              <a:spLocks/>
            </p:cNvSpPr>
            <p:nvPr/>
          </p:nvSpPr>
          <p:spPr bwMode="auto">
            <a:xfrm>
              <a:off x="4141664" y="2920022"/>
              <a:ext cx="587367" cy="611658"/>
            </a:xfrm>
            <a:prstGeom prst="ellipse">
              <a:avLst/>
            </a:prstGeom>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89859" tIns="71887" rIns="89859" bIns="71887" numCol="1" spcCol="0" rtlCol="0" fromWordArt="0" anchor="t" anchorCtr="0" forceAA="0" compatLnSpc="1">
              <a:prstTxWarp prst="textNoShape">
                <a:avLst/>
              </a:prstTxWarp>
              <a:noAutofit/>
            </a:bodyPr>
            <a:lstStyle/>
            <a:p>
              <a:pPr algn="ctr" defTabSz="458240" fontAlgn="base">
                <a:lnSpc>
                  <a:spcPct val="90000"/>
                </a:lnSpc>
                <a:spcBef>
                  <a:spcPct val="0"/>
                </a:spcBef>
                <a:spcAft>
                  <a:spcPct val="0"/>
                </a:spcAft>
                <a:defRPr/>
              </a:pPr>
              <a:endParaRPr lang="en-US" sz="105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5" name="Group 84">
              <a:extLst>
                <a:ext uri="{FF2B5EF4-FFF2-40B4-BE49-F238E27FC236}">
                  <a16:creationId xmlns:a16="http://schemas.microsoft.com/office/drawing/2014/main" id="{D8C850A1-60B5-4801-84B9-95EFA9B2DAF1}"/>
                </a:ext>
              </a:extLst>
            </p:cNvPr>
            <p:cNvGrpSpPr/>
            <p:nvPr/>
          </p:nvGrpSpPr>
          <p:grpSpPr>
            <a:xfrm>
              <a:off x="4314847" y="3004146"/>
              <a:ext cx="127605" cy="127610"/>
              <a:chOff x="368698" y="3596110"/>
              <a:chExt cx="334255" cy="334255"/>
            </a:xfrm>
          </p:grpSpPr>
          <p:sp>
            <p:nvSpPr>
              <p:cNvPr id="135" name="Rectangle: Rounded Corners 707">
                <a:extLst>
                  <a:ext uri="{FF2B5EF4-FFF2-40B4-BE49-F238E27FC236}">
                    <a16:creationId xmlns:a16="http://schemas.microsoft.com/office/drawing/2014/main" id="{332A5226-C969-4F5F-84D6-815F921F2468}"/>
                  </a:ext>
                </a:extLst>
              </p:cNvPr>
              <p:cNvSpPr/>
              <p:nvPr/>
            </p:nvSpPr>
            <p:spPr bwMode="auto">
              <a:xfrm>
                <a:off x="368698" y="3596110"/>
                <a:ext cx="334255" cy="334255"/>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89859" tIns="71887" rIns="89859" bIns="71887" numCol="1" spcCol="0" rtlCol="0" fromWordArt="0" anchor="t" anchorCtr="0" forceAA="0" compatLnSpc="1">
                <a:prstTxWarp prst="textNoShape">
                  <a:avLst/>
                </a:prstTxWarp>
                <a:noAutofit/>
              </a:bodyPr>
              <a:lstStyle/>
              <a:p>
                <a:pPr algn="ctr" defTabSz="458240"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135">
                <a:extLst>
                  <a:ext uri="{FF2B5EF4-FFF2-40B4-BE49-F238E27FC236}">
                    <a16:creationId xmlns:a16="http://schemas.microsoft.com/office/drawing/2014/main" id="{3CAEE088-C2E7-4A29-ADB8-091644DB4C7C}"/>
                  </a:ext>
                </a:extLst>
              </p:cNvPr>
              <p:cNvGrpSpPr/>
              <p:nvPr/>
            </p:nvGrpSpPr>
            <p:grpSpPr>
              <a:xfrm>
                <a:off x="382033" y="3609497"/>
                <a:ext cx="307586" cy="307480"/>
                <a:chOff x="-133735" y="-444418"/>
                <a:chExt cx="9232900" cy="9229725"/>
              </a:xfrm>
              <a:solidFill>
                <a:srgbClr val="FFFFFF"/>
              </a:solidFill>
            </p:grpSpPr>
            <p:sp>
              <p:nvSpPr>
                <p:cNvPr id="137" name="Freeform 9">
                  <a:extLst>
                    <a:ext uri="{FF2B5EF4-FFF2-40B4-BE49-F238E27FC236}">
                      <a16:creationId xmlns:a16="http://schemas.microsoft.com/office/drawing/2014/main" id="{A60C557A-15F7-4FF7-81BC-B6AEA331F0BD}"/>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700" kern="0">
                    <a:solidFill>
                      <a:sysClr val="windowText" lastClr="000000"/>
                    </a:solidFill>
                    <a:latin typeface="Segoe UI Semilight"/>
                  </a:endParaRPr>
                </a:p>
              </p:txBody>
            </p:sp>
            <p:sp>
              <p:nvSpPr>
                <p:cNvPr id="138" name="Freeform 10">
                  <a:extLst>
                    <a:ext uri="{FF2B5EF4-FFF2-40B4-BE49-F238E27FC236}">
                      <a16:creationId xmlns:a16="http://schemas.microsoft.com/office/drawing/2014/main" id="{978BC857-EBE3-4FC0-8707-699EEEC6829F}"/>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700" kern="0">
                    <a:solidFill>
                      <a:sysClr val="windowText" lastClr="000000"/>
                    </a:solidFill>
                    <a:latin typeface="Segoe UI Semilight"/>
                  </a:endParaRPr>
                </a:p>
              </p:txBody>
            </p:sp>
          </p:grpSp>
        </p:grpSp>
        <p:grpSp>
          <p:nvGrpSpPr>
            <p:cNvPr id="86" name="Group 85">
              <a:extLst>
                <a:ext uri="{FF2B5EF4-FFF2-40B4-BE49-F238E27FC236}">
                  <a16:creationId xmlns:a16="http://schemas.microsoft.com/office/drawing/2014/main" id="{21888CF5-E7AD-423A-9F32-66202799551E}"/>
                </a:ext>
              </a:extLst>
            </p:cNvPr>
            <p:cNvGrpSpPr/>
            <p:nvPr/>
          </p:nvGrpSpPr>
          <p:grpSpPr>
            <a:xfrm>
              <a:off x="4381787" y="3164418"/>
              <a:ext cx="127605" cy="127610"/>
              <a:chOff x="368698" y="3596110"/>
              <a:chExt cx="334255" cy="334255"/>
            </a:xfrm>
          </p:grpSpPr>
          <p:sp>
            <p:nvSpPr>
              <p:cNvPr id="130" name="Rectangle: Rounded Corners 707">
                <a:extLst>
                  <a:ext uri="{FF2B5EF4-FFF2-40B4-BE49-F238E27FC236}">
                    <a16:creationId xmlns:a16="http://schemas.microsoft.com/office/drawing/2014/main" id="{5F3ABCB3-EEC3-40F9-8924-758294AAF07D}"/>
                  </a:ext>
                </a:extLst>
              </p:cNvPr>
              <p:cNvSpPr/>
              <p:nvPr/>
            </p:nvSpPr>
            <p:spPr bwMode="auto">
              <a:xfrm>
                <a:off x="368698" y="3596110"/>
                <a:ext cx="334255" cy="334255"/>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89859" tIns="71887" rIns="89859" bIns="71887" numCol="1" spcCol="0" rtlCol="0" fromWordArt="0" anchor="t" anchorCtr="0" forceAA="0" compatLnSpc="1">
                <a:prstTxWarp prst="textNoShape">
                  <a:avLst/>
                </a:prstTxWarp>
                <a:noAutofit/>
              </a:bodyPr>
              <a:lstStyle/>
              <a:p>
                <a:pPr algn="ctr" defTabSz="458240"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1" name="Group 130">
                <a:extLst>
                  <a:ext uri="{FF2B5EF4-FFF2-40B4-BE49-F238E27FC236}">
                    <a16:creationId xmlns:a16="http://schemas.microsoft.com/office/drawing/2014/main" id="{1D6DE481-0FAC-424F-B7FB-E3D7558DBB04}"/>
                  </a:ext>
                </a:extLst>
              </p:cNvPr>
              <p:cNvGrpSpPr/>
              <p:nvPr/>
            </p:nvGrpSpPr>
            <p:grpSpPr>
              <a:xfrm>
                <a:off x="382033" y="3609497"/>
                <a:ext cx="307586" cy="307480"/>
                <a:chOff x="-133735" y="-444418"/>
                <a:chExt cx="9232900" cy="9229725"/>
              </a:xfrm>
              <a:solidFill>
                <a:srgbClr val="FFFFFF"/>
              </a:solidFill>
            </p:grpSpPr>
            <p:sp>
              <p:nvSpPr>
                <p:cNvPr id="132" name="Freeform 9">
                  <a:extLst>
                    <a:ext uri="{FF2B5EF4-FFF2-40B4-BE49-F238E27FC236}">
                      <a16:creationId xmlns:a16="http://schemas.microsoft.com/office/drawing/2014/main" id="{34F6CB5B-A438-4847-A96E-2487EF26D54C}"/>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700" kern="0">
                    <a:solidFill>
                      <a:sysClr val="windowText" lastClr="000000"/>
                    </a:solidFill>
                    <a:latin typeface="Segoe UI Semilight"/>
                  </a:endParaRPr>
                </a:p>
              </p:txBody>
            </p:sp>
            <p:sp>
              <p:nvSpPr>
                <p:cNvPr id="133" name="Freeform 10">
                  <a:extLst>
                    <a:ext uri="{FF2B5EF4-FFF2-40B4-BE49-F238E27FC236}">
                      <a16:creationId xmlns:a16="http://schemas.microsoft.com/office/drawing/2014/main" id="{300F2454-D475-44EB-8136-AA98E63C75CD}"/>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700" kern="0">
                    <a:solidFill>
                      <a:sysClr val="windowText" lastClr="000000"/>
                    </a:solidFill>
                    <a:latin typeface="Segoe UI Semilight"/>
                  </a:endParaRPr>
                </a:p>
              </p:txBody>
            </p:sp>
          </p:grpSp>
        </p:grpSp>
        <p:grpSp>
          <p:nvGrpSpPr>
            <p:cNvPr id="87" name="Group 86">
              <a:extLst>
                <a:ext uri="{FF2B5EF4-FFF2-40B4-BE49-F238E27FC236}">
                  <a16:creationId xmlns:a16="http://schemas.microsoft.com/office/drawing/2014/main" id="{7F2BC1C9-18B9-43EF-A0AA-B26CF1129859}"/>
                </a:ext>
              </a:extLst>
            </p:cNvPr>
            <p:cNvGrpSpPr/>
            <p:nvPr/>
          </p:nvGrpSpPr>
          <p:grpSpPr>
            <a:xfrm>
              <a:off x="4205897" y="3168598"/>
              <a:ext cx="127605" cy="127610"/>
              <a:chOff x="368698" y="3596110"/>
              <a:chExt cx="334255" cy="334255"/>
            </a:xfrm>
          </p:grpSpPr>
          <p:sp>
            <p:nvSpPr>
              <p:cNvPr id="126" name="Rectangle: Rounded Corners 707">
                <a:extLst>
                  <a:ext uri="{FF2B5EF4-FFF2-40B4-BE49-F238E27FC236}">
                    <a16:creationId xmlns:a16="http://schemas.microsoft.com/office/drawing/2014/main" id="{263D0FCE-C8EC-4AF3-B524-86EB0F43D225}"/>
                  </a:ext>
                </a:extLst>
              </p:cNvPr>
              <p:cNvSpPr/>
              <p:nvPr/>
            </p:nvSpPr>
            <p:spPr bwMode="auto">
              <a:xfrm>
                <a:off x="368698" y="3596110"/>
                <a:ext cx="334255" cy="334255"/>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89859" tIns="71887" rIns="89859" bIns="71887" numCol="1" spcCol="0" rtlCol="0" fromWordArt="0" anchor="t" anchorCtr="0" forceAA="0" compatLnSpc="1">
                <a:prstTxWarp prst="textNoShape">
                  <a:avLst/>
                </a:prstTxWarp>
                <a:noAutofit/>
              </a:bodyPr>
              <a:lstStyle/>
              <a:p>
                <a:pPr algn="ctr" defTabSz="458240"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7" name="Group 126">
                <a:extLst>
                  <a:ext uri="{FF2B5EF4-FFF2-40B4-BE49-F238E27FC236}">
                    <a16:creationId xmlns:a16="http://schemas.microsoft.com/office/drawing/2014/main" id="{BD276A57-7385-420F-9B3A-4E20B0DFA9A2}"/>
                  </a:ext>
                </a:extLst>
              </p:cNvPr>
              <p:cNvGrpSpPr/>
              <p:nvPr/>
            </p:nvGrpSpPr>
            <p:grpSpPr>
              <a:xfrm>
                <a:off x="382031" y="3609498"/>
                <a:ext cx="307586" cy="307480"/>
                <a:chOff x="-133813" y="-444398"/>
                <a:chExt cx="9232900" cy="9229725"/>
              </a:xfrm>
              <a:solidFill>
                <a:srgbClr val="FFFFFF"/>
              </a:solidFill>
            </p:grpSpPr>
            <p:sp>
              <p:nvSpPr>
                <p:cNvPr id="128" name="Freeform 9">
                  <a:extLst>
                    <a:ext uri="{FF2B5EF4-FFF2-40B4-BE49-F238E27FC236}">
                      <a16:creationId xmlns:a16="http://schemas.microsoft.com/office/drawing/2014/main" id="{C9C61C43-6695-4A02-AE3F-657040607E32}"/>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700" kern="0">
                    <a:solidFill>
                      <a:sysClr val="windowText" lastClr="000000"/>
                    </a:solidFill>
                    <a:latin typeface="Segoe UI Semilight"/>
                  </a:endParaRPr>
                </a:p>
              </p:txBody>
            </p:sp>
            <p:sp>
              <p:nvSpPr>
                <p:cNvPr id="129" name="Freeform 10">
                  <a:extLst>
                    <a:ext uri="{FF2B5EF4-FFF2-40B4-BE49-F238E27FC236}">
                      <a16:creationId xmlns:a16="http://schemas.microsoft.com/office/drawing/2014/main" id="{3FF7E206-A4B7-461F-B035-C49043359D76}"/>
                    </a:ext>
                  </a:extLst>
                </p:cNvPr>
                <p:cNvSpPr>
                  <a:spLocks noEditPoints="1"/>
                </p:cNvSpPr>
                <p:nvPr/>
              </p:nvSpPr>
              <p:spPr bwMode="auto">
                <a:xfrm>
                  <a:off x="-133813" y="-44439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700" kern="0">
                    <a:solidFill>
                      <a:sysClr val="windowText" lastClr="000000"/>
                    </a:solidFill>
                    <a:latin typeface="Segoe UI Semilight"/>
                  </a:endParaRPr>
                </a:p>
              </p:txBody>
            </p:sp>
          </p:grpSp>
        </p:grpSp>
        <p:grpSp>
          <p:nvGrpSpPr>
            <p:cNvPr id="88" name="Group 87">
              <a:extLst>
                <a:ext uri="{FF2B5EF4-FFF2-40B4-BE49-F238E27FC236}">
                  <a16:creationId xmlns:a16="http://schemas.microsoft.com/office/drawing/2014/main" id="{D2A9DC1D-DCC6-4272-B1A7-03A26C0DDA5B}"/>
                </a:ext>
              </a:extLst>
            </p:cNvPr>
            <p:cNvGrpSpPr/>
            <p:nvPr/>
          </p:nvGrpSpPr>
          <p:grpSpPr>
            <a:xfrm>
              <a:off x="4495670" y="3038786"/>
              <a:ext cx="127605" cy="127610"/>
              <a:chOff x="368698" y="3596110"/>
              <a:chExt cx="334255" cy="334255"/>
            </a:xfrm>
          </p:grpSpPr>
          <p:sp>
            <p:nvSpPr>
              <p:cNvPr id="122" name="Rectangle: Rounded Corners 707">
                <a:extLst>
                  <a:ext uri="{FF2B5EF4-FFF2-40B4-BE49-F238E27FC236}">
                    <a16:creationId xmlns:a16="http://schemas.microsoft.com/office/drawing/2014/main" id="{52EDC353-A29D-461B-A16C-503BA7B9DAAA}"/>
                  </a:ext>
                </a:extLst>
              </p:cNvPr>
              <p:cNvSpPr/>
              <p:nvPr/>
            </p:nvSpPr>
            <p:spPr bwMode="auto">
              <a:xfrm>
                <a:off x="368698" y="3596110"/>
                <a:ext cx="334255" cy="334255"/>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89859" tIns="71887" rIns="89859" bIns="71887" numCol="1" spcCol="0" rtlCol="0" fromWordArt="0" anchor="t" anchorCtr="0" forceAA="0" compatLnSpc="1">
                <a:prstTxWarp prst="textNoShape">
                  <a:avLst/>
                </a:prstTxWarp>
                <a:noAutofit/>
              </a:bodyPr>
              <a:lstStyle/>
              <a:p>
                <a:pPr algn="ctr" defTabSz="458240"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1CAEC0D6-43E6-47CC-84D4-2E414887AB35}"/>
                  </a:ext>
                </a:extLst>
              </p:cNvPr>
              <p:cNvGrpSpPr/>
              <p:nvPr/>
            </p:nvGrpSpPr>
            <p:grpSpPr>
              <a:xfrm>
                <a:off x="382033" y="3609497"/>
                <a:ext cx="307586" cy="307480"/>
                <a:chOff x="-133735" y="-444418"/>
                <a:chExt cx="9232900" cy="9229725"/>
              </a:xfrm>
              <a:solidFill>
                <a:srgbClr val="FFFFFF"/>
              </a:solidFill>
            </p:grpSpPr>
            <p:sp>
              <p:nvSpPr>
                <p:cNvPr id="124" name="Freeform 9">
                  <a:extLst>
                    <a:ext uri="{FF2B5EF4-FFF2-40B4-BE49-F238E27FC236}">
                      <a16:creationId xmlns:a16="http://schemas.microsoft.com/office/drawing/2014/main" id="{364D7DBC-2E67-4803-ABD1-7ABF86CFC3CF}"/>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700" kern="0">
                    <a:solidFill>
                      <a:sysClr val="windowText" lastClr="000000"/>
                    </a:solidFill>
                    <a:latin typeface="Segoe UI Semilight"/>
                  </a:endParaRPr>
                </a:p>
              </p:txBody>
            </p:sp>
            <p:sp>
              <p:nvSpPr>
                <p:cNvPr id="125" name="Freeform 10">
                  <a:extLst>
                    <a:ext uri="{FF2B5EF4-FFF2-40B4-BE49-F238E27FC236}">
                      <a16:creationId xmlns:a16="http://schemas.microsoft.com/office/drawing/2014/main" id="{97E939F2-F790-489F-846D-DC4BF100E6FB}"/>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4922" tIns="22461" rIns="44922" bIns="22461" numCol="1" anchor="t" anchorCtr="0" compatLnSpc="1">
                  <a:prstTxWarp prst="textNoShape">
                    <a:avLst/>
                  </a:prstTxWarp>
                </a:bodyPr>
                <a:lstStyle/>
                <a:p>
                  <a:pPr defTabSz="440506">
                    <a:defRPr/>
                  </a:pPr>
                  <a:endParaRPr lang="en-US" sz="700" kern="0">
                    <a:solidFill>
                      <a:sysClr val="windowText" lastClr="000000"/>
                    </a:solidFill>
                    <a:latin typeface="Segoe UI Semilight"/>
                  </a:endParaRPr>
                </a:p>
              </p:txBody>
            </p:sp>
          </p:grpSp>
        </p:grpSp>
      </p:grpSp>
      <p:grpSp>
        <p:nvGrpSpPr>
          <p:cNvPr id="7" name="Group 6">
            <a:extLst>
              <a:ext uri="{FF2B5EF4-FFF2-40B4-BE49-F238E27FC236}">
                <a16:creationId xmlns:a16="http://schemas.microsoft.com/office/drawing/2014/main" id="{42FBDDA8-49CF-4469-8576-CDF4AF30756A}"/>
              </a:ext>
            </a:extLst>
          </p:cNvPr>
          <p:cNvGrpSpPr/>
          <p:nvPr/>
        </p:nvGrpSpPr>
        <p:grpSpPr>
          <a:xfrm>
            <a:off x="4453350" y="3792973"/>
            <a:ext cx="1281702" cy="734296"/>
            <a:chOff x="4217187" y="2941834"/>
            <a:chExt cx="1281866" cy="734390"/>
          </a:xfrm>
        </p:grpSpPr>
        <p:sp useBgFill="1">
          <p:nvSpPr>
            <p:cNvPr id="90" name="Freeform 280">
              <a:extLst>
                <a:ext uri="{FF2B5EF4-FFF2-40B4-BE49-F238E27FC236}">
                  <a16:creationId xmlns:a16="http://schemas.microsoft.com/office/drawing/2014/main" id="{B4106DF6-11EB-4668-8B8F-28BF6D9066A5}"/>
                </a:ext>
              </a:extLst>
            </p:cNvPr>
            <p:cNvSpPr/>
            <p:nvPr/>
          </p:nvSpPr>
          <p:spPr bwMode="auto">
            <a:xfrm>
              <a:off x="4217187" y="2941834"/>
              <a:ext cx="1281866" cy="734390"/>
            </a:xfrm>
            <a:prstGeom prst="triangle">
              <a:avLst/>
            </a:prstGeom>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092" tIns="70474" rIns="88092" bIns="70474" numCol="1" spcCol="0" rtlCol="0" fromWordArt="0" anchor="t" anchorCtr="0" forceAA="0" compatLnSpc="1">
              <a:prstTxWarp prst="textNoShape">
                <a:avLst/>
              </a:prstTxWarp>
              <a:noAutofit/>
            </a:bodyPr>
            <a:lstStyle/>
            <a:p>
              <a:pPr algn="ctr" defTabSz="449213" fontAlgn="base">
                <a:lnSpc>
                  <a:spcPct val="90000"/>
                </a:lnSpc>
                <a:spcBef>
                  <a:spcPct val="0"/>
                </a:spcBef>
                <a:spcAft>
                  <a:spcPct val="0"/>
                </a:spcAft>
              </a:pPr>
              <a:endParaRPr lang="en-US" sz="1050" kern="0">
                <a:gradFill>
                  <a:gsLst>
                    <a:gs pos="0">
                      <a:srgbClr val="FFFFFF"/>
                    </a:gs>
                    <a:gs pos="100000">
                      <a:srgbClr val="FFFFFF"/>
                    </a:gs>
                  </a:gsLst>
                  <a:lin ang="5400000" scaled="0"/>
                </a:gradFill>
                <a:latin typeface="Segoe UI Semilight"/>
                <a:cs typeface="Segoe UI" pitchFamily="34" charset="0"/>
              </a:endParaRPr>
            </a:p>
          </p:txBody>
        </p:sp>
        <p:pic>
          <p:nvPicPr>
            <p:cNvPr id="91" name="Picture 90">
              <a:extLst>
                <a:ext uri="{FF2B5EF4-FFF2-40B4-BE49-F238E27FC236}">
                  <a16:creationId xmlns:a16="http://schemas.microsoft.com/office/drawing/2014/main" id="{58862455-7BDB-41AB-97FA-1FEAB979727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639472" y="2997927"/>
              <a:ext cx="442999" cy="293253"/>
            </a:xfrm>
            <a:prstGeom prst="rect">
              <a:avLst/>
            </a:prstGeom>
          </p:spPr>
        </p:pic>
        <p:grpSp>
          <p:nvGrpSpPr>
            <p:cNvPr id="93" name="Group 207">
              <a:extLst>
                <a:ext uri="{FF2B5EF4-FFF2-40B4-BE49-F238E27FC236}">
                  <a16:creationId xmlns:a16="http://schemas.microsoft.com/office/drawing/2014/main" id="{71BB71F8-CA7C-4E06-8C68-1ECD0712318A}"/>
                </a:ext>
              </a:extLst>
            </p:cNvPr>
            <p:cNvGrpSpPr>
              <a:grpSpLocks noChangeAspect="1"/>
            </p:cNvGrpSpPr>
            <p:nvPr/>
          </p:nvGrpSpPr>
          <p:grpSpPr bwMode="auto">
            <a:xfrm>
              <a:off x="4696206" y="3354563"/>
              <a:ext cx="302137" cy="293996"/>
              <a:chOff x="3750" y="2040"/>
              <a:chExt cx="334" cy="325"/>
            </a:xfrm>
          </p:grpSpPr>
          <p:sp>
            <p:nvSpPr>
              <p:cNvPr id="94" name="Rectangle 208">
                <a:extLst>
                  <a:ext uri="{FF2B5EF4-FFF2-40B4-BE49-F238E27FC236}">
                    <a16:creationId xmlns:a16="http://schemas.microsoft.com/office/drawing/2014/main" id="{4ED36EEC-1876-4D72-9892-78653ED500C0}"/>
                  </a:ext>
                </a:extLst>
              </p:cNvPr>
              <p:cNvSpPr>
                <a:spLocks noChangeArrowheads="1"/>
              </p:cNvSpPr>
              <p:nvPr/>
            </p:nvSpPr>
            <p:spPr bwMode="auto">
              <a:xfrm>
                <a:off x="3860" y="2071"/>
                <a:ext cx="150" cy="294"/>
              </a:xfrm>
              <a:prstGeom prst="rect">
                <a:avLst/>
              </a:pr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95" name="Freeform 209">
                <a:extLst>
                  <a:ext uri="{FF2B5EF4-FFF2-40B4-BE49-F238E27FC236}">
                    <a16:creationId xmlns:a16="http://schemas.microsoft.com/office/drawing/2014/main" id="{CB6AF1D7-E024-4275-85D3-ED23D86256B5}"/>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96" name="Freeform 210">
                <a:extLst>
                  <a:ext uri="{FF2B5EF4-FFF2-40B4-BE49-F238E27FC236}">
                    <a16:creationId xmlns:a16="http://schemas.microsoft.com/office/drawing/2014/main" id="{D0951C40-D821-4FEA-838C-AAEC518A70FC}"/>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97" name="Freeform 211">
                <a:extLst>
                  <a:ext uri="{FF2B5EF4-FFF2-40B4-BE49-F238E27FC236}">
                    <a16:creationId xmlns:a16="http://schemas.microsoft.com/office/drawing/2014/main" id="{B0547AC2-A2F3-423A-83D8-DE82C76D9473}"/>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98" name="Rectangle 212">
                <a:extLst>
                  <a:ext uri="{FF2B5EF4-FFF2-40B4-BE49-F238E27FC236}">
                    <a16:creationId xmlns:a16="http://schemas.microsoft.com/office/drawing/2014/main" id="{1A5BC651-1D04-4C74-BEA7-9AEACE722EAD}"/>
                  </a:ext>
                </a:extLst>
              </p:cNvPr>
              <p:cNvSpPr>
                <a:spLocks noChangeArrowheads="1"/>
              </p:cNvSpPr>
              <p:nvPr/>
            </p:nvSpPr>
            <p:spPr bwMode="auto">
              <a:xfrm>
                <a:off x="3888" y="2040"/>
                <a:ext cx="42" cy="31"/>
              </a:xfrm>
              <a:prstGeom prst="rect">
                <a:avLst/>
              </a:pr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99" name="Rectangle 213">
                <a:extLst>
                  <a:ext uri="{FF2B5EF4-FFF2-40B4-BE49-F238E27FC236}">
                    <a16:creationId xmlns:a16="http://schemas.microsoft.com/office/drawing/2014/main" id="{518B4F04-9F58-45FC-A948-2483F366321D}"/>
                  </a:ext>
                </a:extLst>
              </p:cNvPr>
              <p:cNvSpPr>
                <a:spLocks noChangeArrowheads="1"/>
              </p:cNvSpPr>
              <p:nvPr/>
            </p:nvSpPr>
            <p:spPr bwMode="auto">
              <a:xfrm>
                <a:off x="3970" y="2098"/>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00" name="Rectangle 214">
                <a:extLst>
                  <a:ext uri="{FF2B5EF4-FFF2-40B4-BE49-F238E27FC236}">
                    <a16:creationId xmlns:a16="http://schemas.microsoft.com/office/drawing/2014/main" id="{C4DCA754-5509-40FC-9EF8-E8D5F512CDB3}"/>
                  </a:ext>
                </a:extLst>
              </p:cNvPr>
              <p:cNvSpPr>
                <a:spLocks noChangeArrowheads="1"/>
              </p:cNvSpPr>
              <p:nvPr/>
            </p:nvSpPr>
            <p:spPr bwMode="auto">
              <a:xfrm>
                <a:off x="3970" y="2138"/>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01" name="Rectangle 215">
                <a:extLst>
                  <a:ext uri="{FF2B5EF4-FFF2-40B4-BE49-F238E27FC236}">
                    <a16:creationId xmlns:a16="http://schemas.microsoft.com/office/drawing/2014/main" id="{FD6A2C03-F3A6-436A-B87E-66C214380D8E}"/>
                  </a:ext>
                </a:extLst>
              </p:cNvPr>
              <p:cNvSpPr>
                <a:spLocks noChangeArrowheads="1"/>
              </p:cNvSpPr>
              <p:nvPr/>
            </p:nvSpPr>
            <p:spPr bwMode="auto">
              <a:xfrm>
                <a:off x="3970" y="2176"/>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02" name="Rectangle 216">
                <a:extLst>
                  <a:ext uri="{FF2B5EF4-FFF2-40B4-BE49-F238E27FC236}">
                    <a16:creationId xmlns:a16="http://schemas.microsoft.com/office/drawing/2014/main" id="{C2A78CF1-2B07-4D08-8ACC-E60F2B1497D9}"/>
                  </a:ext>
                </a:extLst>
              </p:cNvPr>
              <p:cNvSpPr>
                <a:spLocks noChangeArrowheads="1"/>
              </p:cNvSpPr>
              <p:nvPr/>
            </p:nvSpPr>
            <p:spPr bwMode="auto">
              <a:xfrm>
                <a:off x="3970" y="2216"/>
                <a:ext cx="15" cy="16"/>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03" name="Rectangle 217">
                <a:extLst>
                  <a:ext uri="{FF2B5EF4-FFF2-40B4-BE49-F238E27FC236}">
                    <a16:creationId xmlns:a16="http://schemas.microsoft.com/office/drawing/2014/main" id="{816F8295-5EB5-4AA0-972E-6706F640C318}"/>
                  </a:ext>
                </a:extLst>
              </p:cNvPr>
              <p:cNvSpPr>
                <a:spLocks noChangeArrowheads="1"/>
              </p:cNvSpPr>
              <p:nvPr/>
            </p:nvSpPr>
            <p:spPr bwMode="auto">
              <a:xfrm>
                <a:off x="3970" y="2254"/>
                <a:ext cx="15" cy="16"/>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04" name="Rectangle 218">
                <a:extLst>
                  <a:ext uri="{FF2B5EF4-FFF2-40B4-BE49-F238E27FC236}">
                    <a16:creationId xmlns:a16="http://schemas.microsoft.com/office/drawing/2014/main" id="{4DD0742A-7594-454F-BFB7-A2E7A32DEBCF}"/>
                  </a:ext>
                </a:extLst>
              </p:cNvPr>
              <p:cNvSpPr>
                <a:spLocks noChangeArrowheads="1"/>
              </p:cNvSpPr>
              <p:nvPr/>
            </p:nvSpPr>
            <p:spPr bwMode="auto">
              <a:xfrm>
                <a:off x="3885" y="2098"/>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05" name="Rectangle 219">
                <a:extLst>
                  <a:ext uri="{FF2B5EF4-FFF2-40B4-BE49-F238E27FC236}">
                    <a16:creationId xmlns:a16="http://schemas.microsoft.com/office/drawing/2014/main" id="{2A1A12FC-A411-4657-9388-5013E7F2688D}"/>
                  </a:ext>
                </a:extLst>
              </p:cNvPr>
              <p:cNvSpPr>
                <a:spLocks noChangeArrowheads="1"/>
              </p:cNvSpPr>
              <p:nvPr/>
            </p:nvSpPr>
            <p:spPr bwMode="auto">
              <a:xfrm>
                <a:off x="3885" y="2138"/>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06" name="Rectangle 220">
                <a:extLst>
                  <a:ext uri="{FF2B5EF4-FFF2-40B4-BE49-F238E27FC236}">
                    <a16:creationId xmlns:a16="http://schemas.microsoft.com/office/drawing/2014/main" id="{FB87CB2A-7F39-466E-8EC1-B8651C0F8B0D}"/>
                  </a:ext>
                </a:extLst>
              </p:cNvPr>
              <p:cNvSpPr>
                <a:spLocks noChangeArrowheads="1"/>
              </p:cNvSpPr>
              <p:nvPr/>
            </p:nvSpPr>
            <p:spPr bwMode="auto">
              <a:xfrm>
                <a:off x="3885" y="2176"/>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07" name="Rectangle 221">
                <a:extLst>
                  <a:ext uri="{FF2B5EF4-FFF2-40B4-BE49-F238E27FC236}">
                    <a16:creationId xmlns:a16="http://schemas.microsoft.com/office/drawing/2014/main" id="{594E84CF-95E8-4EE1-99C0-E40D8FEF2FEF}"/>
                  </a:ext>
                </a:extLst>
              </p:cNvPr>
              <p:cNvSpPr>
                <a:spLocks noChangeArrowheads="1"/>
              </p:cNvSpPr>
              <p:nvPr/>
            </p:nvSpPr>
            <p:spPr bwMode="auto">
              <a:xfrm>
                <a:off x="3885" y="2216"/>
                <a:ext cx="15" cy="16"/>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08" name="Rectangle 222">
                <a:extLst>
                  <a:ext uri="{FF2B5EF4-FFF2-40B4-BE49-F238E27FC236}">
                    <a16:creationId xmlns:a16="http://schemas.microsoft.com/office/drawing/2014/main" id="{EE42DD7A-B71D-4540-90CC-5E4705096A58}"/>
                  </a:ext>
                </a:extLst>
              </p:cNvPr>
              <p:cNvSpPr>
                <a:spLocks noChangeArrowheads="1"/>
              </p:cNvSpPr>
              <p:nvPr/>
            </p:nvSpPr>
            <p:spPr bwMode="auto">
              <a:xfrm>
                <a:off x="3885" y="2254"/>
                <a:ext cx="15" cy="16"/>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09" name="Rectangle 223">
                <a:extLst>
                  <a:ext uri="{FF2B5EF4-FFF2-40B4-BE49-F238E27FC236}">
                    <a16:creationId xmlns:a16="http://schemas.microsoft.com/office/drawing/2014/main" id="{89D4AA93-4FEC-42AD-838C-81DD90C66189}"/>
                  </a:ext>
                </a:extLst>
              </p:cNvPr>
              <p:cNvSpPr>
                <a:spLocks noChangeArrowheads="1"/>
              </p:cNvSpPr>
              <p:nvPr/>
            </p:nvSpPr>
            <p:spPr bwMode="auto">
              <a:xfrm>
                <a:off x="3927" y="2098"/>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10" name="Rectangle 224">
                <a:extLst>
                  <a:ext uri="{FF2B5EF4-FFF2-40B4-BE49-F238E27FC236}">
                    <a16:creationId xmlns:a16="http://schemas.microsoft.com/office/drawing/2014/main" id="{A90C98F0-A285-4392-A382-2FCDFFCC1216}"/>
                  </a:ext>
                </a:extLst>
              </p:cNvPr>
              <p:cNvSpPr>
                <a:spLocks noChangeArrowheads="1"/>
              </p:cNvSpPr>
              <p:nvPr/>
            </p:nvSpPr>
            <p:spPr bwMode="auto">
              <a:xfrm>
                <a:off x="3927" y="2138"/>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11" name="Rectangle 225">
                <a:extLst>
                  <a:ext uri="{FF2B5EF4-FFF2-40B4-BE49-F238E27FC236}">
                    <a16:creationId xmlns:a16="http://schemas.microsoft.com/office/drawing/2014/main" id="{052DCA79-0C8F-42EE-8D11-C15BE6B1EF60}"/>
                  </a:ext>
                </a:extLst>
              </p:cNvPr>
              <p:cNvSpPr>
                <a:spLocks noChangeArrowheads="1"/>
              </p:cNvSpPr>
              <p:nvPr/>
            </p:nvSpPr>
            <p:spPr bwMode="auto">
              <a:xfrm>
                <a:off x="3927" y="2176"/>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12" name="Rectangle 226">
                <a:extLst>
                  <a:ext uri="{FF2B5EF4-FFF2-40B4-BE49-F238E27FC236}">
                    <a16:creationId xmlns:a16="http://schemas.microsoft.com/office/drawing/2014/main" id="{3117D429-9D35-41D0-B726-D37DFF1676BE}"/>
                  </a:ext>
                </a:extLst>
              </p:cNvPr>
              <p:cNvSpPr>
                <a:spLocks noChangeArrowheads="1"/>
              </p:cNvSpPr>
              <p:nvPr/>
            </p:nvSpPr>
            <p:spPr bwMode="auto">
              <a:xfrm>
                <a:off x="3927" y="2216"/>
                <a:ext cx="15" cy="16"/>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13" name="Rectangle 227">
                <a:extLst>
                  <a:ext uri="{FF2B5EF4-FFF2-40B4-BE49-F238E27FC236}">
                    <a16:creationId xmlns:a16="http://schemas.microsoft.com/office/drawing/2014/main" id="{62043617-4E31-41D6-BBB2-4353B11B0D28}"/>
                  </a:ext>
                </a:extLst>
              </p:cNvPr>
              <p:cNvSpPr>
                <a:spLocks noChangeArrowheads="1"/>
              </p:cNvSpPr>
              <p:nvPr/>
            </p:nvSpPr>
            <p:spPr bwMode="auto">
              <a:xfrm>
                <a:off x="3927" y="2254"/>
                <a:ext cx="15" cy="16"/>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14" name="Rectangle 228">
                <a:extLst>
                  <a:ext uri="{FF2B5EF4-FFF2-40B4-BE49-F238E27FC236}">
                    <a16:creationId xmlns:a16="http://schemas.microsoft.com/office/drawing/2014/main" id="{334E8238-6647-4554-B9D9-53C904548A1C}"/>
                  </a:ext>
                </a:extLst>
              </p:cNvPr>
              <p:cNvSpPr>
                <a:spLocks noChangeArrowheads="1"/>
              </p:cNvSpPr>
              <p:nvPr/>
            </p:nvSpPr>
            <p:spPr bwMode="auto">
              <a:xfrm>
                <a:off x="3776" y="2176"/>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15" name="Rectangle 229">
                <a:extLst>
                  <a:ext uri="{FF2B5EF4-FFF2-40B4-BE49-F238E27FC236}">
                    <a16:creationId xmlns:a16="http://schemas.microsoft.com/office/drawing/2014/main" id="{9B0DDB1E-63B7-4B50-95D8-7AA2C138A8B6}"/>
                  </a:ext>
                </a:extLst>
              </p:cNvPr>
              <p:cNvSpPr>
                <a:spLocks noChangeArrowheads="1"/>
              </p:cNvSpPr>
              <p:nvPr/>
            </p:nvSpPr>
            <p:spPr bwMode="auto">
              <a:xfrm>
                <a:off x="3776" y="2216"/>
                <a:ext cx="15" cy="16"/>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16" name="Rectangle 230">
                <a:extLst>
                  <a:ext uri="{FF2B5EF4-FFF2-40B4-BE49-F238E27FC236}">
                    <a16:creationId xmlns:a16="http://schemas.microsoft.com/office/drawing/2014/main" id="{C3A750DC-2593-45DD-96ED-2C670F78BBD7}"/>
                  </a:ext>
                </a:extLst>
              </p:cNvPr>
              <p:cNvSpPr>
                <a:spLocks noChangeArrowheads="1"/>
              </p:cNvSpPr>
              <p:nvPr/>
            </p:nvSpPr>
            <p:spPr bwMode="auto">
              <a:xfrm>
                <a:off x="3776" y="2254"/>
                <a:ext cx="15" cy="16"/>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17" name="Rectangle 231">
                <a:extLst>
                  <a:ext uri="{FF2B5EF4-FFF2-40B4-BE49-F238E27FC236}">
                    <a16:creationId xmlns:a16="http://schemas.microsoft.com/office/drawing/2014/main" id="{F97F704F-54D7-4428-873A-321C8C4A5ED3}"/>
                  </a:ext>
                </a:extLst>
              </p:cNvPr>
              <p:cNvSpPr>
                <a:spLocks noChangeArrowheads="1"/>
              </p:cNvSpPr>
              <p:nvPr/>
            </p:nvSpPr>
            <p:spPr bwMode="auto">
              <a:xfrm>
                <a:off x="3818" y="2176"/>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18" name="Rectangle 232">
                <a:extLst>
                  <a:ext uri="{FF2B5EF4-FFF2-40B4-BE49-F238E27FC236}">
                    <a16:creationId xmlns:a16="http://schemas.microsoft.com/office/drawing/2014/main" id="{3EDF4021-2E03-42FA-BC39-2B01A32F5137}"/>
                  </a:ext>
                </a:extLst>
              </p:cNvPr>
              <p:cNvSpPr>
                <a:spLocks noChangeArrowheads="1"/>
              </p:cNvSpPr>
              <p:nvPr/>
            </p:nvSpPr>
            <p:spPr bwMode="auto">
              <a:xfrm>
                <a:off x="3818" y="2216"/>
                <a:ext cx="15" cy="16"/>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19" name="Rectangle 233">
                <a:extLst>
                  <a:ext uri="{FF2B5EF4-FFF2-40B4-BE49-F238E27FC236}">
                    <a16:creationId xmlns:a16="http://schemas.microsoft.com/office/drawing/2014/main" id="{977F3E71-58C9-4467-8AEF-6BEDC5AB9243}"/>
                  </a:ext>
                </a:extLst>
              </p:cNvPr>
              <p:cNvSpPr>
                <a:spLocks noChangeArrowheads="1"/>
              </p:cNvSpPr>
              <p:nvPr/>
            </p:nvSpPr>
            <p:spPr bwMode="auto">
              <a:xfrm>
                <a:off x="3818" y="2254"/>
                <a:ext cx="15" cy="16"/>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20" name="Rectangle 234">
                <a:extLst>
                  <a:ext uri="{FF2B5EF4-FFF2-40B4-BE49-F238E27FC236}">
                    <a16:creationId xmlns:a16="http://schemas.microsoft.com/office/drawing/2014/main" id="{C7A7A656-1679-4BEB-9525-7CF0B5266FB0}"/>
                  </a:ext>
                </a:extLst>
              </p:cNvPr>
              <p:cNvSpPr>
                <a:spLocks noChangeArrowheads="1"/>
              </p:cNvSpPr>
              <p:nvPr/>
            </p:nvSpPr>
            <p:spPr bwMode="auto">
              <a:xfrm>
                <a:off x="3776" y="2295"/>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sp>
            <p:nvSpPr>
              <p:cNvPr id="121" name="Rectangle 235">
                <a:extLst>
                  <a:ext uri="{FF2B5EF4-FFF2-40B4-BE49-F238E27FC236}">
                    <a16:creationId xmlns:a16="http://schemas.microsoft.com/office/drawing/2014/main" id="{0F6A9FB4-98F7-4268-930C-6A50DE4D6806}"/>
                  </a:ext>
                </a:extLst>
              </p:cNvPr>
              <p:cNvSpPr>
                <a:spLocks noChangeArrowheads="1"/>
              </p:cNvSpPr>
              <p:nvPr/>
            </p:nvSpPr>
            <p:spPr bwMode="auto">
              <a:xfrm>
                <a:off x="3818" y="2295"/>
                <a:ext cx="15" cy="15"/>
              </a:xfrm>
              <a:prstGeom prst="rect">
                <a:avLst/>
              </a:prstGeom>
              <a:solidFill>
                <a:schemeClr val="accent4"/>
              </a:solidFill>
              <a:ln w="31750">
                <a:noFill/>
                <a:miter lim="800000"/>
                <a:headEnd/>
                <a:tailEnd/>
              </a:ln>
            </p:spPr>
            <p:txBody>
              <a:bodyPr vert="horz" wrap="square" lIns="44929" tIns="22464" rIns="44929" bIns="22464" numCol="1" anchor="t" anchorCtr="0" compatLnSpc="1">
                <a:prstTxWarp prst="textNoShape">
                  <a:avLst/>
                </a:prstTxWarp>
              </a:bodyPr>
              <a:lstStyle/>
              <a:p>
                <a:pPr defTabSz="458372"/>
                <a:endParaRPr lang="en-US" sz="700">
                  <a:solidFill>
                    <a:srgbClr val="353535"/>
                  </a:solidFill>
                  <a:latin typeface="Segoe UI Semilight"/>
                </a:endParaRPr>
              </a:p>
            </p:txBody>
          </p:sp>
        </p:grpSp>
      </p:grpSp>
      <p:sp>
        <p:nvSpPr>
          <p:cNvPr id="139" name="Rectangle 138">
            <a:extLst>
              <a:ext uri="{FF2B5EF4-FFF2-40B4-BE49-F238E27FC236}">
                <a16:creationId xmlns:a16="http://schemas.microsoft.com/office/drawing/2014/main" id="{86355774-4306-4B39-B87B-15780292C170}"/>
              </a:ext>
            </a:extLst>
          </p:cNvPr>
          <p:cNvSpPr/>
          <p:nvPr/>
        </p:nvSpPr>
        <p:spPr bwMode="auto">
          <a:xfrm>
            <a:off x="10579693" y="5531456"/>
            <a:ext cx="1737138" cy="100571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27" tIns="46631" rIns="45714" bIns="46631" numCol="1" rtlCol="0" anchor="ctr" anchorCtr="0" compatLnSpc="1">
            <a:prstTxWarp prst="textNoShape">
              <a:avLst/>
            </a:prstTxWarp>
          </a:bodyPr>
          <a:lstStyle/>
          <a:p>
            <a:pPr defTabSz="914309" fontAlgn="t">
              <a:defRPr/>
            </a:pPr>
            <a:r>
              <a:rPr lang="en-US" sz="1050" spc="-30" dirty="0">
                <a:solidFill>
                  <a:srgbClr val="505050"/>
                </a:solidFill>
                <a:latin typeface="Segoe UI"/>
                <a:cs typeface="Arial" panose="020B0604020202020204" pitchFamily="34" charset="0"/>
              </a:rPr>
              <a:t>Access Libraries</a:t>
            </a:r>
          </a:p>
        </p:txBody>
      </p:sp>
      <p:sp>
        <p:nvSpPr>
          <p:cNvPr id="140" name="Rectangle 139">
            <a:extLst>
              <a:ext uri="{FF2B5EF4-FFF2-40B4-BE49-F238E27FC236}">
                <a16:creationId xmlns:a16="http://schemas.microsoft.com/office/drawing/2014/main" id="{07D9128A-1C62-43A2-A1BC-68730F1B2FAE}"/>
              </a:ext>
            </a:extLst>
          </p:cNvPr>
          <p:cNvSpPr/>
          <p:nvPr/>
        </p:nvSpPr>
        <p:spPr>
          <a:xfrm>
            <a:off x="10661448" y="6084425"/>
            <a:ext cx="612975" cy="307738"/>
          </a:xfrm>
          <a:prstGeom prst="rect">
            <a:avLst/>
          </a:prstGeom>
        </p:spPr>
        <p:txBody>
          <a:bodyPr wrap="none">
            <a:spAutoFit/>
          </a:bodyPr>
          <a:lstStyle/>
          <a:p>
            <a:pPr algn="ctr" defTabSz="914309">
              <a:defRPr/>
            </a:pPr>
            <a:r>
              <a:rPr lang="en-US" sz="1400" spc="-50" dirty="0">
                <a:solidFill>
                  <a:schemeClr val="accent4"/>
                </a:solidFill>
                <a:latin typeface="Segoe UI Semibold" panose="020B0702040204020203" pitchFamily="34" charset="0"/>
                <a:cs typeface="Segoe UI Semibold" panose="020B0702040204020203" pitchFamily="34" charset="0"/>
              </a:rPr>
              <a:t>ADAL</a:t>
            </a:r>
          </a:p>
        </p:txBody>
      </p:sp>
      <p:sp>
        <p:nvSpPr>
          <p:cNvPr id="141" name="Rectangle 140">
            <a:extLst>
              <a:ext uri="{FF2B5EF4-FFF2-40B4-BE49-F238E27FC236}">
                <a16:creationId xmlns:a16="http://schemas.microsoft.com/office/drawing/2014/main" id="{288FE6BC-748C-4CA0-841F-585B49D23C74}"/>
              </a:ext>
            </a:extLst>
          </p:cNvPr>
          <p:cNvSpPr/>
          <p:nvPr/>
        </p:nvSpPr>
        <p:spPr>
          <a:xfrm>
            <a:off x="10652023" y="5722345"/>
            <a:ext cx="631823" cy="307738"/>
          </a:xfrm>
          <a:prstGeom prst="rect">
            <a:avLst/>
          </a:prstGeom>
        </p:spPr>
        <p:txBody>
          <a:bodyPr wrap="none">
            <a:spAutoFit/>
          </a:bodyPr>
          <a:lstStyle/>
          <a:p>
            <a:pPr algn="ctr" defTabSz="914309">
              <a:defRPr/>
            </a:pPr>
            <a:r>
              <a:rPr lang="en-US" sz="1400" spc="-50" dirty="0">
                <a:solidFill>
                  <a:schemeClr val="accent4"/>
                </a:solidFill>
                <a:latin typeface="Segoe UI Semibold" panose="020B0702040204020203" pitchFamily="34" charset="0"/>
                <a:cs typeface="Segoe UI Semibold" panose="020B0702040204020203" pitchFamily="34" charset="0"/>
              </a:rPr>
              <a:t>MSAL</a:t>
            </a:r>
          </a:p>
        </p:txBody>
      </p:sp>
      <p:sp>
        <p:nvSpPr>
          <p:cNvPr id="134" name="Rectangle 133">
            <a:extLst>
              <a:ext uri="{FF2B5EF4-FFF2-40B4-BE49-F238E27FC236}">
                <a16:creationId xmlns:a16="http://schemas.microsoft.com/office/drawing/2014/main" id="{A5620C53-60C8-4FED-864C-E947AD87C35D}"/>
              </a:ext>
            </a:extLst>
          </p:cNvPr>
          <p:cNvSpPr/>
          <p:nvPr/>
        </p:nvSpPr>
        <p:spPr>
          <a:xfrm>
            <a:off x="121444" y="6545262"/>
            <a:ext cx="6228372" cy="369332"/>
          </a:xfrm>
          <a:prstGeom prst="rect">
            <a:avLst/>
          </a:prstGeom>
        </p:spPr>
        <p:txBody>
          <a:bodyPr wrap="none">
            <a:spAutoFit/>
          </a:bodyPr>
          <a:lstStyle/>
          <a:p>
            <a:r>
              <a:rPr lang="en-US" dirty="0">
                <a:hlinkClick r:id="rId9"/>
              </a:rPr>
              <a:t>aka.ms/Azure/Authentication</a:t>
            </a:r>
            <a:r>
              <a:rPr lang="en-US" dirty="0"/>
              <a:t>        </a:t>
            </a:r>
            <a:r>
              <a:rPr lang="en-US" dirty="0">
                <a:hlinkClick r:id="rId10"/>
              </a:rPr>
              <a:t>aka.ms/Azure/Protocols</a:t>
            </a:r>
            <a:r>
              <a:rPr lang="en-US" dirty="0"/>
              <a:t>   </a:t>
            </a:r>
          </a:p>
        </p:txBody>
      </p:sp>
    </p:spTree>
    <p:extLst>
      <p:ext uri="{BB962C8B-B14F-4D97-AF65-F5344CB8AC3E}">
        <p14:creationId xmlns:p14="http://schemas.microsoft.com/office/powerpoint/2010/main" val="143045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heel(1)">
                                      <p:cBhvr>
                                        <p:cTn id="7" dur="2000"/>
                                        <p:tgtEl>
                                          <p:spTgt spid="19"/>
                                        </p:tgtEl>
                                      </p:cBhvr>
                                    </p:animEffect>
                                  </p:childTnLst>
                                </p:cTn>
                              </p:par>
                              <p:par>
                                <p:cTn id="8" presetID="22" presetClass="entr" presetSubtype="8" fill="hold"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wipe(left)">
                                      <p:cBhvr>
                                        <p:cTn id="10" dur="500"/>
                                        <p:tgtEl>
                                          <p:spTgt spid="61"/>
                                        </p:tgtEl>
                                      </p:cBhvr>
                                    </p:animEffect>
                                  </p:childTnLst>
                                </p:cTn>
                              </p:par>
                              <p:par>
                                <p:cTn id="11" presetID="22" presetClass="entr" presetSubtype="8" fill="hold" nodeType="withEffect">
                                  <p:stCondLst>
                                    <p:cond delay="250"/>
                                  </p:stCondLst>
                                  <p:childTnLst>
                                    <p:set>
                                      <p:cBhvr>
                                        <p:cTn id="12" dur="1" fill="hold">
                                          <p:stCondLst>
                                            <p:cond delay="0"/>
                                          </p:stCondLst>
                                        </p:cTn>
                                        <p:tgtEl>
                                          <p:spTgt spid="58"/>
                                        </p:tgtEl>
                                        <p:attrNameLst>
                                          <p:attrName>style.visibility</p:attrName>
                                        </p:attrNameLst>
                                      </p:cBhvr>
                                      <p:to>
                                        <p:strVal val="visible"/>
                                      </p:to>
                                    </p:set>
                                    <p:animEffect transition="in" filter="wipe(left)">
                                      <p:cBhvr>
                                        <p:cTn id="13" dur="500"/>
                                        <p:tgtEl>
                                          <p:spTgt spid="58"/>
                                        </p:tgtEl>
                                      </p:cBhvr>
                                    </p:animEffect>
                                  </p:childTnLst>
                                </p:cTn>
                              </p:par>
                              <p:par>
                                <p:cTn id="14" presetID="22" presetClass="entr" presetSubtype="8" fill="hold" nodeType="withEffect">
                                  <p:stCondLst>
                                    <p:cond delay="500"/>
                                  </p:stCondLst>
                                  <p:childTnLst>
                                    <p:set>
                                      <p:cBhvr>
                                        <p:cTn id="15" dur="1" fill="hold">
                                          <p:stCondLst>
                                            <p:cond delay="0"/>
                                          </p:stCondLst>
                                        </p:cTn>
                                        <p:tgtEl>
                                          <p:spTgt spid="57"/>
                                        </p:tgtEl>
                                        <p:attrNameLst>
                                          <p:attrName>style.visibility</p:attrName>
                                        </p:attrNameLst>
                                      </p:cBhvr>
                                      <p:to>
                                        <p:strVal val="visible"/>
                                      </p:to>
                                    </p:set>
                                    <p:animEffect transition="in" filter="wipe(left)">
                                      <p:cBhvr>
                                        <p:cTn id="16" dur="500"/>
                                        <p:tgtEl>
                                          <p:spTgt spid="57"/>
                                        </p:tgtEl>
                                      </p:cBhvr>
                                    </p:animEffect>
                                  </p:childTnLst>
                                </p:cTn>
                              </p:par>
                              <p:par>
                                <p:cTn id="17" presetID="22" presetClass="entr" presetSubtype="8" fill="hold" nodeType="withEffect">
                                  <p:stCondLst>
                                    <p:cond delay="750"/>
                                  </p:stCondLst>
                                  <p:childTnLst>
                                    <p:set>
                                      <p:cBhvr>
                                        <p:cTn id="18" dur="1" fill="hold">
                                          <p:stCondLst>
                                            <p:cond delay="0"/>
                                          </p:stCondLst>
                                        </p:cTn>
                                        <p:tgtEl>
                                          <p:spTgt spid="63"/>
                                        </p:tgtEl>
                                        <p:attrNameLst>
                                          <p:attrName>style.visibility</p:attrName>
                                        </p:attrNameLst>
                                      </p:cBhvr>
                                      <p:to>
                                        <p:strVal val="visible"/>
                                      </p:to>
                                    </p:set>
                                    <p:animEffect transition="in" filter="wipe(left)">
                                      <p:cBhvr>
                                        <p:cTn id="19" dur="500"/>
                                        <p:tgtEl>
                                          <p:spTgt spid="63"/>
                                        </p:tgtEl>
                                      </p:cBhvr>
                                    </p:animEffect>
                                  </p:childTnLst>
                                </p:cTn>
                              </p:par>
                              <p:par>
                                <p:cTn id="20" presetID="22" presetClass="entr" presetSubtype="2" fill="hold" nodeType="withEffect">
                                  <p:stCondLst>
                                    <p:cond delay="1000"/>
                                  </p:stCondLst>
                                  <p:childTnLst>
                                    <p:set>
                                      <p:cBhvr>
                                        <p:cTn id="21" dur="1" fill="hold">
                                          <p:stCondLst>
                                            <p:cond delay="0"/>
                                          </p:stCondLst>
                                        </p:cTn>
                                        <p:tgtEl>
                                          <p:spTgt spid="60"/>
                                        </p:tgtEl>
                                        <p:attrNameLst>
                                          <p:attrName>style.visibility</p:attrName>
                                        </p:attrNameLst>
                                      </p:cBhvr>
                                      <p:to>
                                        <p:strVal val="visible"/>
                                      </p:to>
                                    </p:set>
                                    <p:animEffect transition="in" filter="wipe(right)">
                                      <p:cBhvr>
                                        <p:cTn id="22" dur="500"/>
                                        <p:tgtEl>
                                          <p:spTgt spid="60"/>
                                        </p:tgtEl>
                                      </p:cBhvr>
                                    </p:animEffect>
                                  </p:childTnLst>
                                </p:cTn>
                              </p:par>
                              <p:par>
                                <p:cTn id="23" presetID="22" presetClass="entr" presetSubtype="2" fill="hold" nodeType="withEffect">
                                  <p:stCondLst>
                                    <p:cond delay="1250"/>
                                  </p:stCondLst>
                                  <p:childTnLst>
                                    <p:set>
                                      <p:cBhvr>
                                        <p:cTn id="24" dur="1" fill="hold">
                                          <p:stCondLst>
                                            <p:cond delay="0"/>
                                          </p:stCondLst>
                                        </p:cTn>
                                        <p:tgtEl>
                                          <p:spTgt spid="64"/>
                                        </p:tgtEl>
                                        <p:attrNameLst>
                                          <p:attrName>style.visibility</p:attrName>
                                        </p:attrNameLst>
                                      </p:cBhvr>
                                      <p:to>
                                        <p:strVal val="visible"/>
                                      </p:to>
                                    </p:set>
                                    <p:animEffect transition="in" filter="wipe(right)">
                                      <p:cBhvr>
                                        <p:cTn id="25" dur="500"/>
                                        <p:tgtEl>
                                          <p:spTgt spid="64"/>
                                        </p:tgtEl>
                                      </p:cBhvr>
                                    </p:animEffect>
                                  </p:childTnLst>
                                </p:cTn>
                              </p:par>
                              <p:par>
                                <p:cTn id="26" presetID="22" presetClass="entr" presetSubtype="8" fill="hold" nodeType="withEffect">
                                  <p:stCondLst>
                                    <p:cond delay="1500"/>
                                  </p:stCondLst>
                                  <p:childTnLst>
                                    <p:set>
                                      <p:cBhvr>
                                        <p:cTn id="27" dur="1" fill="hold">
                                          <p:stCondLst>
                                            <p:cond delay="0"/>
                                          </p:stCondLst>
                                        </p:cTn>
                                        <p:tgtEl>
                                          <p:spTgt spid="62"/>
                                        </p:tgtEl>
                                        <p:attrNameLst>
                                          <p:attrName>style.visibility</p:attrName>
                                        </p:attrNameLst>
                                      </p:cBhvr>
                                      <p:to>
                                        <p:strVal val="visible"/>
                                      </p:to>
                                    </p:set>
                                    <p:animEffect transition="in" filter="wipe(left)">
                                      <p:cBhvr>
                                        <p:cTn id="28" dur="500"/>
                                        <p:tgtEl>
                                          <p:spTgt spid="62"/>
                                        </p:tgtEl>
                                      </p:cBhvr>
                                    </p:animEffect>
                                  </p:childTnLst>
                                </p:cTn>
                              </p:par>
                              <p:par>
                                <p:cTn id="29" presetID="22" presetClass="entr" presetSubtype="8" fill="hold" nodeType="withEffect">
                                  <p:stCondLst>
                                    <p:cond delay="1750"/>
                                  </p:stCondLst>
                                  <p:childTnLst>
                                    <p:set>
                                      <p:cBhvr>
                                        <p:cTn id="30" dur="1" fill="hold">
                                          <p:stCondLst>
                                            <p:cond delay="0"/>
                                          </p:stCondLst>
                                        </p:cTn>
                                        <p:tgtEl>
                                          <p:spTgt spid="59"/>
                                        </p:tgtEl>
                                        <p:attrNameLst>
                                          <p:attrName>style.visibility</p:attrName>
                                        </p:attrNameLst>
                                      </p:cBhvr>
                                      <p:to>
                                        <p:strVal val="visible"/>
                                      </p:to>
                                    </p:set>
                                    <p:animEffect transition="in" filter="wipe(left)">
                                      <p:cBhvr>
                                        <p:cTn id="31" dur="500"/>
                                        <p:tgtEl>
                                          <p:spTgt spid="5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5"/>
                                        </p:tgtEl>
                                        <p:attrNameLst>
                                          <p:attrName>style.visibility</p:attrName>
                                        </p:attrNameLst>
                                      </p:cBhvr>
                                      <p:to>
                                        <p:strVal val="visible"/>
                                      </p:to>
                                    </p:set>
                                    <p:animEffect transition="in" filter="fade">
                                      <p:cBhvr>
                                        <p:cTn id="34" dur="500"/>
                                        <p:tgtEl>
                                          <p:spTgt spid="65"/>
                                        </p:tgtEl>
                                      </p:cBhvr>
                                    </p:animEffect>
                                  </p:childTnLst>
                                </p:cTn>
                              </p:par>
                              <p:par>
                                <p:cTn id="35" presetID="42" presetClass="path" presetSubtype="0" decel="100000" fill="hold" grpId="1" nodeType="withEffect">
                                  <p:stCondLst>
                                    <p:cond delay="0"/>
                                  </p:stCondLst>
                                  <p:childTnLst>
                                    <p:animMotion origin="layout" path="M -2.8287E-6 4.49841E-6 L -2.8287E-6 0.02564 " pathEditMode="relative" rAng="0" ptsTypes="AA">
                                      <p:cBhvr>
                                        <p:cTn id="36" dur="500" spd="-100000" fill="hold"/>
                                        <p:tgtEl>
                                          <p:spTgt spid="65"/>
                                        </p:tgtEl>
                                        <p:attrNameLst>
                                          <p:attrName>ppt_x</p:attrName>
                                          <p:attrName>ppt_y</p:attrName>
                                        </p:attrNameLst>
                                      </p:cBhvr>
                                      <p:rCtr x="0" y="12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5" grpId="1"/>
    </p:bld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6168" y="2481347"/>
            <a:ext cx="11702553" cy="2031830"/>
          </a:xfrm>
        </p:spPr>
        <p:txBody>
          <a:bodyPr/>
          <a:lstStyle/>
          <a:p>
            <a:r>
              <a:rPr lang="en-US" dirty="0"/>
              <a:t>What if an app doesn’t support federated single sign-on?</a:t>
            </a:r>
          </a:p>
        </p:txBody>
      </p:sp>
    </p:spTree>
    <p:extLst>
      <p:ext uri="{BB962C8B-B14F-4D97-AF65-F5344CB8AC3E}">
        <p14:creationId xmlns:p14="http://schemas.microsoft.com/office/powerpoint/2010/main" val="978734993"/>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a:spLocks noGrp="1"/>
          </p:cNvSpPr>
          <p:nvPr>
            <p:ph type="body" sz="quarter" idx="10"/>
          </p:nvPr>
        </p:nvSpPr>
        <p:spPr>
          <a:xfrm>
            <a:off x="366169" y="1212851"/>
            <a:ext cx="11032876" cy="7774436"/>
          </a:xfrm>
        </p:spPr>
        <p:txBody>
          <a:bodyPr/>
          <a:lstStyle/>
          <a:p>
            <a:pPr marL="0" indent="0">
              <a:buNone/>
            </a:pPr>
            <a:r>
              <a:rPr lang="en-US" dirty="0">
                <a:solidFill>
                  <a:schemeClr val="tx2"/>
                </a:solidFill>
              </a:rPr>
              <a:t>Best solution for apps that don’t support SAML/OpenID, and only support entering usernames and passwords    in a web form</a:t>
            </a:r>
          </a:p>
          <a:p>
            <a:pPr marL="0" indent="0">
              <a:buNone/>
            </a:pPr>
            <a:endParaRPr lang="en-US" dirty="0">
              <a:solidFill>
                <a:schemeClr val="tx2"/>
              </a:solidFill>
            </a:endParaRPr>
          </a:p>
          <a:p>
            <a:pPr marL="0" indent="0">
              <a:buNone/>
            </a:pPr>
            <a:endParaRPr lang="en-US" dirty="0">
              <a:solidFill>
                <a:schemeClr val="tx2"/>
              </a:solidFill>
            </a:endParaRPr>
          </a:p>
          <a:p>
            <a:pPr marL="0" indent="0">
              <a:buNone/>
            </a:pPr>
            <a:endParaRPr lang="en-US" dirty="0">
              <a:solidFill>
                <a:schemeClr val="tx2"/>
              </a:solidFill>
            </a:endParaRPr>
          </a:p>
          <a:p>
            <a:pPr marL="0" indent="0">
              <a:buNone/>
            </a:pPr>
            <a:endParaRPr lang="en-US" dirty="0">
              <a:solidFill>
                <a:schemeClr val="tx2"/>
              </a:solidFill>
            </a:endParaRPr>
          </a:p>
          <a:p>
            <a:pPr marL="0" indent="0">
              <a:buNone/>
            </a:pPr>
            <a:endParaRPr lang="en-US" dirty="0">
              <a:solidFill>
                <a:schemeClr val="tx2"/>
              </a:solidFill>
            </a:endParaRPr>
          </a:p>
          <a:p>
            <a:pPr marL="0" indent="0">
              <a:buNone/>
            </a:pPr>
            <a:endParaRPr lang="en-US" dirty="0">
              <a:solidFill>
                <a:schemeClr val="tx2"/>
              </a:solidFill>
            </a:endParaRPr>
          </a:p>
          <a:p>
            <a:pPr marL="0" indent="0">
              <a:buNone/>
            </a:pPr>
            <a:endParaRPr lang="en-US" dirty="0">
              <a:solidFill>
                <a:schemeClr val="tx2"/>
              </a:solidFill>
            </a:endParaRPr>
          </a:p>
          <a:p>
            <a:pPr marL="0" indent="0">
              <a:buNone/>
            </a:pPr>
            <a:endParaRPr lang="en-US" dirty="0">
              <a:solidFill>
                <a:schemeClr val="tx2"/>
              </a:solidFill>
            </a:endParaRPr>
          </a:p>
          <a:p>
            <a:pPr marL="0" indent="0">
              <a:buNone/>
            </a:pPr>
            <a:endParaRPr lang="en-US" dirty="0">
              <a:solidFill>
                <a:schemeClr val="tx2"/>
              </a:solidFill>
            </a:endParaRPr>
          </a:p>
          <a:p>
            <a:pPr marL="0" indent="0">
              <a:buNone/>
            </a:pPr>
            <a:endParaRPr lang="en-US" dirty="0">
              <a:solidFill>
                <a:schemeClr val="tx2"/>
              </a:solidFill>
            </a:endParaRPr>
          </a:p>
        </p:txBody>
      </p:sp>
      <p:sp>
        <p:nvSpPr>
          <p:cNvPr id="2" name="Title 1"/>
          <p:cNvSpPr>
            <a:spLocks noGrp="1"/>
          </p:cNvSpPr>
          <p:nvPr>
            <p:ph type="title"/>
          </p:nvPr>
        </p:nvSpPr>
        <p:spPr/>
        <p:txBody>
          <a:bodyPr/>
          <a:lstStyle/>
          <a:p>
            <a:r>
              <a:rPr lang="en-US" dirty="0"/>
              <a:t>Password-based SSO</a:t>
            </a:r>
          </a:p>
        </p:txBody>
      </p:sp>
    </p:spTree>
    <p:extLst>
      <p:ext uri="{BB962C8B-B14F-4D97-AF65-F5344CB8AC3E}">
        <p14:creationId xmlns:p14="http://schemas.microsoft.com/office/powerpoint/2010/main" val="967843706"/>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a:spLocks noGrp="1"/>
          </p:cNvSpPr>
          <p:nvPr>
            <p:ph type="body" sz="quarter" idx="10"/>
          </p:nvPr>
        </p:nvSpPr>
        <p:spPr>
          <a:xfrm>
            <a:off x="366169" y="1212851"/>
            <a:ext cx="6079876" cy="2179058"/>
          </a:xfrm>
        </p:spPr>
        <p:txBody>
          <a:bodyPr/>
          <a:lstStyle/>
          <a:p>
            <a:pPr marL="0" indent="0">
              <a:buNone/>
            </a:pPr>
            <a:r>
              <a:rPr lang="en-US" dirty="0">
                <a:solidFill>
                  <a:schemeClr val="tx2"/>
                </a:solidFill>
              </a:rPr>
              <a:t>Enables application-specific sets of credentials to be defined and stored                   in Azure AD</a:t>
            </a:r>
          </a:p>
        </p:txBody>
      </p:sp>
      <p:sp>
        <p:nvSpPr>
          <p:cNvPr id="2" name="Title 1"/>
          <p:cNvSpPr>
            <a:spLocks noGrp="1"/>
          </p:cNvSpPr>
          <p:nvPr>
            <p:ph type="title"/>
          </p:nvPr>
        </p:nvSpPr>
        <p:spPr/>
        <p:txBody>
          <a:bodyPr/>
          <a:lstStyle/>
          <a:p>
            <a:r>
              <a:rPr lang="en-US" dirty="0"/>
              <a:t>Password-based SSO</a:t>
            </a: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903244" y="1363662"/>
            <a:ext cx="5029200" cy="3777059"/>
          </a:xfrm>
          <a:prstGeom prst="rect">
            <a:avLst/>
          </a:prstGeom>
        </p:spPr>
      </p:pic>
    </p:spTree>
    <p:extLst>
      <p:ext uri="{BB962C8B-B14F-4D97-AF65-F5344CB8AC3E}">
        <p14:creationId xmlns:p14="http://schemas.microsoft.com/office/powerpoint/2010/main" val="4153924727"/>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ssword-based SSO</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60529" y="5163747"/>
            <a:ext cx="771915" cy="77191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903244" y="1333453"/>
            <a:ext cx="5029200" cy="3792512"/>
          </a:xfrm>
          <a:prstGeom prst="rect">
            <a:avLst/>
          </a:prstGeom>
        </p:spPr>
      </p:pic>
      <p:sp>
        <p:nvSpPr>
          <p:cNvPr id="20" name="Content Placeholder 2"/>
          <p:cNvSpPr>
            <a:spLocks noGrp="1"/>
          </p:cNvSpPr>
          <p:nvPr>
            <p:ph type="body" sz="quarter" idx="10"/>
          </p:nvPr>
        </p:nvSpPr>
        <p:spPr>
          <a:xfrm>
            <a:off x="366169" y="1212851"/>
            <a:ext cx="6079876" cy="2733056"/>
          </a:xfrm>
        </p:spPr>
        <p:txBody>
          <a:bodyPr/>
          <a:lstStyle/>
          <a:p>
            <a:r>
              <a:rPr lang="en-US" sz="2400" dirty="0">
                <a:solidFill>
                  <a:schemeClr val="tx2"/>
                </a:solidFill>
              </a:rPr>
              <a:t>Enables application-specific sets of credentials to be defined and stored                   in Azure AD</a:t>
            </a:r>
          </a:p>
          <a:p>
            <a:r>
              <a:rPr lang="en-US" sz="2400" dirty="0">
                <a:solidFill>
                  <a:schemeClr val="tx2"/>
                </a:solidFill>
              </a:rPr>
              <a:t>Credentials can be assigned to users                        or groups for shared access</a:t>
            </a:r>
          </a:p>
          <a:p>
            <a:r>
              <a:rPr lang="en-US" sz="2400" dirty="0">
                <a:solidFill>
                  <a:schemeClr val="tx2"/>
                </a:solidFill>
              </a:rPr>
              <a:t>When a user accesses the app, a web           browser extension (that must be installed) automatically retrieves the stored         credentials and fills them in the sign-in         page on the user’s behalf</a:t>
            </a:r>
          </a:p>
          <a:p>
            <a:r>
              <a:rPr lang="en-US" sz="2400" dirty="0">
                <a:solidFill>
                  <a:schemeClr val="tx2"/>
                </a:solidFill>
              </a:rPr>
              <a:t>Mobile apps available for mobile devices</a:t>
            </a:r>
          </a:p>
        </p:txBody>
      </p:sp>
    </p:spTree>
    <p:extLst>
      <p:ext uri="{BB962C8B-B14F-4D97-AF65-F5344CB8AC3E}">
        <p14:creationId xmlns:p14="http://schemas.microsoft.com/office/powerpoint/2010/main" val="2445354529"/>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a:spLocks noGrp="1"/>
          </p:cNvSpPr>
          <p:nvPr>
            <p:ph type="body" sz="quarter" idx="10"/>
          </p:nvPr>
        </p:nvSpPr>
        <p:spPr>
          <a:xfrm>
            <a:off x="366169" y="1212851"/>
            <a:ext cx="6208082" cy="6315575"/>
          </a:xfrm>
        </p:spPr>
        <p:txBody>
          <a:bodyPr/>
          <a:lstStyle/>
          <a:p>
            <a:r>
              <a:rPr lang="en-US" sz="2400" dirty="0">
                <a:solidFill>
                  <a:schemeClr val="tx2"/>
                </a:solidFill>
              </a:rPr>
              <a:t>When a user accesses the app, a web browser extension (that must be installed) automatically retrieves the stored credentials and fills them in the sign-in page on the user’s behalf</a:t>
            </a:r>
          </a:p>
          <a:p>
            <a:r>
              <a:rPr lang="en-US" sz="2400" dirty="0">
                <a:solidFill>
                  <a:schemeClr val="tx2"/>
                </a:solidFill>
              </a:rPr>
              <a:t>Mobile apps available for mobile devices</a:t>
            </a:r>
          </a:p>
          <a:p>
            <a:endParaRPr lang="en-US" sz="2400" dirty="0">
              <a:solidFill>
                <a:schemeClr val="tx2"/>
              </a:solidFill>
            </a:endParaRPr>
          </a:p>
          <a:p>
            <a:endParaRPr lang="en-US" sz="2400" dirty="0">
              <a:solidFill>
                <a:schemeClr val="tx2"/>
              </a:solidFill>
            </a:endParaRPr>
          </a:p>
          <a:p>
            <a:endParaRPr lang="en-US" sz="2400" dirty="0">
              <a:solidFill>
                <a:schemeClr val="tx2"/>
              </a:solidFill>
            </a:endParaRPr>
          </a:p>
          <a:p>
            <a:endParaRPr lang="en-US" sz="2400" dirty="0">
              <a:solidFill>
                <a:schemeClr val="tx2"/>
              </a:solidFill>
            </a:endParaRPr>
          </a:p>
          <a:p>
            <a:endParaRPr lang="en-US" sz="2400" dirty="0">
              <a:solidFill>
                <a:schemeClr val="tx2"/>
              </a:solidFill>
            </a:endParaRPr>
          </a:p>
          <a:p>
            <a:endParaRPr lang="en-US" sz="2400" dirty="0">
              <a:solidFill>
                <a:schemeClr val="tx2"/>
              </a:solidFill>
            </a:endParaRPr>
          </a:p>
          <a:p>
            <a:endParaRPr lang="en-US" sz="2400" dirty="0">
              <a:solidFill>
                <a:schemeClr val="tx2"/>
              </a:solidFill>
            </a:endParaRPr>
          </a:p>
          <a:p>
            <a:endParaRPr lang="en-US" sz="2400" dirty="0">
              <a:solidFill>
                <a:schemeClr val="tx2"/>
              </a:solidFill>
            </a:endParaRPr>
          </a:p>
          <a:p>
            <a:endParaRPr lang="en-US" sz="2400" dirty="0">
              <a:solidFill>
                <a:schemeClr val="tx2"/>
              </a:solidFill>
            </a:endParaRPr>
          </a:p>
          <a:p>
            <a:endParaRPr lang="en-US" sz="2400" dirty="0">
              <a:solidFill>
                <a:schemeClr val="tx2"/>
              </a:solidFill>
            </a:endParaRPr>
          </a:p>
        </p:txBody>
      </p:sp>
      <p:sp>
        <p:nvSpPr>
          <p:cNvPr id="2" name="Title 1"/>
          <p:cNvSpPr>
            <a:spLocks noGrp="1"/>
          </p:cNvSpPr>
          <p:nvPr>
            <p:ph type="title"/>
          </p:nvPr>
        </p:nvSpPr>
        <p:spPr/>
        <p:txBody>
          <a:bodyPr/>
          <a:lstStyle/>
          <a:p>
            <a:r>
              <a:rPr lang="en-US" dirty="0"/>
              <a:t>Password vaulting</a:t>
            </a: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67329" y="1440124"/>
            <a:ext cx="3667362" cy="2219579"/>
          </a:xfrm>
          <a:prstGeom prst="rect">
            <a:avLst/>
          </a:prstGeom>
          <a:ln w="12700">
            <a:solidFill>
              <a:schemeClr val="accent1"/>
            </a:solidFill>
          </a:ln>
        </p:spPr>
      </p:pic>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79444" y="2716913"/>
            <a:ext cx="3685687" cy="1885580"/>
          </a:xfrm>
          <a:prstGeom prst="rect">
            <a:avLst/>
          </a:prstGeom>
          <a:ln w="12700">
            <a:solidFill>
              <a:schemeClr val="accent1"/>
            </a:solidFill>
          </a:ln>
        </p:spPr>
      </p:pic>
      <p:grpSp>
        <p:nvGrpSpPr>
          <p:cNvPr id="8" name="Group 7"/>
          <p:cNvGrpSpPr/>
          <p:nvPr/>
        </p:nvGrpSpPr>
        <p:grpSpPr>
          <a:xfrm>
            <a:off x="10284645" y="3986806"/>
            <a:ext cx="1218113" cy="2177054"/>
            <a:chOff x="10466858" y="4240149"/>
            <a:chExt cx="1218269" cy="2177332"/>
          </a:xfrm>
        </p:grpSpPr>
        <p:grpSp>
          <p:nvGrpSpPr>
            <p:cNvPr id="9" name="Group 18"/>
            <p:cNvGrpSpPr>
              <a:grpSpLocks noChangeAspect="1"/>
            </p:cNvGrpSpPr>
            <p:nvPr/>
          </p:nvGrpSpPr>
          <p:grpSpPr bwMode="auto">
            <a:xfrm>
              <a:off x="10466858" y="4240149"/>
              <a:ext cx="1218269" cy="2177332"/>
              <a:chOff x="2213" y="1446"/>
              <a:chExt cx="799" cy="1428"/>
            </a:xfrm>
          </p:grpSpPr>
          <p:sp>
            <p:nvSpPr>
              <p:cNvPr id="11" name="AutoShape 17"/>
              <p:cNvSpPr>
                <a:spLocks noChangeAspect="1" noChangeArrowheads="1" noTextEdit="1"/>
              </p:cNvSpPr>
              <p:nvPr/>
            </p:nvSpPr>
            <p:spPr bwMode="auto">
              <a:xfrm>
                <a:off x="2213" y="1446"/>
                <a:ext cx="799"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kern="0">
                  <a:solidFill>
                    <a:srgbClr val="FFFFFF"/>
                  </a:solidFill>
                  <a:latin typeface="Segoe UI"/>
                </a:endParaRPr>
              </a:p>
            </p:txBody>
          </p:sp>
          <p:sp>
            <p:nvSpPr>
              <p:cNvPr id="12" name="Freeform 19"/>
              <p:cNvSpPr>
                <a:spLocks/>
              </p:cNvSpPr>
              <p:nvPr/>
            </p:nvSpPr>
            <p:spPr bwMode="auto">
              <a:xfrm>
                <a:off x="2218" y="1446"/>
                <a:ext cx="789" cy="1428"/>
              </a:xfrm>
              <a:custGeom>
                <a:avLst/>
                <a:gdLst>
                  <a:gd name="T0" fmla="*/ 142 w 151"/>
                  <a:gd name="T1" fmla="*/ 0 h 276"/>
                  <a:gd name="T2" fmla="*/ 10 w 151"/>
                  <a:gd name="T3" fmla="*/ 0 h 276"/>
                  <a:gd name="T4" fmla="*/ 0 w 151"/>
                  <a:gd name="T5" fmla="*/ 10 h 276"/>
                  <a:gd name="T6" fmla="*/ 0 w 151"/>
                  <a:gd name="T7" fmla="*/ 266 h 276"/>
                  <a:gd name="T8" fmla="*/ 10 w 151"/>
                  <a:gd name="T9" fmla="*/ 276 h 276"/>
                  <a:gd name="T10" fmla="*/ 142 w 151"/>
                  <a:gd name="T11" fmla="*/ 276 h 276"/>
                  <a:gd name="T12" fmla="*/ 151 w 151"/>
                  <a:gd name="T13" fmla="*/ 266 h 276"/>
                  <a:gd name="T14" fmla="*/ 151 w 151"/>
                  <a:gd name="T15" fmla="*/ 10 h 276"/>
                  <a:gd name="T16" fmla="*/ 142 w 151"/>
                  <a:gd name="T17"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276">
                    <a:moveTo>
                      <a:pt x="142" y="0"/>
                    </a:moveTo>
                    <a:cubicBezTo>
                      <a:pt x="10" y="0"/>
                      <a:pt x="10" y="0"/>
                      <a:pt x="10" y="0"/>
                    </a:cubicBezTo>
                    <a:cubicBezTo>
                      <a:pt x="5" y="0"/>
                      <a:pt x="0" y="4"/>
                      <a:pt x="0" y="10"/>
                    </a:cubicBezTo>
                    <a:cubicBezTo>
                      <a:pt x="0" y="249"/>
                      <a:pt x="0" y="266"/>
                      <a:pt x="0" y="266"/>
                    </a:cubicBezTo>
                    <a:cubicBezTo>
                      <a:pt x="0" y="271"/>
                      <a:pt x="5" y="276"/>
                      <a:pt x="10" y="276"/>
                    </a:cubicBezTo>
                    <a:cubicBezTo>
                      <a:pt x="142" y="276"/>
                      <a:pt x="142" y="276"/>
                      <a:pt x="142" y="276"/>
                    </a:cubicBezTo>
                    <a:cubicBezTo>
                      <a:pt x="147" y="276"/>
                      <a:pt x="151" y="271"/>
                      <a:pt x="151" y="266"/>
                    </a:cubicBezTo>
                    <a:cubicBezTo>
                      <a:pt x="151" y="27"/>
                      <a:pt x="151" y="10"/>
                      <a:pt x="151" y="10"/>
                    </a:cubicBezTo>
                    <a:cubicBezTo>
                      <a:pt x="151" y="4"/>
                      <a:pt x="147" y="0"/>
                      <a:pt x="142"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kern="0">
                  <a:solidFill>
                    <a:srgbClr val="FFFFFF"/>
                  </a:solidFill>
                  <a:latin typeface="Segoe UI"/>
                </a:endParaRPr>
              </a:p>
            </p:txBody>
          </p:sp>
          <p:sp>
            <p:nvSpPr>
              <p:cNvPr id="13" name="Freeform 21"/>
              <p:cNvSpPr>
                <a:spLocks/>
              </p:cNvSpPr>
              <p:nvPr/>
            </p:nvSpPr>
            <p:spPr bwMode="auto">
              <a:xfrm>
                <a:off x="2495" y="1519"/>
                <a:ext cx="240" cy="31"/>
              </a:xfrm>
              <a:custGeom>
                <a:avLst/>
                <a:gdLst>
                  <a:gd name="T0" fmla="*/ 46 w 46"/>
                  <a:gd name="T1" fmla="*/ 3 h 6"/>
                  <a:gd name="T2" fmla="*/ 42 w 46"/>
                  <a:gd name="T3" fmla="*/ 6 h 6"/>
                  <a:gd name="T4" fmla="*/ 3 w 46"/>
                  <a:gd name="T5" fmla="*/ 6 h 6"/>
                  <a:gd name="T6" fmla="*/ 0 w 46"/>
                  <a:gd name="T7" fmla="*/ 3 h 6"/>
                  <a:gd name="T8" fmla="*/ 3 w 46"/>
                  <a:gd name="T9" fmla="*/ 0 h 6"/>
                  <a:gd name="T10" fmla="*/ 42 w 46"/>
                  <a:gd name="T11" fmla="*/ 0 h 6"/>
                  <a:gd name="T12" fmla="*/ 46 w 4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6" h="6">
                    <a:moveTo>
                      <a:pt x="46" y="3"/>
                    </a:moveTo>
                    <a:cubicBezTo>
                      <a:pt x="46" y="4"/>
                      <a:pt x="44" y="6"/>
                      <a:pt x="42" y="6"/>
                    </a:cubicBezTo>
                    <a:cubicBezTo>
                      <a:pt x="3" y="6"/>
                      <a:pt x="3" y="6"/>
                      <a:pt x="3" y="6"/>
                    </a:cubicBezTo>
                    <a:cubicBezTo>
                      <a:pt x="1" y="6"/>
                      <a:pt x="0" y="4"/>
                      <a:pt x="0" y="3"/>
                    </a:cubicBezTo>
                    <a:cubicBezTo>
                      <a:pt x="0" y="1"/>
                      <a:pt x="1" y="0"/>
                      <a:pt x="3" y="0"/>
                    </a:cubicBezTo>
                    <a:cubicBezTo>
                      <a:pt x="42" y="0"/>
                      <a:pt x="42" y="0"/>
                      <a:pt x="42" y="0"/>
                    </a:cubicBezTo>
                    <a:cubicBezTo>
                      <a:pt x="44" y="0"/>
                      <a:pt x="46" y="1"/>
                      <a:pt x="4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kern="0">
                  <a:solidFill>
                    <a:srgbClr val="FFFFFF"/>
                  </a:solidFill>
                  <a:latin typeface="Segoe UI"/>
                </a:endParaRPr>
              </a:p>
            </p:txBody>
          </p:sp>
          <p:sp>
            <p:nvSpPr>
              <p:cNvPr id="14" name="Freeform 22"/>
              <p:cNvSpPr>
                <a:spLocks/>
              </p:cNvSpPr>
              <p:nvPr/>
            </p:nvSpPr>
            <p:spPr bwMode="auto">
              <a:xfrm>
                <a:off x="2297" y="2667"/>
                <a:ext cx="208" cy="0"/>
              </a:xfrm>
              <a:custGeom>
                <a:avLst/>
                <a:gdLst>
                  <a:gd name="T0" fmla="*/ 0 w 208"/>
                  <a:gd name="T1" fmla="*/ 208 w 208"/>
                  <a:gd name="T2" fmla="*/ 208 w 208"/>
                  <a:gd name="T3" fmla="*/ 0 w 208"/>
                  <a:gd name="T4" fmla="*/ 0 w 208"/>
                  <a:gd name="T5" fmla="*/ 0 w 208"/>
                </a:gdLst>
                <a:ahLst/>
                <a:cxnLst>
                  <a:cxn ang="0">
                    <a:pos x="T0" y="0"/>
                  </a:cxn>
                  <a:cxn ang="0">
                    <a:pos x="T1" y="0"/>
                  </a:cxn>
                  <a:cxn ang="0">
                    <a:pos x="T2" y="0"/>
                  </a:cxn>
                  <a:cxn ang="0">
                    <a:pos x="T3" y="0"/>
                  </a:cxn>
                  <a:cxn ang="0">
                    <a:pos x="T4" y="0"/>
                  </a:cxn>
                  <a:cxn ang="0">
                    <a:pos x="T5" y="0"/>
                  </a:cxn>
                </a:cxnLst>
                <a:rect l="0" t="0" r="r" b="b"/>
                <a:pathLst>
                  <a:path w="208">
                    <a:moveTo>
                      <a:pt x="0" y="0"/>
                    </a:moveTo>
                    <a:lnTo>
                      <a:pt x="208" y="0"/>
                    </a:lnTo>
                    <a:lnTo>
                      <a:pt x="208" y="0"/>
                    </a:lnTo>
                    <a:lnTo>
                      <a:pt x="0" y="0"/>
                    </a:lnTo>
                    <a:lnTo>
                      <a:pt x="0" y="0"/>
                    </a:lnTo>
                    <a:lnTo>
                      <a:pt x="0" y="0"/>
                    </a:lnTo>
                    <a:close/>
                  </a:path>
                </a:pathLst>
              </a:custGeom>
              <a:solidFill>
                <a:srgbClr val="5D48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kern="0">
                  <a:solidFill>
                    <a:srgbClr val="FFFFFF"/>
                  </a:solidFill>
                  <a:latin typeface="Segoe UI"/>
                </a:endParaRPr>
              </a:p>
            </p:txBody>
          </p:sp>
          <p:sp>
            <p:nvSpPr>
              <p:cNvPr id="15" name="Oval 24"/>
              <p:cNvSpPr>
                <a:spLocks noChangeArrowheads="1"/>
              </p:cNvSpPr>
              <p:nvPr/>
            </p:nvSpPr>
            <p:spPr bwMode="auto">
              <a:xfrm>
                <a:off x="2558" y="2703"/>
                <a:ext cx="130" cy="1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kern="0">
                  <a:solidFill>
                    <a:srgbClr val="FFFFFF"/>
                  </a:solidFill>
                  <a:latin typeface="Segoe UI"/>
                </a:endParaRPr>
              </a:p>
            </p:txBody>
          </p:sp>
        </p:grpSp>
        <p:pic>
          <p:nvPicPr>
            <p:cNvPr id="10" name="Picture 9"/>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0587319" y="4497264"/>
              <a:ext cx="979918" cy="1471663"/>
            </a:xfrm>
            <a:prstGeom prst="rect">
              <a:avLst/>
            </a:prstGeom>
            <a:ln>
              <a:noFill/>
            </a:ln>
            <a:effectLst>
              <a:innerShdw blurRad="25400">
                <a:prstClr val="black"/>
              </a:innerShdw>
            </a:effectLst>
          </p:spPr>
        </p:pic>
      </p:grpSp>
    </p:spTree>
    <p:extLst>
      <p:ext uri="{BB962C8B-B14F-4D97-AF65-F5344CB8AC3E}">
        <p14:creationId xmlns:p14="http://schemas.microsoft.com/office/powerpoint/2010/main" val="2319074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txBox="1">
            <a:spLocks/>
          </p:cNvSpPr>
          <p:nvPr/>
        </p:nvSpPr>
        <p:spPr>
          <a:xfrm>
            <a:off x="366169" y="2481347"/>
            <a:ext cx="10423276" cy="2031830"/>
          </a:xfrm>
          <a:prstGeom prst="rect">
            <a:avLst/>
          </a:prstGeom>
          <a:noFill/>
        </p:spPr>
        <p:txBody>
          <a:bodyPr vert="horz" wrap="square" lIns="146304" tIns="91440" rIns="146304" bIns="91440" rtlCol="0" anchor="t" anchorCtr="0">
            <a:spAutoFit/>
          </a:bodyPr>
          <a:lstStyle>
            <a:lvl1pPr algn="l" defTabSz="932594" rtl="0" eaLnBrk="1" latinLnBrk="0" hangingPunct="1">
              <a:lnSpc>
                <a:spcPct val="90000"/>
              </a:lnSpc>
              <a:spcBef>
                <a:spcPct val="0"/>
              </a:spcBef>
              <a:buNone/>
              <a:defRPr lang="en-US" sz="66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dirty="0"/>
              <a:t>What is user account provisioning?</a:t>
            </a:r>
          </a:p>
        </p:txBody>
      </p:sp>
    </p:spTree>
    <p:extLst>
      <p:ext uri="{BB962C8B-B14F-4D97-AF65-F5344CB8AC3E}">
        <p14:creationId xmlns:p14="http://schemas.microsoft.com/office/powerpoint/2010/main" val="901001852"/>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66169" y="295278"/>
            <a:ext cx="11702551" cy="917575"/>
          </a:xfrm>
        </p:spPr>
        <p:txBody>
          <a:bodyPr/>
          <a:lstStyle/>
          <a:p>
            <a:pPr algn="l"/>
            <a:r>
              <a:rPr lang="en-US" dirty="0"/>
              <a:t>User provisioning</a:t>
            </a:r>
          </a:p>
        </p:txBody>
      </p:sp>
      <p:sp>
        <p:nvSpPr>
          <p:cNvPr id="34" name="Content Placeholder 5"/>
          <p:cNvSpPr>
            <a:spLocks noGrp="1"/>
          </p:cNvSpPr>
          <p:nvPr>
            <p:ph sz="half" idx="4294967295"/>
          </p:nvPr>
        </p:nvSpPr>
        <p:spPr>
          <a:xfrm>
            <a:off x="366169" y="1668462"/>
            <a:ext cx="5394075" cy="5783263"/>
          </a:xfrm>
        </p:spPr>
        <p:txBody>
          <a:bodyPr>
            <a:noAutofit/>
          </a:bodyPr>
          <a:lstStyle/>
          <a:p>
            <a:r>
              <a:rPr lang="en-US" sz="2400" dirty="0">
                <a:solidFill>
                  <a:schemeClr val="tx2"/>
                </a:solidFill>
              </a:rPr>
              <a:t>The act of creating, updating, and/or disabling user account records in an application’s local user profile store</a:t>
            </a:r>
          </a:p>
          <a:p>
            <a:r>
              <a:rPr lang="en-US" sz="2400" dirty="0">
                <a:solidFill>
                  <a:schemeClr val="tx2"/>
                </a:solidFill>
              </a:rPr>
              <a:t>Most SaaS apps store the user’s role and permissions in their own local user profile store</a:t>
            </a:r>
          </a:p>
          <a:p>
            <a:endParaRPr lang="en-US" sz="2400" dirty="0">
              <a:solidFill>
                <a:schemeClr val="tx2"/>
              </a:solidFill>
            </a:endParaRPr>
          </a:p>
          <a:p>
            <a:pPr marL="0" indent="0">
              <a:buNone/>
            </a:pPr>
            <a:endParaRPr lang="en-US" sz="2400" dirty="0">
              <a:solidFill>
                <a:schemeClr val="tx2"/>
              </a:solidFill>
            </a:endParaRPr>
          </a:p>
          <a:p>
            <a:pPr marL="0" indent="0">
              <a:buNone/>
            </a:pPr>
            <a:endParaRPr lang="en-US" sz="2400" dirty="0">
              <a:solidFill>
                <a:schemeClr val="tx2"/>
              </a:solidFill>
            </a:endParaRPr>
          </a:p>
        </p:txBody>
      </p:sp>
      <p:grpSp>
        <p:nvGrpSpPr>
          <p:cNvPr id="8" name="Group 7"/>
          <p:cNvGrpSpPr/>
          <p:nvPr/>
        </p:nvGrpSpPr>
        <p:grpSpPr>
          <a:xfrm>
            <a:off x="7665244" y="1176693"/>
            <a:ext cx="2725647" cy="5322159"/>
            <a:chOff x="5980907" y="1201178"/>
            <a:chExt cx="2725647" cy="5322159"/>
          </a:xfrm>
        </p:grpSpPr>
        <p:sp>
          <p:nvSpPr>
            <p:cNvPr id="21" name="TextBox 20"/>
            <p:cNvSpPr txBox="1"/>
            <p:nvPr/>
          </p:nvSpPr>
          <p:spPr>
            <a:xfrm>
              <a:off x="5980907" y="1201178"/>
              <a:ext cx="2725647" cy="3083840"/>
            </a:xfrm>
            <a:prstGeom prst="rect">
              <a:avLst/>
            </a:prstGeom>
            <a:solidFill>
              <a:srgbClr val="0078D7"/>
            </a:solidFill>
          </p:spPr>
          <p:txBody>
            <a:bodyPr wrap="none" lIns="182831" tIns="146264" rIns="182831" bIns="146264" rtlCol="0" anchor="ctr" anchorCtr="0">
              <a:noAutofit/>
            </a:bodyPr>
            <a:lstStyle/>
            <a:p>
              <a:pPr defTabSz="914309">
                <a:lnSpc>
                  <a:spcPct val="90000"/>
                </a:lnSpc>
                <a:spcAft>
                  <a:spcPts val="600"/>
                </a:spcAft>
                <a:defRPr/>
              </a:pPr>
              <a:r>
                <a:rPr lang="en-US" sz="2400" kern="0" dirty="0">
                  <a:solidFill>
                    <a:schemeClr val="bg1"/>
                  </a:solidFill>
                  <a:latin typeface="Segoe UI Semibold" panose="020B0702040204020203" pitchFamily="34" charset="0"/>
                  <a:cs typeface="Segoe UI Semibold" panose="020B0702040204020203" pitchFamily="34" charset="0"/>
                </a:rPr>
                <a:t>User profile data</a:t>
              </a:r>
            </a:p>
            <a:p>
              <a:pPr marL="349689" indent="-349689" defTabSz="914309">
                <a:lnSpc>
                  <a:spcPct val="90000"/>
                </a:lnSpc>
                <a:spcAft>
                  <a:spcPts val="600"/>
                </a:spcAft>
                <a:buFont typeface="Arial" panose="020B0604020202020204" pitchFamily="34" charset="0"/>
                <a:buChar char="•"/>
                <a:defRPr/>
              </a:pPr>
              <a:r>
                <a:rPr lang="en-US" sz="2400" kern="0" dirty="0">
                  <a:solidFill>
                    <a:schemeClr val="bg1"/>
                  </a:solidFill>
                  <a:latin typeface="+mj-lt"/>
                </a:rPr>
                <a:t>Username</a:t>
              </a:r>
            </a:p>
            <a:p>
              <a:pPr marL="349689" indent="-349689" defTabSz="914309">
                <a:lnSpc>
                  <a:spcPct val="90000"/>
                </a:lnSpc>
                <a:spcAft>
                  <a:spcPts val="600"/>
                </a:spcAft>
                <a:buFont typeface="Arial" panose="020B0604020202020204" pitchFamily="34" charset="0"/>
                <a:buChar char="•"/>
                <a:defRPr/>
              </a:pPr>
              <a:r>
                <a:rPr lang="en-US" sz="2400" kern="0" dirty="0">
                  <a:solidFill>
                    <a:schemeClr val="bg1"/>
                  </a:solidFill>
                  <a:latin typeface="+mj-lt"/>
                </a:rPr>
                <a:t>Email address</a:t>
              </a:r>
            </a:p>
            <a:p>
              <a:pPr marL="349689" indent="-349689" defTabSz="914309">
                <a:lnSpc>
                  <a:spcPct val="90000"/>
                </a:lnSpc>
                <a:spcAft>
                  <a:spcPts val="600"/>
                </a:spcAft>
                <a:buFont typeface="Arial" panose="020B0604020202020204" pitchFamily="34" charset="0"/>
                <a:buChar char="•"/>
                <a:defRPr/>
              </a:pPr>
              <a:r>
                <a:rPr lang="en-US" sz="2400" kern="0" dirty="0">
                  <a:solidFill>
                    <a:schemeClr val="bg1"/>
                  </a:solidFill>
                  <a:latin typeface="+mj-lt"/>
                </a:rPr>
                <a:t>First name</a:t>
              </a:r>
            </a:p>
            <a:p>
              <a:pPr marL="349689" indent="-349689" defTabSz="914309">
                <a:lnSpc>
                  <a:spcPct val="90000"/>
                </a:lnSpc>
                <a:spcAft>
                  <a:spcPts val="600"/>
                </a:spcAft>
                <a:buFont typeface="Arial" panose="020B0604020202020204" pitchFamily="34" charset="0"/>
                <a:buChar char="•"/>
                <a:defRPr/>
              </a:pPr>
              <a:r>
                <a:rPr lang="en-US" sz="2400" kern="0" dirty="0">
                  <a:solidFill>
                    <a:schemeClr val="bg1"/>
                  </a:solidFill>
                  <a:latin typeface="+mj-lt"/>
                </a:rPr>
                <a:t>Last name</a:t>
              </a:r>
            </a:p>
            <a:p>
              <a:pPr marL="349689" indent="-349689" defTabSz="914309">
                <a:lnSpc>
                  <a:spcPct val="90000"/>
                </a:lnSpc>
                <a:spcAft>
                  <a:spcPts val="600"/>
                </a:spcAft>
                <a:buFont typeface="Arial" panose="020B0604020202020204" pitchFamily="34" charset="0"/>
                <a:buChar char="•"/>
                <a:defRPr/>
              </a:pPr>
              <a:r>
                <a:rPr lang="en-US" sz="2400" kern="0" dirty="0">
                  <a:solidFill>
                    <a:schemeClr val="bg1"/>
                  </a:solidFill>
                  <a:latin typeface="+mj-lt"/>
                </a:rPr>
                <a:t>Role</a:t>
              </a:r>
            </a:p>
            <a:p>
              <a:pPr marL="349689" indent="-349689" defTabSz="914309">
                <a:lnSpc>
                  <a:spcPct val="90000"/>
                </a:lnSpc>
                <a:spcAft>
                  <a:spcPts val="600"/>
                </a:spcAft>
                <a:buFont typeface="Arial" panose="020B0604020202020204" pitchFamily="34" charset="0"/>
                <a:buChar char="•"/>
                <a:defRPr/>
              </a:pPr>
              <a:r>
                <a:rPr lang="en-US" sz="2400" kern="0" dirty="0">
                  <a:solidFill>
                    <a:schemeClr val="bg1"/>
                  </a:solidFill>
                  <a:latin typeface="+mj-lt"/>
                </a:rPr>
                <a:t>Permissions</a:t>
              </a:r>
            </a:p>
          </p:txBody>
        </p:sp>
        <p:sp>
          <p:nvSpPr>
            <p:cNvPr id="2" name="Right Arrow 1"/>
            <p:cNvSpPr/>
            <p:nvPr/>
          </p:nvSpPr>
          <p:spPr bwMode="auto">
            <a:xfrm rot="5400000">
              <a:off x="6957263" y="4701838"/>
              <a:ext cx="772934" cy="477214"/>
            </a:xfrm>
            <a:prstGeom prst="rightArrow">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dirty="0">
                <a:solidFill>
                  <a:srgbClr val="FFFFFF">
                    <a:lumMod val="50000"/>
                  </a:srgbClr>
                </a:solidFill>
                <a:latin typeface="Segoe UI"/>
              </a:endParaRPr>
            </a:p>
          </p:txBody>
        </p:sp>
        <p:grpSp>
          <p:nvGrpSpPr>
            <p:cNvPr id="3" name="Group 2"/>
            <p:cNvGrpSpPr/>
            <p:nvPr/>
          </p:nvGrpSpPr>
          <p:grpSpPr>
            <a:xfrm>
              <a:off x="6528938" y="5402262"/>
              <a:ext cx="2106799" cy="1121075"/>
              <a:chOff x="10332244" y="2833387"/>
              <a:chExt cx="2106799" cy="1121075"/>
            </a:xfrm>
          </p:grpSpPr>
          <p:sp>
            <p:nvSpPr>
              <p:cNvPr id="9" name="Content Placeholder 5"/>
              <p:cNvSpPr txBox="1">
                <a:spLocks/>
              </p:cNvSpPr>
              <p:nvPr/>
            </p:nvSpPr>
            <p:spPr>
              <a:xfrm>
                <a:off x="10351747" y="3111608"/>
                <a:ext cx="2087296" cy="842854"/>
              </a:xfrm>
              <a:prstGeom prst="rect">
                <a:avLst/>
              </a:prstGeom>
            </p:spPr>
            <p:txBody>
              <a:bodyPr vert="horz" wrap="square" lIns="146285" tIns="91428" rIns="146285" bIns="91428" rtlCol="0">
                <a:normAutofit fontScale="400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66" indent="-342866" defTabSz="932649">
                  <a:defRPr/>
                </a:pPr>
                <a:endParaRPr lang="en-US">
                  <a:gradFill>
                    <a:gsLst>
                      <a:gs pos="1250">
                        <a:srgbClr val="FFFFFF"/>
                      </a:gs>
                      <a:gs pos="100000">
                        <a:srgbClr val="FFFFFF"/>
                      </a:gs>
                    </a:gsLst>
                    <a:lin ang="5400000" scaled="0"/>
                  </a:gradFill>
                  <a:latin typeface="Segoe UI Light"/>
                </a:endParaRPr>
              </a:p>
              <a:p>
                <a:pPr marL="0" indent="0" defTabSz="932649">
                  <a:buNone/>
                  <a:defRPr/>
                </a:pPr>
                <a:r>
                  <a:rPr lang="en-US">
                    <a:gradFill>
                      <a:gsLst>
                        <a:gs pos="1250">
                          <a:srgbClr val="FFFFFF"/>
                        </a:gs>
                        <a:gs pos="100000">
                          <a:srgbClr val="FFFFFF"/>
                        </a:gs>
                      </a:gsLst>
                      <a:lin ang="5400000" scaled="0"/>
                    </a:gradFill>
                    <a:latin typeface="Segoe UI Light"/>
                  </a:rPr>
                  <a:t>“Identity Provider”</a:t>
                </a:r>
              </a:p>
            </p:txBody>
          </p:sp>
          <p:sp>
            <p:nvSpPr>
              <p:cNvPr id="10" name="Freeform 8"/>
              <p:cNvSpPr>
                <a:spLocks/>
              </p:cNvSpPr>
              <p:nvPr/>
            </p:nvSpPr>
            <p:spPr bwMode="auto">
              <a:xfrm>
                <a:off x="10843821" y="2833387"/>
                <a:ext cx="1116453" cy="1011973"/>
              </a:xfrm>
              <a:custGeom>
                <a:avLst/>
                <a:gdLst>
                  <a:gd name="T0" fmla="*/ 805 w 805"/>
                  <a:gd name="T1" fmla="*/ 522 h 729"/>
                  <a:gd name="T2" fmla="*/ 688 w 805"/>
                  <a:gd name="T3" fmla="*/ 306 h 729"/>
                  <a:gd name="T4" fmla="*/ 603 w 805"/>
                  <a:gd name="T5" fmla="*/ 154 h 729"/>
                  <a:gd name="T6" fmla="*/ 499 w 805"/>
                  <a:gd name="T7" fmla="*/ 123 h 729"/>
                  <a:gd name="T8" fmla="*/ 409 w 805"/>
                  <a:gd name="T9" fmla="*/ 145 h 729"/>
                  <a:gd name="T10" fmla="*/ 138 w 805"/>
                  <a:gd name="T11" fmla="*/ 0 h 729"/>
                  <a:gd name="T12" fmla="*/ 0 w 805"/>
                  <a:gd name="T13" fmla="*/ 31 h 729"/>
                  <a:gd name="T14" fmla="*/ 698 w 805"/>
                  <a:gd name="T15" fmla="*/ 729 h 729"/>
                  <a:gd name="T16" fmla="*/ 805 w 805"/>
                  <a:gd name="T17" fmla="*/ 52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5" h="729">
                    <a:moveTo>
                      <a:pt x="805" y="522"/>
                    </a:moveTo>
                    <a:cubicBezTo>
                      <a:pt x="805" y="434"/>
                      <a:pt x="757" y="353"/>
                      <a:pt x="688" y="306"/>
                    </a:cubicBezTo>
                    <a:cubicBezTo>
                      <a:pt x="686" y="242"/>
                      <a:pt x="653" y="187"/>
                      <a:pt x="603" y="154"/>
                    </a:cubicBezTo>
                    <a:cubicBezTo>
                      <a:pt x="574" y="135"/>
                      <a:pt x="537" y="123"/>
                      <a:pt x="499" y="123"/>
                    </a:cubicBezTo>
                    <a:cubicBezTo>
                      <a:pt x="466" y="123"/>
                      <a:pt x="435" y="132"/>
                      <a:pt x="409" y="145"/>
                    </a:cubicBezTo>
                    <a:cubicBezTo>
                      <a:pt x="351" y="59"/>
                      <a:pt x="252" y="0"/>
                      <a:pt x="138" y="0"/>
                    </a:cubicBezTo>
                    <a:cubicBezTo>
                      <a:pt x="88" y="0"/>
                      <a:pt x="43" y="12"/>
                      <a:pt x="0" y="31"/>
                    </a:cubicBezTo>
                    <a:cubicBezTo>
                      <a:pt x="698" y="729"/>
                      <a:pt x="698" y="729"/>
                      <a:pt x="698" y="729"/>
                    </a:cubicBezTo>
                    <a:cubicBezTo>
                      <a:pt x="764" y="683"/>
                      <a:pt x="805" y="608"/>
                      <a:pt x="805" y="522"/>
                    </a:cubicBezTo>
                    <a:close/>
                  </a:path>
                </a:pathLst>
              </a:custGeom>
              <a:solidFill>
                <a:schemeClr val="bg1">
                  <a:lumMod val="85000"/>
                </a:schemeClr>
              </a:solidFill>
              <a:ln>
                <a:noFill/>
              </a:ln>
              <a:extLst/>
            </p:spPr>
            <p:txBody>
              <a:bodyPr vert="horz" wrap="square" lIns="91402" tIns="45701" rIns="91402" bIns="45701" numCol="1" anchor="t" anchorCtr="0" compatLnSpc="1">
                <a:prstTxWarp prst="textNoShape">
                  <a:avLst/>
                </a:prstTxWarp>
              </a:bodyPr>
              <a:lstStyle/>
              <a:p>
                <a:pPr defTabSz="932409">
                  <a:defRPr/>
                </a:pPr>
                <a:endParaRPr lang="en-US" sz="1801" kern="0">
                  <a:solidFill>
                    <a:srgbClr val="505050"/>
                  </a:solidFill>
                  <a:latin typeface="Segoe UI"/>
                </a:endParaRPr>
              </a:p>
            </p:txBody>
          </p:sp>
          <p:sp>
            <p:nvSpPr>
              <p:cNvPr id="13" name="Freeform 9"/>
              <p:cNvSpPr>
                <a:spLocks/>
              </p:cNvSpPr>
              <p:nvPr/>
            </p:nvSpPr>
            <p:spPr bwMode="auto">
              <a:xfrm>
                <a:off x="10332244" y="2871260"/>
                <a:ext cx="1491092" cy="1035854"/>
              </a:xfrm>
              <a:custGeom>
                <a:avLst/>
                <a:gdLst>
                  <a:gd name="T0" fmla="*/ 377 w 1074"/>
                  <a:gd name="T1" fmla="*/ 0 h 746"/>
                  <a:gd name="T2" fmla="*/ 190 w 1074"/>
                  <a:gd name="T3" fmla="*/ 295 h 746"/>
                  <a:gd name="T4" fmla="*/ 190 w 1074"/>
                  <a:gd name="T5" fmla="*/ 309 h 746"/>
                  <a:gd name="T6" fmla="*/ 0 w 1074"/>
                  <a:gd name="T7" fmla="*/ 527 h 746"/>
                  <a:gd name="T8" fmla="*/ 219 w 1074"/>
                  <a:gd name="T9" fmla="*/ 746 h 746"/>
                  <a:gd name="T10" fmla="*/ 304 w 1074"/>
                  <a:gd name="T11" fmla="*/ 746 h 746"/>
                  <a:gd name="T12" fmla="*/ 342 w 1074"/>
                  <a:gd name="T13" fmla="*/ 746 h 746"/>
                  <a:gd name="T14" fmla="*/ 356 w 1074"/>
                  <a:gd name="T15" fmla="*/ 746 h 746"/>
                  <a:gd name="T16" fmla="*/ 366 w 1074"/>
                  <a:gd name="T17" fmla="*/ 746 h 746"/>
                  <a:gd name="T18" fmla="*/ 898 w 1074"/>
                  <a:gd name="T19" fmla="*/ 746 h 746"/>
                  <a:gd name="T20" fmla="*/ 924 w 1074"/>
                  <a:gd name="T21" fmla="*/ 746 h 746"/>
                  <a:gd name="T22" fmla="*/ 952 w 1074"/>
                  <a:gd name="T23" fmla="*/ 746 h 746"/>
                  <a:gd name="T24" fmla="*/ 1074 w 1074"/>
                  <a:gd name="T25" fmla="*/ 698 h 746"/>
                  <a:gd name="T26" fmla="*/ 377 w 1074"/>
                  <a:gd name="T27" fmla="*/ 0 h 746"/>
                  <a:gd name="T28" fmla="*/ 377 w 1074"/>
                  <a:gd name="T29" fmla="*/ 0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4" h="746">
                    <a:moveTo>
                      <a:pt x="377" y="0"/>
                    </a:moveTo>
                    <a:cubicBezTo>
                      <a:pt x="266" y="52"/>
                      <a:pt x="190" y="164"/>
                      <a:pt x="190" y="295"/>
                    </a:cubicBezTo>
                    <a:cubicBezTo>
                      <a:pt x="190" y="299"/>
                      <a:pt x="190" y="306"/>
                      <a:pt x="190" y="309"/>
                    </a:cubicBezTo>
                    <a:cubicBezTo>
                      <a:pt x="83" y="325"/>
                      <a:pt x="0" y="416"/>
                      <a:pt x="0" y="527"/>
                    </a:cubicBezTo>
                    <a:cubicBezTo>
                      <a:pt x="0" y="646"/>
                      <a:pt x="97" y="743"/>
                      <a:pt x="219" y="746"/>
                    </a:cubicBezTo>
                    <a:cubicBezTo>
                      <a:pt x="219" y="746"/>
                      <a:pt x="219" y="746"/>
                      <a:pt x="304" y="746"/>
                    </a:cubicBezTo>
                    <a:cubicBezTo>
                      <a:pt x="316" y="746"/>
                      <a:pt x="337" y="746"/>
                      <a:pt x="342" y="746"/>
                    </a:cubicBezTo>
                    <a:cubicBezTo>
                      <a:pt x="342" y="746"/>
                      <a:pt x="342" y="746"/>
                      <a:pt x="356" y="746"/>
                    </a:cubicBezTo>
                    <a:cubicBezTo>
                      <a:pt x="359" y="746"/>
                      <a:pt x="363" y="746"/>
                      <a:pt x="366" y="746"/>
                    </a:cubicBezTo>
                    <a:cubicBezTo>
                      <a:pt x="499" y="746"/>
                      <a:pt x="779" y="746"/>
                      <a:pt x="898" y="746"/>
                    </a:cubicBezTo>
                    <a:cubicBezTo>
                      <a:pt x="907" y="746"/>
                      <a:pt x="916" y="746"/>
                      <a:pt x="924" y="746"/>
                    </a:cubicBezTo>
                    <a:cubicBezTo>
                      <a:pt x="933" y="746"/>
                      <a:pt x="943" y="746"/>
                      <a:pt x="952" y="746"/>
                    </a:cubicBezTo>
                    <a:cubicBezTo>
                      <a:pt x="998" y="741"/>
                      <a:pt x="1038" y="722"/>
                      <a:pt x="1074" y="698"/>
                    </a:cubicBezTo>
                    <a:cubicBezTo>
                      <a:pt x="377" y="0"/>
                      <a:pt x="377" y="0"/>
                      <a:pt x="377" y="0"/>
                    </a:cubicBezTo>
                    <a:cubicBezTo>
                      <a:pt x="377" y="0"/>
                      <a:pt x="377" y="0"/>
                      <a:pt x="377" y="0"/>
                    </a:cubicBezTo>
                    <a:close/>
                  </a:path>
                </a:pathLst>
              </a:custGeom>
              <a:solidFill>
                <a:schemeClr val="bg1">
                  <a:lumMod val="75000"/>
                </a:schemeClr>
              </a:solidFill>
              <a:ln>
                <a:noFill/>
              </a:ln>
              <a:extLst/>
            </p:spPr>
            <p:txBody>
              <a:bodyPr vert="horz" wrap="square" lIns="91402" tIns="45701" rIns="91402" bIns="45701" numCol="1" anchor="t" anchorCtr="0" compatLnSpc="1">
                <a:prstTxWarp prst="textNoShape">
                  <a:avLst/>
                </a:prstTxWarp>
              </a:bodyPr>
              <a:lstStyle/>
              <a:p>
                <a:pPr defTabSz="932409">
                  <a:defRPr/>
                </a:pPr>
                <a:endParaRPr lang="en-US" sz="1801" kern="0">
                  <a:solidFill>
                    <a:srgbClr val="505050"/>
                  </a:solidFill>
                  <a:latin typeface="Segoe UI"/>
                </a:endParaRP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51520" y="3262000"/>
                <a:ext cx="1271816" cy="450660"/>
              </a:xfrm>
              <a:prstGeom prst="rect">
                <a:avLst/>
              </a:prstGeom>
            </p:spPr>
          </p:pic>
        </p:grpSp>
      </p:grpSp>
    </p:spTree>
    <p:extLst>
      <p:ext uri="{BB962C8B-B14F-4D97-AF65-F5344CB8AC3E}">
        <p14:creationId xmlns:p14="http://schemas.microsoft.com/office/powerpoint/2010/main" val="729839152"/>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366169" y="1212851"/>
            <a:ext cx="8213475" cy="6133987"/>
          </a:xfrm>
        </p:spPr>
        <p:txBody>
          <a:bodyPr/>
          <a:lstStyle/>
          <a:p>
            <a:pPr marL="0" indent="0" fontAlgn="t">
              <a:buNone/>
            </a:pPr>
            <a:r>
              <a:rPr lang="en-US" sz="3200" dirty="0">
                <a:solidFill>
                  <a:schemeClr val="tx2"/>
                </a:solidFill>
              </a:rPr>
              <a:t>Users sign up and create their own        accounts themselves</a:t>
            </a:r>
          </a:p>
          <a:p>
            <a:pPr marL="342846" lvl="1" indent="-342846"/>
            <a:r>
              <a:rPr lang="en-US" dirty="0"/>
              <a:t>No governance, difficult to disable account when users leaves the org</a:t>
            </a:r>
            <a:br>
              <a:rPr lang="en-US" dirty="0"/>
            </a:br>
            <a:endParaRPr lang="en-US" dirty="0"/>
          </a:p>
          <a:p>
            <a:pPr marL="0" indent="0" fontAlgn="t">
              <a:buNone/>
            </a:pPr>
            <a:r>
              <a:rPr lang="en-US" sz="3200" dirty="0">
                <a:solidFill>
                  <a:schemeClr val="tx2"/>
                </a:solidFill>
              </a:rPr>
              <a:t>Accounts manually created (or invites sent)       by an administrator</a:t>
            </a:r>
          </a:p>
          <a:p>
            <a:pPr fontAlgn="t"/>
            <a:r>
              <a:rPr lang="en-US" sz="2000" dirty="0">
                <a:latin typeface="+mn-lt"/>
              </a:rPr>
              <a:t>Requires overhead and attention when users transitions or leaves</a:t>
            </a:r>
            <a:br>
              <a:rPr lang="en-US" sz="3400" dirty="0">
                <a:solidFill>
                  <a:schemeClr val="tx1"/>
                </a:solidFill>
              </a:rPr>
            </a:br>
            <a:endParaRPr lang="en-US" sz="3400" dirty="0">
              <a:solidFill>
                <a:schemeClr val="tx1"/>
              </a:solidFill>
            </a:endParaRPr>
          </a:p>
          <a:p>
            <a:pPr marL="0" indent="0" fontAlgn="t">
              <a:buNone/>
            </a:pPr>
            <a:r>
              <a:rPr lang="en-US" sz="3200" dirty="0">
                <a:solidFill>
                  <a:schemeClr val="tx2"/>
                </a:solidFill>
              </a:rPr>
              <a:t>Enterprise app automatically creates account the first time the user signs in using their company identity (SAML JIT)</a:t>
            </a:r>
          </a:p>
          <a:p>
            <a:pPr marL="342846" lvl="1" indent="-342846"/>
            <a:r>
              <a:rPr lang="en-US" dirty="0"/>
              <a:t>Does not solve de-provisioning</a:t>
            </a:r>
          </a:p>
          <a:p>
            <a:endParaRPr lang="en-US" dirty="0"/>
          </a:p>
        </p:txBody>
      </p:sp>
      <p:sp>
        <p:nvSpPr>
          <p:cNvPr id="5" name="Title 4"/>
          <p:cNvSpPr>
            <a:spLocks noGrp="1"/>
          </p:cNvSpPr>
          <p:nvPr>
            <p:ph type="title"/>
          </p:nvPr>
        </p:nvSpPr>
        <p:spPr/>
        <p:txBody>
          <a:bodyPr/>
          <a:lstStyle/>
          <a:p>
            <a:pPr algn="l"/>
            <a:r>
              <a:rPr lang="en-US" dirty="0"/>
              <a:t>How account creation usually works…</a:t>
            </a:r>
          </a:p>
        </p:txBody>
      </p:sp>
      <p:sp>
        <p:nvSpPr>
          <p:cNvPr id="9" name="Text Placeholder 5"/>
          <p:cNvSpPr txBox="1">
            <a:spLocks/>
          </p:cNvSpPr>
          <p:nvPr/>
        </p:nvSpPr>
        <p:spPr>
          <a:xfrm>
            <a:off x="9311722" y="3322192"/>
            <a:ext cx="3611322" cy="2326714"/>
          </a:xfrm>
          <a:prstGeom prst="rect">
            <a:avLst/>
          </a:prstGeom>
        </p:spPr>
        <p:txBody>
          <a:bodyPr vert="horz" wrap="square" lIns="146244" tIns="91402" rIns="146244" bIns="91402" rtlCol="0">
            <a:spAutoFit/>
          </a:bodyPr>
          <a:lstStyle>
            <a:lvl1pPr marL="0" indent="0" algn="l" defTabSz="913505" rtl="0" fontAlgn="base">
              <a:lnSpc>
                <a:spcPct val="90000"/>
              </a:lnSpc>
              <a:spcBef>
                <a:spcPct val="20000"/>
              </a:spcBef>
              <a:spcAft>
                <a:spcPct val="0"/>
              </a:spcAft>
              <a:buSzPct val="90000"/>
              <a:buFont typeface="Arial" charset="0"/>
              <a:buNone/>
              <a:defRPr sz="2600" kern="1200">
                <a:gradFill>
                  <a:gsLst>
                    <a:gs pos="1250">
                      <a:schemeClr val="tx2"/>
                    </a:gs>
                    <a:gs pos="99000">
                      <a:schemeClr val="tx2"/>
                    </a:gs>
                  </a:gsLst>
                  <a:lin ang="5400000" scaled="0"/>
                </a:gradFill>
                <a:latin typeface="+mj-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063">
              <a:lnSpc>
                <a:spcPct val="120000"/>
              </a:lnSpc>
              <a:defRPr/>
            </a:pPr>
            <a:r>
              <a:rPr lang="en-US" sz="3600" dirty="0">
                <a:solidFill>
                  <a:srgbClr val="0078D7"/>
                </a:solidFill>
                <a:latin typeface="+mn-lt"/>
              </a:rPr>
              <a:t>Shadow IT</a:t>
            </a:r>
            <a:br>
              <a:rPr lang="en-US" sz="1600" dirty="0">
                <a:solidFill>
                  <a:srgbClr val="0078D7"/>
                </a:solidFill>
                <a:latin typeface="Segoe UI"/>
              </a:rPr>
            </a:br>
            <a:r>
              <a:rPr lang="en-US" sz="1600" dirty="0">
                <a:solidFill>
                  <a:schemeClr val="tx1"/>
                </a:solidFill>
                <a:latin typeface="Segoe UI"/>
              </a:rPr>
              <a:t>More than 80 percent of       employees admit to using           non-approved software as                 a service (SaaS) applications                 in their jobs.</a:t>
            </a:r>
          </a:p>
        </p:txBody>
      </p:sp>
      <p:sp>
        <p:nvSpPr>
          <p:cNvPr id="10" name="Rectangle 9"/>
          <p:cNvSpPr/>
          <p:nvPr/>
        </p:nvSpPr>
        <p:spPr>
          <a:xfrm>
            <a:off x="9311722" y="1752532"/>
            <a:ext cx="2755883" cy="1569660"/>
          </a:xfrm>
          <a:prstGeom prst="rect">
            <a:avLst/>
          </a:prstGeom>
        </p:spPr>
        <p:txBody>
          <a:bodyPr wrap="none">
            <a:spAutoFit/>
          </a:bodyPr>
          <a:lstStyle/>
          <a:p>
            <a:pPr defTabSz="913959">
              <a:defRPr/>
            </a:pPr>
            <a:r>
              <a:rPr lang="en-US" sz="9600" kern="0" dirty="0">
                <a:solidFill>
                  <a:srgbClr val="0078D7"/>
                </a:solidFill>
                <a:latin typeface="Segoe UI Light"/>
              </a:rPr>
              <a:t>80% </a:t>
            </a:r>
          </a:p>
        </p:txBody>
      </p:sp>
      <p:cxnSp>
        <p:nvCxnSpPr>
          <p:cNvPr id="3" name="Straight Connector 2"/>
          <p:cNvCxnSpPr/>
          <p:nvPr/>
        </p:nvCxnSpPr>
        <p:spPr>
          <a:xfrm>
            <a:off x="8778322" y="1752532"/>
            <a:ext cx="0" cy="403073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0199623"/>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a:xfrm>
            <a:off x="366169" y="295278"/>
            <a:ext cx="11702551" cy="917575"/>
          </a:xfrm>
        </p:spPr>
        <p:txBody>
          <a:bodyPr/>
          <a:lstStyle/>
          <a:p>
            <a:r>
              <a:rPr lang="en-US" dirty="0"/>
              <a:t>Azure AD – Automatic provisioning </a:t>
            </a:r>
          </a:p>
        </p:txBody>
      </p:sp>
      <p:sp>
        <p:nvSpPr>
          <p:cNvPr id="120" name="TextBox 119"/>
          <p:cNvSpPr txBox="1"/>
          <p:nvPr/>
        </p:nvSpPr>
        <p:spPr>
          <a:xfrm>
            <a:off x="366169" y="1212851"/>
            <a:ext cx="11175503" cy="4819781"/>
          </a:xfrm>
          <a:prstGeom prst="rect">
            <a:avLst/>
          </a:prstGeom>
        </p:spPr>
        <p:txBody>
          <a:bodyPr wrap="square" lIns="146304" tIns="9144" rIns="146304" bIns="9144" rtlCol="0">
            <a:noAutofit/>
          </a:bodyPr>
          <a:lstStyle/>
          <a:p>
            <a:pPr marL="342866" indent="-342866" defTabSz="913832" fontAlgn="base">
              <a:lnSpc>
                <a:spcPct val="90000"/>
              </a:lnSpc>
              <a:spcBef>
                <a:spcPct val="0"/>
              </a:spcBef>
              <a:spcAft>
                <a:spcPct val="0"/>
              </a:spcAft>
              <a:buSzPct val="80000"/>
              <a:buFont typeface="Arial" panose="020B0604020202020204" pitchFamily="34" charset="0"/>
              <a:buChar char="•"/>
              <a:defRPr/>
            </a:pPr>
            <a:r>
              <a:rPr lang="en-US" sz="3600" kern="0" dirty="0">
                <a:solidFill>
                  <a:schemeClr val="tx2"/>
                </a:solidFill>
                <a:latin typeface="Segoe UI Light"/>
                <a:ea typeface="ＭＳ Ｐゴシック" charset="0"/>
                <a:cs typeface="Segoe UI Semibold" panose="020B0702040204020203" pitchFamily="34" charset="0"/>
              </a:rPr>
              <a:t>Azure AD provisioning service connects to SOAP/REST           user management API provided by app</a:t>
            </a:r>
          </a:p>
          <a:p>
            <a:pPr marL="342866" indent="-342866" defTabSz="913832" fontAlgn="base">
              <a:lnSpc>
                <a:spcPct val="90000"/>
              </a:lnSpc>
              <a:spcBef>
                <a:spcPct val="0"/>
              </a:spcBef>
              <a:spcAft>
                <a:spcPct val="0"/>
              </a:spcAft>
              <a:buSzPct val="80000"/>
              <a:buFont typeface="Arial" panose="020B0604020202020204" pitchFamily="34" charset="0"/>
              <a:buChar char="•"/>
              <a:defRPr/>
            </a:pPr>
            <a:r>
              <a:rPr lang="en-US" sz="3600" kern="0" dirty="0">
                <a:solidFill>
                  <a:schemeClr val="tx2"/>
                </a:solidFill>
                <a:latin typeface="Segoe UI Light"/>
                <a:ea typeface="ＭＳ Ｐゴシック" charset="0"/>
                <a:cs typeface="Segoe UI Semibold" panose="020B0702040204020203" pitchFamily="34" charset="0"/>
              </a:rPr>
              <a:t>Automatically add, update, and disable user accounts</a:t>
            </a:r>
          </a:p>
          <a:p>
            <a:pPr marL="342866" indent="-342866" defTabSz="913832" fontAlgn="base">
              <a:lnSpc>
                <a:spcPct val="90000"/>
              </a:lnSpc>
              <a:spcBef>
                <a:spcPct val="0"/>
              </a:spcBef>
              <a:spcAft>
                <a:spcPct val="0"/>
              </a:spcAft>
              <a:buSzPct val="80000"/>
              <a:buFont typeface="Arial" panose="020B0604020202020204" pitchFamily="34" charset="0"/>
              <a:buChar char="•"/>
              <a:defRPr/>
            </a:pPr>
            <a:r>
              <a:rPr lang="en-US" sz="3600" kern="0" dirty="0">
                <a:solidFill>
                  <a:schemeClr val="tx2"/>
                </a:solidFill>
                <a:latin typeface="Segoe UI Light"/>
                <a:ea typeface="ＭＳ Ｐゴシック" charset="0"/>
                <a:cs typeface="Segoe UI Semibold" panose="020B0702040204020203" pitchFamily="34" charset="0"/>
              </a:rPr>
              <a:t>Syncing groups also supported</a:t>
            </a:r>
          </a:p>
          <a:p>
            <a:pPr marL="342866" indent="-342866" defTabSz="913832" fontAlgn="base">
              <a:lnSpc>
                <a:spcPct val="90000"/>
              </a:lnSpc>
              <a:spcBef>
                <a:spcPct val="0"/>
              </a:spcBef>
              <a:spcAft>
                <a:spcPct val="0"/>
              </a:spcAft>
              <a:buSzPct val="80000"/>
              <a:buFont typeface="Arial" panose="020B0604020202020204" pitchFamily="34" charset="0"/>
              <a:buChar char="•"/>
              <a:defRPr/>
            </a:pPr>
            <a:r>
              <a:rPr lang="en-US" sz="3600" kern="0" dirty="0">
                <a:solidFill>
                  <a:schemeClr val="tx2"/>
                </a:solidFill>
                <a:latin typeface="Segoe UI Light"/>
                <a:ea typeface="ＭＳ Ｐゴシック" charset="0"/>
                <a:cs typeface="Segoe UI Semibold" panose="020B0702040204020203" pitchFamily="34" charset="0"/>
              </a:rPr>
              <a:t>Profiles/roles and assignments can be imported from             the app into Azure AD</a:t>
            </a:r>
            <a:br>
              <a:rPr lang="en-US" sz="3200" kern="0" dirty="0">
                <a:solidFill>
                  <a:schemeClr val="tx2"/>
                </a:solidFill>
                <a:latin typeface="Segoe UI Light"/>
                <a:ea typeface="ＭＳ Ｐゴシック" charset="0"/>
                <a:cs typeface="Segoe UI Semibold" panose="020B0702040204020203" pitchFamily="34" charset="0"/>
              </a:rPr>
            </a:br>
            <a:endParaRPr lang="en-US" sz="3200" kern="0" dirty="0">
              <a:solidFill>
                <a:schemeClr val="tx2"/>
              </a:solidFill>
              <a:latin typeface="Segoe UI Light"/>
              <a:ea typeface="ＭＳ Ｐゴシック" charset="0"/>
              <a:cs typeface="Segoe UI Semibold" panose="020B0702040204020203" pitchFamily="34" charset="0"/>
            </a:endParaRPr>
          </a:p>
          <a:p>
            <a:pPr defTabSz="913832" fontAlgn="base">
              <a:lnSpc>
                <a:spcPct val="90000"/>
              </a:lnSpc>
              <a:spcBef>
                <a:spcPct val="0"/>
              </a:spcBef>
              <a:spcAft>
                <a:spcPct val="0"/>
              </a:spcAft>
              <a:buSzPct val="80000"/>
              <a:defRPr/>
            </a:pPr>
            <a:endParaRPr lang="en-US" sz="2800" kern="0" dirty="0">
              <a:solidFill>
                <a:schemeClr val="tx2"/>
              </a:solidFill>
              <a:latin typeface="Segoe UI Light"/>
              <a:ea typeface="ＭＳ Ｐゴシック" charset="0"/>
              <a:cs typeface="Segoe UI Semibold" panose="020B0702040204020203" pitchFamily="34" charset="0"/>
            </a:endParaRPr>
          </a:p>
        </p:txBody>
      </p:sp>
      <p:sp>
        <p:nvSpPr>
          <p:cNvPr id="4" name="Rectangle 1"/>
          <p:cNvSpPr>
            <a:spLocks noChangeArrowheads="1"/>
          </p:cNvSpPr>
          <p:nvPr/>
        </p:nvSpPr>
        <p:spPr bwMode="auto">
          <a:xfrm>
            <a:off x="1" y="-184196"/>
            <a:ext cx="184707" cy="369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28" tIns="45714" rIns="91428" bIns="45714" numCol="1" anchor="ctr" anchorCtr="0" compatLnSpc="1">
            <a:prstTxWarp prst="textNoShape">
              <a:avLst/>
            </a:prstTxWarp>
            <a:spAutoFit/>
          </a:bodyPr>
          <a:lstStyle/>
          <a:p>
            <a:pPr defTabSz="914309">
              <a:defRPr/>
            </a:pPr>
            <a:endParaRPr lang="en-US" kern="0">
              <a:solidFill>
                <a:sysClr val="windowText" lastClr="000000"/>
              </a:solidFill>
              <a:latin typeface="Segoe UI"/>
            </a:endParaRPr>
          </a:p>
        </p:txBody>
      </p:sp>
      <p:sp>
        <p:nvSpPr>
          <p:cNvPr id="7" name="Rectangle 2"/>
          <p:cNvSpPr>
            <a:spLocks noChangeArrowheads="1"/>
          </p:cNvSpPr>
          <p:nvPr/>
        </p:nvSpPr>
        <p:spPr bwMode="auto">
          <a:xfrm>
            <a:off x="152382" y="-31816"/>
            <a:ext cx="184707" cy="369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28" tIns="45714" rIns="91428" bIns="45714" numCol="1" anchor="ctr" anchorCtr="0" compatLnSpc="1">
            <a:prstTxWarp prst="textNoShape">
              <a:avLst/>
            </a:prstTxWarp>
            <a:spAutoFit/>
          </a:bodyPr>
          <a:lstStyle/>
          <a:p>
            <a:pPr defTabSz="914309">
              <a:defRPr/>
            </a:pPr>
            <a:endParaRPr lang="en-US" kern="0">
              <a:solidFill>
                <a:sysClr val="windowText" lastClr="000000"/>
              </a:solidFill>
              <a:latin typeface="Segoe UI"/>
            </a:endParaRPr>
          </a:p>
        </p:txBody>
      </p:sp>
    </p:spTree>
    <p:extLst>
      <p:ext uri="{BB962C8B-B14F-4D97-AF65-F5344CB8AC3E}">
        <p14:creationId xmlns:p14="http://schemas.microsoft.com/office/powerpoint/2010/main" val="176752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Connecting apps for provisioning</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56464" y="2650470"/>
            <a:ext cx="1032418" cy="839700"/>
          </a:xfrm>
          <a:prstGeom prst="rect">
            <a:avLst/>
          </a:prstGeom>
        </p:spPr>
      </p:pic>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7935" y="2664692"/>
            <a:ext cx="811257" cy="811257"/>
          </a:xfrm>
          <a:prstGeom prst="rect">
            <a:avLst/>
          </a:prstGeom>
        </p:spPr>
      </p:pic>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30626" y="2684051"/>
            <a:ext cx="772539" cy="772539"/>
          </a:xfrm>
          <a:prstGeom prst="rect">
            <a:avLst/>
          </a:prstGeom>
        </p:spPr>
      </p:pic>
      <p:pic>
        <p:nvPicPr>
          <p:cNvPr id="11" name="Picture 1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00812" y="2647577"/>
            <a:ext cx="845486" cy="845486"/>
          </a:xfrm>
          <a:prstGeom prst="rect">
            <a:avLst/>
          </a:prstGeom>
        </p:spPr>
      </p:pic>
      <p:pic>
        <p:nvPicPr>
          <p:cNvPr id="13" name="Picture 1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47532" y="2682152"/>
            <a:ext cx="776337" cy="776337"/>
          </a:xfrm>
          <a:prstGeom prst="rect">
            <a:avLst/>
          </a:prstGeom>
        </p:spPr>
      </p:pic>
      <p:pic>
        <p:nvPicPr>
          <p:cNvPr id="14" name="Picture 1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844909" y="2698120"/>
            <a:ext cx="744401" cy="744401"/>
          </a:xfrm>
          <a:prstGeom prst="rect">
            <a:avLst/>
          </a:prstGeom>
        </p:spPr>
      </p:pic>
      <p:pic>
        <p:nvPicPr>
          <p:cNvPr id="2" name="Picture 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637942" y="2643379"/>
            <a:ext cx="853883" cy="853883"/>
          </a:xfrm>
          <a:prstGeom prst="rect">
            <a:avLst/>
          </a:prstGeom>
        </p:spPr>
      </p:pic>
      <p:pic>
        <p:nvPicPr>
          <p:cNvPr id="3" name="Picture 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595475" y="2648353"/>
            <a:ext cx="843935" cy="843935"/>
          </a:xfrm>
          <a:prstGeom prst="rect">
            <a:avLst/>
          </a:prstGeom>
        </p:spPr>
      </p:pic>
      <p:pic>
        <p:nvPicPr>
          <p:cNvPr id="15" name="Picture 1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355420" y="2672771"/>
            <a:ext cx="795098" cy="795098"/>
          </a:xfrm>
          <a:prstGeom prst="rect">
            <a:avLst/>
          </a:prstGeom>
        </p:spPr>
      </p:pic>
      <p:pic>
        <p:nvPicPr>
          <p:cNvPr id="16" name="Picture 1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292278" y="2675612"/>
            <a:ext cx="789417" cy="789417"/>
          </a:xfrm>
          <a:prstGeom prst="rect">
            <a:avLst/>
          </a:prstGeom>
        </p:spPr>
      </p:pic>
      <p:pic>
        <p:nvPicPr>
          <p:cNvPr id="18" name="Picture 1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699950" y="2672703"/>
            <a:ext cx="795235" cy="795235"/>
          </a:xfrm>
          <a:prstGeom prst="rect">
            <a:avLst/>
          </a:prstGeom>
        </p:spPr>
      </p:pic>
      <p:sp>
        <p:nvSpPr>
          <p:cNvPr id="20" name="Content Placeholder 2"/>
          <p:cNvSpPr txBox="1">
            <a:spLocks/>
          </p:cNvSpPr>
          <p:nvPr/>
        </p:nvSpPr>
        <p:spPr>
          <a:xfrm>
            <a:off x="366168" y="1212851"/>
            <a:ext cx="12068719" cy="683264"/>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2"/>
                </a:solidFill>
              </a:rPr>
              <a:t>Connectors for top apps built and maintained by Microsoft</a:t>
            </a:r>
          </a:p>
        </p:txBody>
      </p:sp>
      <p:sp>
        <p:nvSpPr>
          <p:cNvPr id="21" name="Text Placeholder 10"/>
          <p:cNvSpPr txBox="1">
            <a:spLocks/>
          </p:cNvSpPr>
          <p:nvPr/>
        </p:nvSpPr>
        <p:spPr>
          <a:xfrm>
            <a:off x="366168" y="4393499"/>
            <a:ext cx="13852276" cy="807913"/>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t"/>
            <a:r>
              <a:rPr lang="en-US" sz="2000" dirty="0">
                <a:solidFill>
                  <a:schemeClr val="tx1"/>
                </a:solidFill>
                <a:latin typeface="+mn-lt"/>
              </a:rPr>
              <a:t>Works directly with apps that support the SCIM 1.0 or 2.0 standard</a:t>
            </a:r>
          </a:p>
          <a:p>
            <a:pPr fontAlgn="t"/>
            <a:r>
              <a:rPr lang="en-US" sz="2000" dirty="0">
                <a:solidFill>
                  <a:schemeClr val="tx1"/>
                </a:solidFill>
                <a:latin typeface="+mn-lt"/>
              </a:rPr>
              <a:t>Custom connectors can be built using provided CLR libraries and code samples</a:t>
            </a:r>
          </a:p>
        </p:txBody>
      </p:sp>
      <p:sp>
        <p:nvSpPr>
          <p:cNvPr id="22" name="Text Placeholder 10">
            <a:hlinkClick r:id="rId14"/>
          </p:cNvPr>
          <p:cNvSpPr txBox="1">
            <a:spLocks/>
          </p:cNvSpPr>
          <p:nvPr/>
        </p:nvSpPr>
        <p:spPr>
          <a:xfrm>
            <a:off x="366168" y="5528364"/>
            <a:ext cx="13852276" cy="469359"/>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t">
              <a:buNone/>
            </a:pPr>
            <a:r>
              <a:rPr lang="en-US" sz="2000" u="sng" dirty="0">
                <a:solidFill>
                  <a:schemeClr val="tx2"/>
                </a:solidFill>
                <a:latin typeface="+mn-lt"/>
              </a:rPr>
              <a:t>https://azure.microsoft.com/documentation/articles/active-directory-scim-provisioning/ </a:t>
            </a:r>
          </a:p>
        </p:txBody>
      </p:sp>
    </p:spTree>
    <p:extLst>
      <p:ext uri="{BB962C8B-B14F-4D97-AF65-F5344CB8AC3E}">
        <p14:creationId xmlns:p14="http://schemas.microsoft.com/office/powerpoint/2010/main" val="32357549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11702553" cy="5250668"/>
          </a:xfrm>
        </p:spPr>
        <p:txBody>
          <a:bodyPr/>
          <a:lstStyle/>
          <a:p>
            <a:r>
              <a:rPr lang="en-US" dirty="0"/>
              <a:t>Cloud only accounts</a:t>
            </a:r>
          </a:p>
          <a:p>
            <a:pPr lvl="1"/>
            <a:r>
              <a:rPr lang="en-US" sz="2000" dirty="0"/>
              <a:t>Simplest, great for testing or pilot</a:t>
            </a:r>
          </a:p>
          <a:p>
            <a:r>
              <a:rPr lang="en-US" dirty="0"/>
              <a:t>Password hash sync</a:t>
            </a:r>
          </a:p>
          <a:p>
            <a:pPr lvl="1"/>
            <a:r>
              <a:rPr lang="en-US" sz="2000" dirty="0"/>
              <a:t>Most common recommendation for organizations who want to use on </a:t>
            </a:r>
            <a:r>
              <a:rPr lang="en-US" sz="2000" dirty="0" err="1"/>
              <a:t>prem</a:t>
            </a:r>
            <a:r>
              <a:rPr lang="en-US" sz="2000" dirty="0"/>
              <a:t> identities in the cloud</a:t>
            </a:r>
          </a:p>
          <a:p>
            <a:r>
              <a:rPr lang="en-US" dirty="0"/>
              <a:t>Federated sign on with AD FS</a:t>
            </a:r>
          </a:p>
          <a:p>
            <a:pPr lvl="1"/>
            <a:r>
              <a:rPr lang="en-US" sz="2000" dirty="0"/>
              <a:t>Keeps passwords on </a:t>
            </a:r>
            <a:r>
              <a:rPr lang="en-US" sz="2000" dirty="0" err="1"/>
              <a:t>prem</a:t>
            </a:r>
            <a:r>
              <a:rPr lang="en-US" sz="2000" dirty="0"/>
              <a:t> and the identity provider under the organization’s control; with audit trail on </a:t>
            </a:r>
            <a:r>
              <a:rPr lang="en-US" sz="2000" dirty="0" err="1"/>
              <a:t>prem</a:t>
            </a:r>
            <a:r>
              <a:rPr lang="en-US" sz="2000" dirty="0"/>
              <a:t>; plus third party interoperability</a:t>
            </a:r>
          </a:p>
          <a:p>
            <a:r>
              <a:rPr lang="en-US" dirty="0"/>
              <a:t>Newest: Pass through authentication and Desktop SSO (PTA/SSO)</a:t>
            </a:r>
          </a:p>
          <a:p>
            <a:pPr lvl="1"/>
            <a:r>
              <a:rPr lang="en-US" sz="2000" dirty="0"/>
              <a:t>Competitive, simplicity and light footprint – in preview now</a:t>
            </a:r>
          </a:p>
          <a:p>
            <a:endParaRPr lang="en-US" dirty="0"/>
          </a:p>
        </p:txBody>
      </p:sp>
      <p:sp>
        <p:nvSpPr>
          <p:cNvPr id="2" name="Title 1"/>
          <p:cNvSpPr>
            <a:spLocks noGrp="1"/>
          </p:cNvSpPr>
          <p:nvPr>
            <p:ph type="title"/>
          </p:nvPr>
        </p:nvSpPr>
        <p:spPr/>
        <p:txBody>
          <a:bodyPr/>
          <a:lstStyle/>
          <a:p>
            <a:r>
              <a:rPr lang="en-US" dirty="0"/>
              <a:t>Growing list of sign on methods to Azure AD</a:t>
            </a:r>
          </a:p>
        </p:txBody>
      </p:sp>
    </p:spTree>
    <p:extLst>
      <p:ext uri="{BB962C8B-B14F-4D97-AF65-F5344CB8AC3E}">
        <p14:creationId xmlns:p14="http://schemas.microsoft.com/office/powerpoint/2010/main" val="816542281"/>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5490734"/>
          </a:xfrm>
        </p:spPr>
        <p:txBody>
          <a:bodyPr/>
          <a:lstStyle/>
          <a:p>
            <a:pPr marL="0" indent="0">
              <a:buNone/>
            </a:pPr>
            <a:r>
              <a:rPr lang="en-US" dirty="0">
                <a:solidFill>
                  <a:schemeClr val="tx2"/>
                </a:solidFill>
              </a:rPr>
              <a:t>New app deployments</a:t>
            </a:r>
          </a:p>
          <a:p>
            <a:pPr marL="342846" lvl="1" indent="-342846"/>
            <a:r>
              <a:rPr lang="en-US" dirty="0"/>
              <a:t>Configure application account in Azure AD</a:t>
            </a:r>
          </a:p>
          <a:p>
            <a:pPr marL="342846" lvl="1" indent="-342846"/>
            <a:r>
              <a:rPr lang="en-US" dirty="0"/>
              <a:t>Easily export users from Azure AD into the app</a:t>
            </a:r>
          </a:p>
          <a:p>
            <a:pPr marL="342846" lvl="1" indent="-342846"/>
            <a:r>
              <a:rPr lang="en-US" dirty="0"/>
              <a:t>Control which users can access it</a:t>
            </a:r>
          </a:p>
          <a:p>
            <a:endParaRPr lang="en-US" dirty="0"/>
          </a:p>
          <a:p>
            <a:pPr marL="0" indent="0">
              <a:buNone/>
            </a:pPr>
            <a:r>
              <a:rPr lang="en-US" dirty="0">
                <a:solidFill>
                  <a:schemeClr val="tx2"/>
                </a:solidFill>
              </a:rPr>
              <a:t>Existing app deployments</a:t>
            </a:r>
          </a:p>
          <a:p>
            <a:pPr marL="342846" lvl="1" indent="-342846"/>
            <a:r>
              <a:rPr lang="en-US" dirty="0"/>
              <a:t>Automatically matches identities in the app with Azure AD accounts</a:t>
            </a:r>
          </a:p>
          <a:p>
            <a:pPr marL="342846" lvl="1" indent="-342846"/>
            <a:r>
              <a:rPr lang="en-US" dirty="0"/>
              <a:t>Customize attribute mappings to match your specific deployment</a:t>
            </a:r>
          </a:p>
          <a:p>
            <a:pPr marL="342846" lvl="1" indent="-342846"/>
            <a:r>
              <a:rPr lang="en-US" dirty="0"/>
              <a:t>Keeps app identities up-to-date with directory changes</a:t>
            </a:r>
          </a:p>
          <a:p>
            <a:pPr marL="342846" lvl="1" indent="-342846"/>
            <a:r>
              <a:rPr lang="en-US" dirty="0"/>
              <a:t>Ongoing control of user access</a:t>
            </a:r>
          </a:p>
          <a:p>
            <a:endParaRPr lang="en-US" dirty="0"/>
          </a:p>
          <a:p>
            <a:endParaRPr lang="en-US" dirty="0"/>
          </a:p>
        </p:txBody>
      </p:sp>
      <p:sp>
        <p:nvSpPr>
          <p:cNvPr id="3" name="Title 2"/>
          <p:cNvSpPr>
            <a:spLocks noGrp="1"/>
          </p:cNvSpPr>
          <p:nvPr>
            <p:ph type="title"/>
          </p:nvPr>
        </p:nvSpPr>
        <p:spPr/>
        <p:txBody>
          <a:bodyPr/>
          <a:lstStyle/>
          <a:p>
            <a:r>
              <a:rPr lang="en-US" dirty="0"/>
              <a:t>Deployment options</a:t>
            </a:r>
          </a:p>
        </p:txBody>
      </p:sp>
    </p:spTree>
    <p:extLst>
      <p:ext uri="{BB962C8B-B14F-4D97-AF65-F5344CB8AC3E}">
        <p14:creationId xmlns:p14="http://schemas.microsoft.com/office/powerpoint/2010/main" val="3530893929"/>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1597360"/>
          </a:xfrm>
        </p:spPr>
        <p:txBody>
          <a:bodyPr/>
          <a:lstStyle/>
          <a:p>
            <a:r>
              <a:rPr lang="en-US" dirty="0">
                <a:solidFill>
                  <a:schemeClr val="tx2"/>
                </a:solidFill>
              </a:rPr>
              <a:t>Preview available for Workday connector today</a:t>
            </a:r>
          </a:p>
          <a:p>
            <a:r>
              <a:rPr lang="en-US" dirty="0">
                <a:solidFill>
                  <a:schemeClr val="tx2"/>
                </a:solidFill>
              </a:rPr>
              <a:t>Major area of investment for Azure AD team</a:t>
            </a:r>
          </a:p>
          <a:p>
            <a:pPr lvl="2"/>
            <a:endParaRPr lang="en-US" dirty="0">
              <a:solidFill>
                <a:schemeClr val="tx2"/>
              </a:solidFill>
            </a:endParaRPr>
          </a:p>
        </p:txBody>
      </p:sp>
      <p:sp>
        <p:nvSpPr>
          <p:cNvPr id="3" name="Title 2"/>
          <p:cNvSpPr>
            <a:spLocks noGrp="1"/>
          </p:cNvSpPr>
          <p:nvPr>
            <p:ph type="title"/>
          </p:nvPr>
        </p:nvSpPr>
        <p:spPr/>
        <p:txBody>
          <a:bodyPr/>
          <a:lstStyle/>
          <a:p>
            <a:r>
              <a:rPr lang="en-US" dirty="0"/>
              <a:t>Inbound provisioning from HR apps</a:t>
            </a: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98244" y="3268662"/>
            <a:ext cx="2730773" cy="2730773"/>
          </a:xfrm>
          <a:prstGeom prst="rect">
            <a:avLst/>
          </a:prstGeom>
        </p:spPr>
      </p:pic>
    </p:spTree>
    <p:extLst>
      <p:ext uri="{BB962C8B-B14F-4D97-AF65-F5344CB8AC3E}">
        <p14:creationId xmlns:p14="http://schemas.microsoft.com/office/powerpoint/2010/main" val="1514705412"/>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txBox="1">
            <a:spLocks/>
          </p:cNvSpPr>
          <p:nvPr/>
        </p:nvSpPr>
        <p:spPr>
          <a:xfrm>
            <a:off x="366168" y="2481347"/>
            <a:ext cx="12068719" cy="2031830"/>
          </a:xfrm>
          <a:prstGeom prst="rect">
            <a:avLst/>
          </a:prstGeom>
          <a:noFill/>
        </p:spPr>
        <p:txBody>
          <a:bodyPr vert="horz" wrap="square" lIns="146304" tIns="91440" rIns="146304" bIns="91440" rtlCol="0" anchor="t" anchorCtr="0">
            <a:spAutoFit/>
          </a:bodyPr>
          <a:lstStyle>
            <a:lvl1pPr algn="l" defTabSz="932594" rtl="0" eaLnBrk="1" latinLnBrk="0" hangingPunct="1">
              <a:lnSpc>
                <a:spcPct val="90000"/>
              </a:lnSpc>
              <a:spcBef>
                <a:spcPct val="0"/>
              </a:spcBef>
              <a:buNone/>
              <a:defRPr lang="en-US" sz="66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dirty="0"/>
              <a:t>Ok, I’m ready to deploy single sign-on for some apps…</a:t>
            </a:r>
          </a:p>
        </p:txBody>
      </p:sp>
    </p:spTree>
    <p:extLst>
      <p:ext uri="{BB962C8B-B14F-4D97-AF65-F5344CB8AC3E}">
        <p14:creationId xmlns:p14="http://schemas.microsoft.com/office/powerpoint/2010/main" val="3031390008"/>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0" y="1865207"/>
            <a:ext cx="12434888" cy="5129319"/>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marL="0" marR="0" lvl="0" indent="0" algn="ctr" defTabSz="950933"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366169" y="295278"/>
            <a:ext cx="12068719" cy="917575"/>
          </a:xfrm>
        </p:spPr>
        <p:txBody>
          <a:bodyPr/>
          <a:lstStyle/>
          <a:p>
            <a:r>
              <a:rPr lang="en-US" dirty="0"/>
              <a:t>First, check if the app is in the Azure AD gallery…</a:t>
            </a:r>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757749" y="1642830"/>
            <a:ext cx="6763976" cy="4750032"/>
          </a:xfrm>
          <a:prstGeom prst="rect">
            <a:avLst/>
          </a:prstGeom>
        </p:spPr>
      </p:pic>
    </p:spTree>
    <p:extLst>
      <p:ext uri="{BB962C8B-B14F-4D97-AF65-F5344CB8AC3E}">
        <p14:creationId xmlns:p14="http://schemas.microsoft.com/office/powerpoint/2010/main" val="2396342728"/>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showMasterSp="0" show="0">
  <p:cSld>
    <p:bg>
      <p:bgPr>
        <a:solidFill>
          <a:schemeClr val="bg1"/>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0"/>
          </p:nvPr>
        </p:nvSpPr>
        <p:spPr>
          <a:xfrm>
            <a:off x="366169" y="1212851"/>
            <a:ext cx="6384676" cy="5154809"/>
          </a:xfrm>
        </p:spPr>
        <p:txBody>
          <a:bodyPr/>
          <a:lstStyle/>
          <a:p>
            <a:endParaRPr lang="en-US" sz="1530" b="0" dirty="0">
              <a:solidFill>
                <a:srgbClr val="0078D7"/>
              </a:solidFill>
              <a:latin typeface="+mj-lt"/>
              <a:cs typeface="Segoe UI Light" panose="020B0502040204020203" pitchFamily="34" charset="0"/>
            </a:endParaRPr>
          </a:p>
          <a:p>
            <a:pPr marL="0" indent="0">
              <a:buNone/>
            </a:pPr>
            <a:r>
              <a:rPr lang="en-US" dirty="0">
                <a:solidFill>
                  <a:srgbClr val="0078D7"/>
                </a:solidFill>
                <a:latin typeface="+mj-lt"/>
              </a:rPr>
              <a:t>ISV/Developer integrated</a:t>
            </a:r>
            <a:endParaRPr lang="en-US" b="0" dirty="0">
              <a:solidFill>
                <a:srgbClr val="0078D7"/>
              </a:solidFill>
              <a:latin typeface="+mj-lt"/>
            </a:endParaRPr>
          </a:p>
          <a:p>
            <a:pPr marL="342846" lvl="1" indent="-342846"/>
            <a:r>
              <a:rPr lang="en-US" dirty="0"/>
              <a:t>App supports Azure AD natively </a:t>
            </a:r>
          </a:p>
          <a:p>
            <a:pPr marL="342846" lvl="1" indent="-342846"/>
            <a:r>
              <a:rPr lang="en-US" dirty="0"/>
              <a:t>One-click to setup</a:t>
            </a:r>
          </a:p>
          <a:p>
            <a:pPr marL="342846" lvl="1" indent="-342846"/>
            <a:r>
              <a:rPr lang="en-US" dirty="0"/>
              <a:t>Automatic certificate maintenance</a:t>
            </a:r>
          </a:p>
          <a:p>
            <a:pPr marL="342846" lvl="1" indent="-342846"/>
            <a:r>
              <a:rPr lang="en-US" dirty="0"/>
              <a:t>Can call into Microsoft Graph API to read directory data</a:t>
            </a:r>
          </a:p>
          <a:p>
            <a:pPr marL="466174" indent="-466174">
              <a:buFont typeface="Arial" panose="020B0604020202020204" pitchFamily="34" charset="0"/>
              <a:buChar char="•"/>
            </a:pPr>
            <a:endParaRPr lang="en-US" sz="2000" b="0" dirty="0">
              <a:solidFill>
                <a:srgbClr val="0078D7"/>
              </a:solidFill>
              <a:latin typeface="+mj-lt"/>
            </a:endParaRPr>
          </a:p>
          <a:p>
            <a:pPr marL="0" indent="0">
              <a:buNone/>
            </a:pPr>
            <a:r>
              <a:rPr lang="en-US" dirty="0">
                <a:solidFill>
                  <a:schemeClr val="tx2"/>
                </a:solidFill>
                <a:latin typeface="+mj-lt"/>
              </a:rPr>
              <a:t>Microsoft integrated</a:t>
            </a:r>
          </a:p>
          <a:p>
            <a:pPr marL="342846" lvl="1" indent="-342846"/>
            <a:r>
              <a:rPr lang="en-US" dirty="0"/>
              <a:t>Leverage best SSO protocols and APIs supported by app</a:t>
            </a:r>
          </a:p>
          <a:p>
            <a:pPr marL="342846" lvl="1" indent="-342846"/>
            <a:r>
              <a:rPr lang="en-US" dirty="0"/>
              <a:t>Step-by-step configuration UI and documentation</a:t>
            </a:r>
          </a:p>
          <a:p>
            <a:pPr marL="342846" lvl="1" indent="-342846"/>
            <a:r>
              <a:rPr lang="en-US" dirty="0"/>
              <a:t>“Featured” apps support Azure AD automatic provisioning</a:t>
            </a:r>
          </a:p>
        </p:txBody>
      </p:sp>
      <p:sp>
        <p:nvSpPr>
          <p:cNvPr id="2" name="Title 1"/>
          <p:cNvSpPr>
            <a:spLocks noGrp="1"/>
          </p:cNvSpPr>
          <p:nvPr>
            <p:ph type="title"/>
          </p:nvPr>
        </p:nvSpPr>
        <p:spPr/>
        <p:txBody>
          <a:bodyPr/>
          <a:lstStyle/>
          <a:p>
            <a:r>
              <a:rPr lang="en-US" dirty="0">
                <a:solidFill>
                  <a:schemeClr val="tx1"/>
                </a:solidFill>
              </a:rPr>
              <a:t>Pre-integrated applications</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08372" y="1483902"/>
            <a:ext cx="5405072" cy="3842160"/>
          </a:xfrm>
          <a:prstGeom prst="rect">
            <a:avLst/>
          </a:prstGeom>
        </p:spPr>
      </p:pic>
    </p:spTree>
    <p:extLst>
      <p:ext uri="{BB962C8B-B14F-4D97-AF65-F5344CB8AC3E}">
        <p14:creationId xmlns:p14="http://schemas.microsoft.com/office/powerpoint/2010/main" val="3282384745"/>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 name="Title 1"/>
          <p:cNvSpPr>
            <a:spLocks noGrp="1"/>
          </p:cNvSpPr>
          <p:nvPr>
            <p:ph type="title"/>
          </p:nvPr>
        </p:nvSpPr>
        <p:spPr>
          <a:xfrm>
            <a:off x="366169" y="295278"/>
            <a:ext cx="12175875" cy="917575"/>
          </a:xfrm>
        </p:spPr>
        <p:txBody>
          <a:bodyPr/>
          <a:lstStyle/>
          <a:p>
            <a:pPr lvl="0"/>
            <a:r>
              <a:rPr lang="en-US" dirty="0"/>
              <a:t>Thousands of pre-integrated apps, and growing!</a:t>
            </a:r>
            <a:br>
              <a:rPr lang="en-US" dirty="0"/>
            </a:br>
            <a:br>
              <a:rPr lang="en-US" dirty="0"/>
            </a:br>
            <a:endParaRPr lang="en-US" dirty="0"/>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298" y="1338418"/>
            <a:ext cx="11608292" cy="5511644"/>
          </a:xfrm>
          <a:prstGeom prst="rect">
            <a:avLst/>
          </a:prstGeom>
        </p:spPr>
      </p:pic>
    </p:spTree>
    <p:extLst>
      <p:ext uri="{BB962C8B-B14F-4D97-AF65-F5344CB8AC3E}">
        <p14:creationId xmlns:p14="http://schemas.microsoft.com/office/powerpoint/2010/main" val="2271911567"/>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4"/>
          <p:cNvSpPr>
            <a:spLocks noGrp="1"/>
          </p:cNvSpPr>
          <p:nvPr>
            <p:ph type="body" sz="quarter" idx="10"/>
          </p:nvPr>
        </p:nvSpPr>
        <p:spPr>
          <a:xfrm>
            <a:off x="366168" y="1212851"/>
            <a:ext cx="11702553" cy="3779496"/>
          </a:xfrm>
        </p:spPr>
        <p:txBody>
          <a:bodyPr/>
          <a:lstStyle/>
          <a:p>
            <a:pPr marL="0" indent="0">
              <a:buNone/>
            </a:pPr>
            <a:r>
              <a:rPr lang="en-US" dirty="0">
                <a:solidFill>
                  <a:srgbClr val="0078D7"/>
                </a:solidFill>
              </a:rPr>
              <a:t>App gallery on Azure.com</a:t>
            </a:r>
          </a:p>
          <a:p>
            <a:r>
              <a:rPr lang="en-US" sz="2000" dirty="0">
                <a:latin typeface="+mn-lt"/>
                <a:hlinkClick r:id="rId3"/>
              </a:rPr>
              <a:t>https://azure.microsoft.com/marketplace/active-directory/</a:t>
            </a:r>
            <a:r>
              <a:rPr lang="en-US" sz="2000" dirty="0">
                <a:latin typeface="+mn-lt"/>
              </a:rPr>
              <a:t>  </a:t>
            </a:r>
          </a:p>
          <a:p>
            <a:endParaRPr lang="en-US" sz="2800" dirty="0"/>
          </a:p>
          <a:p>
            <a:pPr marL="0" indent="0">
              <a:buNone/>
            </a:pPr>
            <a:r>
              <a:rPr lang="en-US" dirty="0">
                <a:solidFill>
                  <a:srgbClr val="0078D7"/>
                </a:solidFill>
              </a:rPr>
              <a:t>SaaS application list (with integration capabilities)</a:t>
            </a:r>
          </a:p>
          <a:p>
            <a:r>
              <a:rPr lang="en-US" sz="2000" dirty="0">
                <a:latin typeface="+mn-lt"/>
                <a:hlinkClick r:id="rId4"/>
              </a:rPr>
              <a:t>https://aadappgallery.azurewebsites.net/</a:t>
            </a:r>
            <a:r>
              <a:rPr lang="en-US" sz="2000" dirty="0">
                <a:latin typeface="+mn-lt"/>
              </a:rPr>
              <a:t> </a:t>
            </a:r>
            <a:br>
              <a:rPr lang="en-US" sz="2800" dirty="0">
                <a:hlinkClick r:id="rId5"/>
              </a:rPr>
            </a:br>
            <a:endParaRPr lang="en-US" sz="2800" dirty="0">
              <a:hlinkClick r:id="rId5"/>
            </a:endParaRPr>
          </a:p>
          <a:p>
            <a:pPr marL="0" indent="0">
              <a:buNone/>
            </a:pPr>
            <a:r>
              <a:rPr lang="en-US" dirty="0">
                <a:solidFill>
                  <a:srgbClr val="0078D7"/>
                </a:solidFill>
              </a:rPr>
              <a:t>SaaS application tutorials</a:t>
            </a:r>
          </a:p>
          <a:p>
            <a:r>
              <a:rPr lang="en-US" sz="2000" dirty="0">
                <a:latin typeface="+mn-lt"/>
                <a:hlinkClick r:id="rId6"/>
              </a:rPr>
              <a:t>https://azure.microsoft.com/documentation/articles/active-directory-saas-tutorial-list/</a:t>
            </a:r>
            <a:r>
              <a:rPr lang="en-US" sz="2000" dirty="0">
                <a:latin typeface="+mn-lt"/>
              </a:rPr>
              <a:t> </a:t>
            </a:r>
          </a:p>
        </p:txBody>
      </p:sp>
      <p:sp>
        <p:nvSpPr>
          <p:cNvPr id="2" name="Title 1"/>
          <p:cNvSpPr>
            <a:spLocks noGrp="1"/>
          </p:cNvSpPr>
          <p:nvPr>
            <p:ph type="title"/>
          </p:nvPr>
        </p:nvSpPr>
        <p:spPr/>
        <p:txBody>
          <a:bodyPr/>
          <a:lstStyle/>
          <a:p>
            <a:r>
              <a:rPr lang="en-US" dirty="0"/>
              <a:t>Useful links</a:t>
            </a:r>
          </a:p>
        </p:txBody>
      </p:sp>
    </p:spTree>
    <p:extLst>
      <p:ext uri="{BB962C8B-B14F-4D97-AF65-F5344CB8AC3E}">
        <p14:creationId xmlns:p14="http://schemas.microsoft.com/office/powerpoint/2010/main" val="570832929"/>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txBox="1">
            <a:spLocks/>
          </p:cNvSpPr>
          <p:nvPr/>
        </p:nvSpPr>
        <p:spPr>
          <a:xfrm>
            <a:off x="366168" y="2481347"/>
            <a:ext cx="12068719" cy="2031830"/>
          </a:xfrm>
          <a:prstGeom prst="rect">
            <a:avLst/>
          </a:prstGeom>
          <a:noFill/>
        </p:spPr>
        <p:txBody>
          <a:bodyPr vert="horz" wrap="square" lIns="146304" tIns="91440" rIns="146304" bIns="91440" rtlCol="0" anchor="t" anchorCtr="0">
            <a:spAutoFit/>
          </a:bodyPr>
          <a:lstStyle>
            <a:lvl1pPr algn="l" defTabSz="932594" rtl="0" eaLnBrk="1" latinLnBrk="0" hangingPunct="1">
              <a:lnSpc>
                <a:spcPct val="90000"/>
              </a:lnSpc>
              <a:spcBef>
                <a:spcPct val="0"/>
              </a:spcBef>
              <a:buNone/>
              <a:defRPr lang="en-US" sz="66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dirty="0"/>
              <a:t>I didn’t find my app in the gallery…now what? </a:t>
            </a:r>
          </a:p>
        </p:txBody>
      </p:sp>
    </p:spTree>
    <p:extLst>
      <p:ext uri="{BB962C8B-B14F-4D97-AF65-F5344CB8AC3E}">
        <p14:creationId xmlns:p14="http://schemas.microsoft.com/office/powerpoint/2010/main" val="3502638579"/>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ditional integration options</a:t>
            </a:r>
          </a:p>
        </p:txBody>
      </p:sp>
      <p:sp>
        <p:nvSpPr>
          <p:cNvPr id="6" name="Freeform: Shape 5"/>
          <p:cNvSpPr/>
          <p:nvPr/>
        </p:nvSpPr>
        <p:spPr>
          <a:xfrm>
            <a:off x="160036" y="1330307"/>
            <a:ext cx="3646159" cy="1113416"/>
          </a:xfrm>
          <a:custGeom>
            <a:avLst/>
            <a:gdLst>
              <a:gd name="connsiteX0" fmla="*/ 0 w 3646159"/>
              <a:gd name="connsiteY0" fmla="*/ 0 h 1458463"/>
              <a:gd name="connsiteX1" fmla="*/ 3646159 w 3646159"/>
              <a:gd name="connsiteY1" fmla="*/ 0 h 1458463"/>
              <a:gd name="connsiteX2" fmla="*/ 3646159 w 3646159"/>
              <a:gd name="connsiteY2" fmla="*/ 1458463 h 1458463"/>
              <a:gd name="connsiteX3" fmla="*/ 0 w 3646159"/>
              <a:gd name="connsiteY3" fmla="*/ 1458463 h 1458463"/>
              <a:gd name="connsiteX4" fmla="*/ 0 w 3646159"/>
              <a:gd name="connsiteY4" fmla="*/ 0 h 145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59" h="1458463">
                <a:moveTo>
                  <a:pt x="0" y="0"/>
                </a:moveTo>
                <a:lnTo>
                  <a:pt x="3646159" y="0"/>
                </a:lnTo>
                <a:lnTo>
                  <a:pt x="3646159" y="1458463"/>
                </a:lnTo>
                <a:lnTo>
                  <a:pt x="0" y="1458463"/>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marL="0" lvl="0" indent="0" defTabSz="1244600">
              <a:lnSpc>
                <a:spcPct val="90000"/>
              </a:lnSpc>
              <a:spcBef>
                <a:spcPct val="0"/>
              </a:spcBef>
              <a:spcAft>
                <a:spcPct val="35000"/>
              </a:spcAft>
              <a:buNone/>
            </a:pPr>
            <a:r>
              <a:rPr lang="en-US" sz="2000" kern="1200" dirty="0">
                <a:solidFill>
                  <a:schemeClr val="bg1"/>
                </a:solidFill>
                <a:latin typeface="+mj-lt"/>
                <a:cs typeface="Segoe UI Semibold" panose="020B0702040204020203" pitchFamily="34" charset="0"/>
              </a:rPr>
              <a:t>“Bring your own apps”</a:t>
            </a:r>
            <a:endParaRPr lang="en-US" sz="2000" kern="1200" dirty="0">
              <a:latin typeface="+mj-lt"/>
              <a:cs typeface="Segoe UI Semibold" panose="020B0702040204020203" pitchFamily="34" charset="0"/>
            </a:endParaRPr>
          </a:p>
        </p:txBody>
      </p:sp>
      <p:sp>
        <p:nvSpPr>
          <p:cNvPr id="7" name="Freeform: Shape 6"/>
          <p:cNvSpPr/>
          <p:nvPr/>
        </p:nvSpPr>
        <p:spPr>
          <a:xfrm>
            <a:off x="160036" y="2443723"/>
            <a:ext cx="3646159" cy="4253939"/>
          </a:xfrm>
          <a:custGeom>
            <a:avLst/>
            <a:gdLst>
              <a:gd name="connsiteX0" fmla="*/ 0 w 3646159"/>
              <a:gd name="connsiteY0" fmla="*/ 0 h 4536842"/>
              <a:gd name="connsiteX1" fmla="*/ 3646159 w 3646159"/>
              <a:gd name="connsiteY1" fmla="*/ 0 h 4536842"/>
              <a:gd name="connsiteX2" fmla="*/ 3646159 w 3646159"/>
              <a:gd name="connsiteY2" fmla="*/ 4536842 h 4536842"/>
              <a:gd name="connsiteX3" fmla="*/ 0 w 3646159"/>
              <a:gd name="connsiteY3" fmla="*/ 4536842 h 4536842"/>
              <a:gd name="connsiteX4" fmla="*/ 0 w 3646159"/>
              <a:gd name="connsiteY4" fmla="*/ 0 h 4536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59" h="4536842">
                <a:moveTo>
                  <a:pt x="0" y="0"/>
                </a:moveTo>
                <a:lnTo>
                  <a:pt x="3646159" y="0"/>
                </a:lnTo>
                <a:lnTo>
                  <a:pt x="3646159" y="4536842"/>
                </a:lnTo>
                <a:lnTo>
                  <a:pt x="0" y="4536842"/>
                </a:lnTo>
                <a:lnTo>
                  <a:pt x="0" y="0"/>
                </a:lnTo>
                <a:close/>
              </a:path>
            </a:pathLst>
          </a:custGeom>
          <a:noFill/>
          <a:ln>
            <a:solidFill>
              <a:schemeClr val="tx2">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6012" tIns="274320"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solidFill>
                  <a:srgbClr val="505050">
                    <a:hueOff val="0"/>
                    <a:satOff val="0"/>
                    <a:lumOff val="0"/>
                    <a:alphaOff val="0"/>
                  </a:srgbClr>
                </a:solidFill>
                <a:latin typeface="Segoe UI"/>
                <a:ea typeface="+mn-ea"/>
                <a:cs typeface="+mn-cs"/>
              </a:rPr>
              <a:t>Apps not in gallery but generically support SAML 2.0, WS-Fed, or password authentication</a:t>
            </a:r>
            <a:br>
              <a:rPr lang="en-US" sz="1800" kern="1200" dirty="0">
                <a:solidFill>
                  <a:srgbClr val="505050">
                    <a:hueOff val="0"/>
                    <a:satOff val="0"/>
                    <a:lumOff val="0"/>
                    <a:alphaOff val="0"/>
                  </a:srgbClr>
                </a:solidFill>
                <a:latin typeface="Segoe UI"/>
                <a:ea typeface="+mn-ea"/>
                <a:cs typeface="+mn-cs"/>
              </a:rPr>
            </a:br>
            <a:endParaRPr lang="en-US" sz="1800" kern="1200" dirty="0">
              <a:solidFill>
                <a:srgbClr val="505050">
                  <a:hueOff val="0"/>
                  <a:satOff val="0"/>
                  <a:lumOff val="0"/>
                  <a:alphaOff val="0"/>
                </a:srgbClr>
              </a:solidFill>
              <a:latin typeface="Segoe UI"/>
              <a:ea typeface="+mn-ea"/>
              <a:cs typeface="+mn-cs"/>
            </a:endParaRPr>
          </a:p>
          <a:p>
            <a:pPr marL="171450" lvl="1" indent="-171450" algn="l" defTabSz="800100">
              <a:lnSpc>
                <a:spcPct val="90000"/>
              </a:lnSpc>
              <a:spcBef>
                <a:spcPct val="0"/>
              </a:spcBef>
              <a:spcAft>
                <a:spcPct val="15000"/>
              </a:spcAft>
              <a:buChar char="•"/>
            </a:pPr>
            <a:r>
              <a:rPr lang="en-US" sz="1800" kern="1200" dirty="0">
                <a:solidFill>
                  <a:srgbClr val="505050">
                    <a:hueOff val="0"/>
                    <a:satOff val="0"/>
                    <a:lumOff val="0"/>
                    <a:alphaOff val="0"/>
                  </a:srgbClr>
                </a:solidFill>
                <a:latin typeface="Segoe UI"/>
                <a:ea typeface="+mn-ea"/>
                <a:cs typeface="+mn-cs"/>
              </a:rPr>
              <a:t>Added using the </a:t>
            </a:r>
            <a:r>
              <a:rPr lang="en-US" sz="1800" kern="1200" dirty="0">
                <a:solidFill>
                  <a:srgbClr val="505050">
                    <a:hueOff val="0"/>
                    <a:satOff val="0"/>
                    <a:lumOff val="0"/>
                    <a:alphaOff val="0"/>
                  </a:srgbClr>
                </a:solidFill>
                <a:latin typeface="+mn-lt"/>
                <a:ea typeface="+mn-ea"/>
                <a:cs typeface="+mn-cs"/>
              </a:rPr>
              <a:t>”Custom” category in the app gallery (requires Azure AD Premium</a:t>
            </a:r>
            <a:r>
              <a:rPr lang="en-US" sz="1800" kern="1200" dirty="0">
                <a:solidFill>
                  <a:srgbClr val="505050">
                    <a:hueOff val="0"/>
                    <a:satOff val="0"/>
                    <a:lumOff val="0"/>
                    <a:alphaOff val="0"/>
                  </a:srgbClr>
                </a:solidFill>
                <a:latin typeface="Segoe UI"/>
                <a:ea typeface="+mn-ea"/>
                <a:cs typeface="+mn-cs"/>
              </a:rPr>
              <a:t>)</a:t>
            </a:r>
            <a:br>
              <a:rPr lang="en-US" sz="1800" kern="1200" dirty="0">
                <a:solidFill>
                  <a:srgbClr val="505050">
                    <a:hueOff val="0"/>
                    <a:satOff val="0"/>
                    <a:lumOff val="0"/>
                    <a:alphaOff val="0"/>
                  </a:srgbClr>
                </a:solidFill>
                <a:latin typeface="Segoe UI"/>
                <a:ea typeface="+mn-ea"/>
                <a:cs typeface="+mn-cs"/>
              </a:rPr>
            </a:br>
            <a:endParaRPr lang="en-US" sz="1800" kern="1200" dirty="0">
              <a:solidFill>
                <a:srgbClr val="505050">
                  <a:hueOff val="0"/>
                  <a:satOff val="0"/>
                  <a:lumOff val="0"/>
                  <a:alphaOff val="0"/>
                </a:srgbClr>
              </a:solidFill>
              <a:latin typeface="Segoe UI"/>
              <a:ea typeface="+mn-ea"/>
              <a:cs typeface="+mn-cs"/>
            </a:endParaRPr>
          </a:p>
          <a:p>
            <a:pPr marL="171450" lvl="1" indent="-171450" algn="l" defTabSz="800100">
              <a:lnSpc>
                <a:spcPct val="90000"/>
              </a:lnSpc>
              <a:spcBef>
                <a:spcPct val="0"/>
              </a:spcBef>
              <a:spcAft>
                <a:spcPct val="15000"/>
              </a:spcAft>
              <a:buChar char="•"/>
            </a:pPr>
            <a:r>
              <a:rPr lang="en-US" sz="1800" kern="1200" dirty="0">
                <a:solidFill>
                  <a:srgbClr val="505050">
                    <a:hueOff val="0"/>
                    <a:satOff val="0"/>
                    <a:lumOff val="0"/>
                    <a:alphaOff val="0"/>
                  </a:srgbClr>
                </a:solidFill>
                <a:latin typeface="Segoe UI"/>
                <a:ea typeface="+mn-ea"/>
                <a:cs typeface="+mn-cs"/>
              </a:rPr>
              <a:t>More info:</a:t>
            </a:r>
            <a:r>
              <a:rPr lang="en-US" sz="1600" kern="1200" dirty="0">
                <a:solidFill>
                  <a:srgbClr val="505050">
                    <a:hueOff val="0"/>
                    <a:satOff val="0"/>
                    <a:lumOff val="0"/>
                    <a:alphaOff val="0"/>
                  </a:srgbClr>
                </a:solidFill>
                <a:latin typeface="Segoe UI"/>
                <a:ea typeface="+mn-ea"/>
                <a:cs typeface="+mn-cs"/>
              </a:rPr>
              <a:t> </a:t>
            </a:r>
            <a:r>
              <a:rPr lang="en-US" sz="1600" kern="1200" dirty="0">
                <a:solidFill>
                  <a:schemeClr val="bg1"/>
                </a:solidFill>
                <a:hlinkClick r:id="rId3"/>
              </a:rPr>
              <a:t>https://azure.microsoft.com/en-us/documentation/articles/active-directory-saas-custom-apps/</a:t>
            </a:r>
            <a:r>
              <a:rPr lang="en-US" sz="1600" kern="1200" dirty="0">
                <a:solidFill>
                  <a:schemeClr val="bg1"/>
                </a:solidFill>
              </a:rPr>
              <a:t>  </a:t>
            </a:r>
          </a:p>
        </p:txBody>
      </p:sp>
      <p:sp>
        <p:nvSpPr>
          <p:cNvPr id="8" name="Freeform: Shape 7"/>
          <p:cNvSpPr/>
          <p:nvPr/>
        </p:nvSpPr>
        <p:spPr>
          <a:xfrm>
            <a:off x="4316657" y="1330307"/>
            <a:ext cx="3646159" cy="1113416"/>
          </a:xfrm>
          <a:custGeom>
            <a:avLst/>
            <a:gdLst>
              <a:gd name="connsiteX0" fmla="*/ 0 w 3646159"/>
              <a:gd name="connsiteY0" fmla="*/ 0 h 1458463"/>
              <a:gd name="connsiteX1" fmla="*/ 3646159 w 3646159"/>
              <a:gd name="connsiteY1" fmla="*/ 0 h 1458463"/>
              <a:gd name="connsiteX2" fmla="*/ 3646159 w 3646159"/>
              <a:gd name="connsiteY2" fmla="*/ 1458463 h 1458463"/>
              <a:gd name="connsiteX3" fmla="*/ 0 w 3646159"/>
              <a:gd name="connsiteY3" fmla="*/ 1458463 h 1458463"/>
              <a:gd name="connsiteX4" fmla="*/ 0 w 3646159"/>
              <a:gd name="connsiteY4" fmla="*/ 0 h 145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59" h="1458463">
                <a:moveTo>
                  <a:pt x="0" y="0"/>
                </a:moveTo>
                <a:lnTo>
                  <a:pt x="3646159" y="0"/>
                </a:lnTo>
                <a:lnTo>
                  <a:pt x="3646159" y="1458463"/>
                </a:lnTo>
                <a:lnTo>
                  <a:pt x="0" y="1458463"/>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marL="0" lvl="0" indent="0" defTabSz="1244600">
              <a:lnSpc>
                <a:spcPct val="90000"/>
              </a:lnSpc>
              <a:spcBef>
                <a:spcPct val="0"/>
              </a:spcBef>
              <a:spcAft>
                <a:spcPct val="35000"/>
              </a:spcAft>
              <a:buNone/>
            </a:pPr>
            <a:r>
              <a:rPr lang="en-US" sz="2000" kern="1200" dirty="0">
                <a:solidFill>
                  <a:schemeClr val="bg1"/>
                </a:solidFill>
                <a:latin typeface="+mj-lt"/>
                <a:cs typeface="Segoe UI Semibold" panose="020B0702040204020203" pitchFamily="34" charset="0"/>
              </a:rPr>
              <a:t>Developer integrations</a:t>
            </a:r>
            <a:endParaRPr lang="en-US" sz="2000" kern="1200" dirty="0">
              <a:latin typeface="+mj-lt"/>
              <a:cs typeface="Segoe UI Semibold" panose="020B0702040204020203" pitchFamily="34" charset="0"/>
            </a:endParaRPr>
          </a:p>
        </p:txBody>
      </p:sp>
      <p:sp>
        <p:nvSpPr>
          <p:cNvPr id="9" name="Freeform: Shape 8"/>
          <p:cNvSpPr/>
          <p:nvPr/>
        </p:nvSpPr>
        <p:spPr>
          <a:xfrm>
            <a:off x="4316657" y="2443723"/>
            <a:ext cx="3646159" cy="4253939"/>
          </a:xfrm>
          <a:custGeom>
            <a:avLst/>
            <a:gdLst>
              <a:gd name="connsiteX0" fmla="*/ 0 w 3646159"/>
              <a:gd name="connsiteY0" fmla="*/ 0 h 4536842"/>
              <a:gd name="connsiteX1" fmla="*/ 3646159 w 3646159"/>
              <a:gd name="connsiteY1" fmla="*/ 0 h 4536842"/>
              <a:gd name="connsiteX2" fmla="*/ 3646159 w 3646159"/>
              <a:gd name="connsiteY2" fmla="*/ 4536842 h 4536842"/>
              <a:gd name="connsiteX3" fmla="*/ 0 w 3646159"/>
              <a:gd name="connsiteY3" fmla="*/ 4536842 h 4536842"/>
              <a:gd name="connsiteX4" fmla="*/ 0 w 3646159"/>
              <a:gd name="connsiteY4" fmla="*/ 0 h 4536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59" h="4536842">
                <a:moveTo>
                  <a:pt x="0" y="0"/>
                </a:moveTo>
                <a:lnTo>
                  <a:pt x="3646159" y="0"/>
                </a:lnTo>
                <a:lnTo>
                  <a:pt x="3646159" y="4536842"/>
                </a:lnTo>
                <a:lnTo>
                  <a:pt x="0" y="4536842"/>
                </a:lnTo>
                <a:lnTo>
                  <a:pt x="0" y="0"/>
                </a:lnTo>
                <a:close/>
              </a:path>
            </a:pathLst>
          </a:custGeom>
          <a:noFill/>
          <a:ln>
            <a:solidFill>
              <a:schemeClr val="tx2">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6012" tIns="274320" rIns="128016" bIns="144018" numCol="1" spcCol="1270" anchor="t"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en-US" sz="1800" kern="1200" dirty="0">
                <a:solidFill>
                  <a:srgbClr val="505050">
                    <a:hueOff val="0"/>
                    <a:satOff val="0"/>
                    <a:lumOff val="0"/>
                    <a:alphaOff val="0"/>
                  </a:srgbClr>
                </a:solidFill>
                <a:latin typeface="Segoe UI"/>
                <a:ea typeface="+mn-ea"/>
                <a:cs typeface="+mn-cs"/>
              </a:rPr>
              <a:t>Customers can connect apps they are developing using the Azure AD developer model</a:t>
            </a:r>
            <a:br>
              <a:rPr lang="en-US" sz="1800" kern="1200" dirty="0">
                <a:solidFill>
                  <a:srgbClr val="505050">
                    <a:hueOff val="0"/>
                    <a:satOff val="0"/>
                    <a:lumOff val="0"/>
                    <a:alphaOff val="0"/>
                  </a:srgbClr>
                </a:solidFill>
                <a:latin typeface="Segoe UI"/>
                <a:ea typeface="+mn-ea"/>
                <a:cs typeface="+mn-cs"/>
              </a:rPr>
            </a:br>
            <a:endParaRPr lang="en-US" sz="1800" kern="1200" dirty="0">
              <a:solidFill>
                <a:srgbClr val="505050">
                  <a:hueOff val="0"/>
                  <a:satOff val="0"/>
                  <a:lumOff val="0"/>
                  <a:alphaOff val="0"/>
                </a:srgbClr>
              </a:solidFill>
              <a:latin typeface="Segoe UI"/>
              <a:ea typeface="+mn-ea"/>
              <a:cs typeface="+mn-cs"/>
            </a:endParaRPr>
          </a:p>
          <a:p>
            <a:pPr marL="171450" lvl="1" indent="-171450" algn="l" defTabSz="800100">
              <a:lnSpc>
                <a:spcPct val="90000"/>
              </a:lnSpc>
              <a:spcBef>
                <a:spcPct val="0"/>
              </a:spcBef>
              <a:spcAft>
                <a:spcPct val="15000"/>
              </a:spcAft>
              <a:buChar char="•"/>
            </a:pPr>
            <a:r>
              <a:rPr lang="en-US" sz="1800" kern="1200" dirty="0">
                <a:solidFill>
                  <a:srgbClr val="505050">
                    <a:hueOff val="0"/>
                    <a:satOff val="0"/>
                    <a:lumOff val="0"/>
                    <a:alphaOff val="0"/>
                  </a:srgbClr>
                </a:solidFill>
                <a:latin typeface="Segoe UI"/>
                <a:ea typeface="+mn-ea"/>
                <a:cs typeface="+mn-cs"/>
              </a:rPr>
              <a:t>More info: </a:t>
            </a:r>
            <a:r>
              <a:rPr lang="en-US" sz="1600" kern="1200" dirty="0">
                <a:solidFill>
                  <a:schemeClr val="bg1"/>
                </a:solidFill>
                <a:hlinkClick r:id="rId4"/>
              </a:rPr>
              <a:t>https://azure.microsoft.com/en-us/documentation/articles/active-directory-authentication-scenarios/</a:t>
            </a:r>
            <a:endParaRPr lang="en-US" sz="1600" kern="1200" dirty="0">
              <a:solidFill>
                <a:schemeClr val="bg1"/>
              </a:solidFill>
            </a:endParaRPr>
          </a:p>
        </p:txBody>
      </p:sp>
      <p:sp>
        <p:nvSpPr>
          <p:cNvPr id="10" name="Freeform: Shape 9"/>
          <p:cNvSpPr/>
          <p:nvPr/>
        </p:nvSpPr>
        <p:spPr>
          <a:xfrm>
            <a:off x="8473279" y="1330307"/>
            <a:ext cx="3646159" cy="1113416"/>
          </a:xfrm>
          <a:custGeom>
            <a:avLst/>
            <a:gdLst>
              <a:gd name="connsiteX0" fmla="*/ 0 w 3646159"/>
              <a:gd name="connsiteY0" fmla="*/ 0 h 1458463"/>
              <a:gd name="connsiteX1" fmla="*/ 3646159 w 3646159"/>
              <a:gd name="connsiteY1" fmla="*/ 0 h 1458463"/>
              <a:gd name="connsiteX2" fmla="*/ 3646159 w 3646159"/>
              <a:gd name="connsiteY2" fmla="*/ 1458463 h 1458463"/>
              <a:gd name="connsiteX3" fmla="*/ 0 w 3646159"/>
              <a:gd name="connsiteY3" fmla="*/ 1458463 h 1458463"/>
              <a:gd name="connsiteX4" fmla="*/ 0 w 3646159"/>
              <a:gd name="connsiteY4" fmla="*/ 0 h 145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59" h="1458463">
                <a:moveTo>
                  <a:pt x="0" y="0"/>
                </a:moveTo>
                <a:lnTo>
                  <a:pt x="3646159" y="0"/>
                </a:lnTo>
                <a:lnTo>
                  <a:pt x="3646159" y="1458463"/>
                </a:lnTo>
                <a:lnTo>
                  <a:pt x="0" y="1458463"/>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marL="0" lvl="0" indent="0" defTabSz="1244600">
              <a:lnSpc>
                <a:spcPct val="90000"/>
              </a:lnSpc>
              <a:spcBef>
                <a:spcPct val="0"/>
              </a:spcBef>
              <a:spcAft>
                <a:spcPct val="35000"/>
              </a:spcAft>
              <a:buFont typeface="Arial" panose="020B0604020202020204" pitchFamily="34" charset="0"/>
              <a:buNone/>
            </a:pPr>
            <a:r>
              <a:rPr lang="en-US" sz="2000" kern="1200" dirty="0">
                <a:solidFill>
                  <a:schemeClr val="bg1"/>
                </a:solidFill>
                <a:latin typeface="+mj-lt"/>
                <a:cs typeface="Segoe UI Semibold" panose="020B0702040204020203" pitchFamily="34" charset="0"/>
              </a:rPr>
              <a:t>Request an app</a:t>
            </a:r>
            <a:endParaRPr lang="en-US" sz="2000" kern="1200" dirty="0">
              <a:latin typeface="+mj-lt"/>
              <a:cs typeface="Segoe UI Semibold" panose="020B0702040204020203" pitchFamily="34" charset="0"/>
            </a:endParaRPr>
          </a:p>
        </p:txBody>
      </p:sp>
      <p:sp>
        <p:nvSpPr>
          <p:cNvPr id="11" name="Freeform: Shape 10"/>
          <p:cNvSpPr/>
          <p:nvPr/>
        </p:nvSpPr>
        <p:spPr>
          <a:xfrm>
            <a:off x="8473279" y="2443723"/>
            <a:ext cx="3646159" cy="4253939"/>
          </a:xfrm>
          <a:custGeom>
            <a:avLst/>
            <a:gdLst>
              <a:gd name="connsiteX0" fmla="*/ 0 w 3646159"/>
              <a:gd name="connsiteY0" fmla="*/ 0 h 4345550"/>
              <a:gd name="connsiteX1" fmla="*/ 3646159 w 3646159"/>
              <a:gd name="connsiteY1" fmla="*/ 0 h 4345550"/>
              <a:gd name="connsiteX2" fmla="*/ 3646159 w 3646159"/>
              <a:gd name="connsiteY2" fmla="*/ 4345550 h 4345550"/>
              <a:gd name="connsiteX3" fmla="*/ 0 w 3646159"/>
              <a:gd name="connsiteY3" fmla="*/ 4345550 h 4345550"/>
              <a:gd name="connsiteX4" fmla="*/ 0 w 3646159"/>
              <a:gd name="connsiteY4" fmla="*/ 0 h 4345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59" h="4345550">
                <a:moveTo>
                  <a:pt x="0" y="0"/>
                </a:moveTo>
                <a:lnTo>
                  <a:pt x="3646159" y="0"/>
                </a:lnTo>
                <a:lnTo>
                  <a:pt x="3646159" y="4345550"/>
                </a:lnTo>
                <a:lnTo>
                  <a:pt x="0" y="4345550"/>
                </a:lnTo>
                <a:lnTo>
                  <a:pt x="0" y="0"/>
                </a:lnTo>
                <a:close/>
              </a:path>
            </a:pathLst>
          </a:custGeom>
          <a:noFill/>
          <a:ln>
            <a:solidFill>
              <a:schemeClr val="tx2">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6012" tIns="274320"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solidFill>
                  <a:srgbClr val="505050">
                    <a:hueOff val="0"/>
                    <a:satOff val="0"/>
                    <a:lumOff val="0"/>
                    <a:alphaOff val="0"/>
                  </a:srgbClr>
                </a:solidFill>
                <a:latin typeface="Segoe UI"/>
                <a:ea typeface="+mn-ea"/>
                <a:cs typeface="+mn-cs"/>
              </a:rPr>
              <a:t>Help the Azure AD team get the apps you want pre-integrated into the app gallery</a:t>
            </a:r>
          </a:p>
          <a:p>
            <a:pPr marL="171450" lvl="1" indent="-171450" algn="l" defTabSz="800100">
              <a:lnSpc>
                <a:spcPct val="90000"/>
              </a:lnSpc>
              <a:spcBef>
                <a:spcPct val="0"/>
              </a:spcBef>
              <a:spcAft>
                <a:spcPct val="15000"/>
              </a:spcAft>
              <a:buChar char="•"/>
            </a:pPr>
            <a:endParaRPr lang="en-US" sz="1800" kern="1200" dirty="0">
              <a:solidFill>
                <a:srgbClr val="505050">
                  <a:hueOff val="0"/>
                  <a:satOff val="0"/>
                  <a:lumOff val="0"/>
                  <a:alphaOff val="0"/>
                </a:srgbClr>
              </a:solidFill>
              <a:latin typeface="Segoe UI"/>
              <a:ea typeface="+mn-ea"/>
              <a:cs typeface="+mn-cs"/>
            </a:endParaRPr>
          </a:p>
          <a:p>
            <a:pPr marL="171450" lvl="1" indent="-171450" algn="l" defTabSz="800100">
              <a:lnSpc>
                <a:spcPct val="90000"/>
              </a:lnSpc>
              <a:spcBef>
                <a:spcPct val="0"/>
              </a:spcBef>
              <a:spcAft>
                <a:spcPct val="15000"/>
              </a:spcAft>
              <a:buChar char="•"/>
            </a:pPr>
            <a:r>
              <a:rPr lang="en-US" sz="1800" kern="1200" dirty="0">
                <a:solidFill>
                  <a:srgbClr val="505050">
                    <a:hueOff val="0"/>
                    <a:satOff val="0"/>
                    <a:lumOff val="0"/>
                    <a:alphaOff val="0"/>
                  </a:srgbClr>
                </a:solidFill>
                <a:latin typeface="Segoe UI"/>
                <a:ea typeface="+mn-ea"/>
                <a:cs typeface="+mn-cs"/>
              </a:rPr>
              <a:t>Request apps here:</a:t>
            </a:r>
            <a:br>
              <a:rPr lang="en-US" sz="1800" kern="1200" dirty="0">
                <a:solidFill>
                  <a:srgbClr val="505050">
                    <a:hueOff val="0"/>
                    <a:satOff val="0"/>
                    <a:lumOff val="0"/>
                    <a:alphaOff val="0"/>
                  </a:srgbClr>
                </a:solidFill>
                <a:latin typeface="Segoe UI"/>
                <a:ea typeface="+mn-ea"/>
                <a:cs typeface="+mn-cs"/>
              </a:rPr>
            </a:br>
            <a:r>
              <a:rPr lang="en-US" sz="1800" i="0" kern="1200" dirty="0">
                <a:hlinkClick r:id="rId5"/>
              </a:rPr>
              <a:t>http://aka.ms/aadapprequest</a:t>
            </a:r>
            <a:endParaRPr lang="en-US" sz="1800" kern="1200" dirty="0">
              <a:solidFill>
                <a:srgbClr val="505050">
                  <a:hueOff val="0"/>
                  <a:satOff val="0"/>
                  <a:lumOff val="0"/>
                  <a:alphaOff val="0"/>
                </a:srgbClr>
              </a:solidFill>
              <a:latin typeface="Segoe UI"/>
              <a:ea typeface="+mn-ea"/>
              <a:cs typeface="+mn-cs"/>
            </a:endParaRPr>
          </a:p>
        </p:txBody>
      </p:sp>
    </p:spTree>
    <p:extLst>
      <p:ext uri="{BB962C8B-B14F-4D97-AF65-F5344CB8AC3E}">
        <p14:creationId xmlns:p14="http://schemas.microsoft.com/office/powerpoint/2010/main" val="3339111744"/>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0" y="3655954"/>
            <a:ext cx="12434888" cy="333812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t>Discovery</a:t>
            </a:r>
          </a:p>
        </p:txBody>
      </p:sp>
      <p:sp>
        <p:nvSpPr>
          <p:cNvPr id="31" name="TextBox 30"/>
          <p:cNvSpPr txBox="1"/>
          <p:nvPr/>
        </p:nvSpPr>
        <p:spPr>
          <a:xfrm>
            <a:off x="8826701" y="3979487"/>
            <a:ext cx="3059819" cy="1042470"/>
          </a:xfrm>
          <a:prstGeom prst="rect">
            <a:avLst/>
          </a:prstGeom>
          <a:noFill/>
        </p:spPr>
        <p:txBody>
          <a:bodyPr wrap="square" lIns="182805" tIns="146243" rIns="182805" bIns="146243" rtlCol="0">
            <a:spAutoFit/>
          </a:bodyPr>
          <a:lstStyle/>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Anomalous usage alerts</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New apps and trending        apps alerts</a:t>
            </a:r>
          </a:p>
        </p:txBody>
      </p:sp>
      <p:sp>
        <p:nvSpPr>
          <p:cNvPr id="24" name="TextBox 23"/>
          <p:cNvSpPr txBox="1"/>
          <p:nvPr/>
        </p:nvSpPr>
        <p:spPr>
          <a:xfrm>
            <a:off x="9950767" y="1622924"/>
            <a:ext cx="2666660" cy="960055"/>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400" kern="0" dirty="0">
                <a:latin typeface="Segoe UI Light"/>
              </a:rPr>
              <a:t>Alert on risky cloud usage</a:t>
            </a:r>
          </a:p>
        </p:txBody>
      </p:sp>
      <p:grpSp>
        <p:nvGrpSpPr>
          <p:cNvPr id="3" name="Group 2"/>
          <p:cNvGrpSpPr/>
          <p:nvPr/>
        </p:nvGrpSpPr>
        <p:grpSpPr>
          <a:xfrm>
            <a:off x="8910887" y="1865144"/>
            <a:ext cx="892447" cy="472283"/>
            <a:chOff x="10046177" y="2380108"/>
            <a:chExt cx="1675277" cy="769064"/>
          </a:xfrm>
        </p:grpSpPr>
        <p:pic>
          <p:nvPicPr>
            <p:cNvPr id="38" name="Picture 3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046177" y="2380108"/>
              <a:ext cx="1675277" cy="769064"/>
            </a:xfrm>
            <a:prstGeom prst="rect">
              <a:avLst/>
            </a:prstGeom>
          </p:spPr>
        </p:pic>
        <p:pic>
          <p:nvPicPr>
            <p:cNvPr id="27" name="Picture 26"/>
            <p:cNvPicPr>
              <a:picLocks noChangeAspect="1"/>
            </p:cNvPicPr>
            <p:nvPr/>
          </p:nvPicPr>
          <p:blipFill rotWithShape="1">
            <a:blip r:embed="rId4" cstate="screen">
              <a:extLst>
                <a:ext uri="{28A0092B-C50C-407E-A947-70E740481C1C}">
                  <a14:useLocalDpi xmlns:a14="http://schemas.microsoft.com/office/drawing/2010/main"/>
                </a:ext>
              </a:extLst>
            </a:blip>
            <a:srcRect l="24841" t="33209" r="26520" b="36277"/>
            <a:stretch/>
          </p:blipFill>
          <p:spPr>
            <a:xfrm>
              <a:off x="10312958" y="2440190"/>
              <a:ext cx="1168552" cy="605049"/>
            </a:xfrm>
            <a:prstGeom prst="rect">
              <a:avLst/>
            </a:prstGeom>
          </p:spPr>
        </p:pic>
      </p:grpSp>
      <p:sp>
        <p:nvSpPr>
          <p:cNvPr id="25" name="TextBox 24"/>
          <p:cNvSpPr txBox="1"/>
          <p:nvPr/>
        </p:nvSpPr>
        <p:spPr>
          <a:xfrm>
            <a:off x="457787" y="3954404"/>
            <a:ext cx="3326113" cy="1791521"/>
          </a:xfrm>
          <a:prstGeom prst="rect">
            <a:avLst/>
          </a:prstGeom>
          <a:noFill/>
        </p:spPr>
        <p:txBody>
          <a:bodyPr wrap="square" lIns="110136" tIns="146243" rIns="110136" bIns="146243" rtlCol="0">
            <a:spAutoFit/>
          </a:bodyPr>
          <a:lstStyle/>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Discover cloud apps in use       across your networks</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Investigate users and source IP cloud usage</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Un-sanction, sanction, and        protect apps</a:t>
            </a:r>
          </a:p>
        </p:txBody>
      </p:sp>
      <p:sp>
        <p:nvSpPr>
          <p:cNvPr id="34" name="TextBox 33"/>
          <p:cNvSpPr txBox="1"/>
          <p:nvPr/>
        </p:nvSpPr>
        <p:spPr>
          <a:xfrm>
            <a:off x="1693085" y="1612496"/>
            <a:ext cx="2771983" cy="960055"/>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400" kern="0" dirty="0">
                <a:latin typeface="Segoe UI Light"/>
              </a:rPr>
              <a:t>Shadow IT discovery</a:t>
            </a:r>
          </a:p>
        </p:txBody>
      </p:sp>
      <p:pic>
        <p:nvPicPr>
          <p:cNvPr id="35" name="Picture 3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5515" y="1745489"/>
            <a:ext cx="805270" cy="745012"/>
          </a:xfrm>
          <a:prstGeom prst="rect">
            <a:avLst/>
          </a:prstGeom>
        </p:spPr>
      </p:pic>
      <p:sp>
        <p:nvSpPr>
          <p:cNvPr id="43" name="TextBox 42"/>
          <p:cNvSpPr txBox="1"/>
          <p:nvPr/>
        </p:nvSpPr>
        <p:spPr>
          <a:xfrm>
            <a:off x="5616738" y="1605922"/>
            <a:ext cx="3267366" cy="960055"/>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400" kern="0" dirty="0">
                <a:latin typeface="Segoe UI Light"/>
              </a:rPr>
              <a:t>Cloud app </a:t>
            </a:r>
            <a:br>
              <a:rPr lang="en-US" sz="2400" kern="0" dirty="0">
                <a:latin typeface="Segoe UI Light"/>
              </a:rPr>
            </a:br>
            <a:r>
              <a:rPr lang="en-US" sz="2400" kern="0" dirty="0">
                <a:latin typeface="Segoe UI Light"/>
              </a:rPr>
              <a:t>risk assessment</a:t>
            </a:r>
          </a:p>
        </p:txBody>
      </p:sp>
      <p:sp>
        <p:nvSpPr>
          <p:cNvPr id="44" name="TextBox 43"/>
          <p:cNvSpPr txBox="1"/>
          <p:nvPr/>
        </p:nvSpPr>
        <p:spPr>
          <a:xfrm>
            <a:off x="4465067" y="3979487"/>
            <a:ext cx="3646003" cy="1042470"/>
          </a:xfrm>
          <a:prstGeom prst="rect">
            <a:avLst/>
          </a:prstGeom>
          <a:noFill/>
        </p:spPr>
        <p:txBody>
          <a:bodyPr wrap="square" lIns="182805" tIns="146243" rIns="182805" bIns="146243" rtlCol="0">
            <a:spAutoFit/>
          </a:bodyPr>
          <a:lstStyle/>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Risk scoring for 13,000+ cloud apps </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60+ security and compliance           risk factors</a:t>
            </a:r>
          </a:p>
        </p:txBody>
      </p:sp>
      <p:pic>
        <p:nvPicPr>
          <p:cNvPr id="45" name="Picture 4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50074" y="1813651"/>
            <a:ext cx="875844" cy="616947"/>
          </a:xfrm>
          <a:prstGeom prst="rect">
            <a:avLst/>
          </a:prstGeom>
        </p:spPr>
      </p:pic>
      <p:sp>
        <p:nvSpPr>
          <p:cNvPr id="4" name="Rectangle 3"/>
          <p:cNvSpPr/>
          <p:nvPr/>
        </p:nvSpPr>
        <p:spPr>
          <a:xfrm>
            <a:off x="4333039" y="3312620"/>
            <a:ext cx="242343" cy="369285"/>
          </a:xfrm>
          <a:prstGeom prst="rect">
            <a:avLst/>
          </a:prstGeom>
        </p:spPr>
        <p:txBody>
          <a:bodyPr wrap="none">
            <a:spAutoFit/>
          </a:bodyPr>
          <a:lstStyle/>
          <a:p>
            <a:pPr defTabSz="914309">
              <a:defRPr/>
            </a:pPr>
            <a:r>
              <a:rPr lang="en-US" kern="0" dirty="0">
                <a:solidFill>
                  <a:srgbClr val="000000"/>
                </a:solidFill>
                <a:latin typeface="Times" charset="0"/>
              </a:rPr>
              <a:t> </a:t>
            </a:r>
            <a:endParaRPr lang="en-US" kern="0" dirty="0">
              <a:solidFill>
                <a:sysClr val="windowText" lastClr="000000"/>
              </a:solidFill>
              <a:latin typeface="Segoe UI"/>
            </a:endParaRPr>
          </a:p>
        </p:txBody>
      </p:sp>
      <p:sp>
        <p:nvSpPr>
          <p:cNvPr id="6" name="Rectangle 5"/>
          <p:cNvSpPr/>
          <p:nvPr/>
        </p:nvSpPr>
        <p:spPr bwMode="auto">
          <a:xfrm>
            <a:off x="-1" y="6190086"/>
            <a:ext cx="12434888" cy="811928"/>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2040" kern="0" dirty="0">
              <a:gradFill>
                <a:gsLst>
                  <a:gs pos="0">
                    <a:srgbClr val="FFFFFF"/>
                  </a:gs>
                  <a:gs pos="100000">
                    <a:srgbClr val="FFFFFF"/>
                  </a:gs>
                </a:gsLst>
                <a:lin ang="5400000" scaled="0"/>
              </a:gradFill>
              <a:latin typeface="Segoe UI"/>
            </a:endParaRPr>
          </a:p>
        </p:txBody>
      </p:sp>
      <p:pic>
        <p:nvPicPr>
          <p:cNvPr id="29" name="Picture 28"/>
          <p:cNvPicPr>
            <a:picLocks noChangeAspect="1"/>
          </p:cNvPicPr>
          <p:nvPr/>
        </p:nvPicPr>
        <p:blipFill rotWithShape="1">
          <a:blip r:embed="rId7" cstate="screen">
            <a:extLst>
              <a:ext uri="{28A0092B-C50C-407E-A947-70E740481C1C}">
                <a14:useLocalDpi xmlns:a14="http://schemas.microsoft.com/office/drawing/2010/main"/>
              </a:ext>
            </a:extLst>
          </a:blip>
          <a:srcRect l="-13053" t="13514" r="-13053" b="13514"/>
          <a:stretch/>
        </p:blipFill>
        <p:spPr>
          <a:xfrm>
            <a:off x="383678" y="6190086"/>
            <a:ext cx="1444398" cy="811928"/>
          </a:xfrm>
          <a:prstGeom prst="rect">
            <a:avLst/>
          </a:prstGeom>
        </p:spPr>
      </p:pic>
      <p:sp>
        <p:nvSpPr>
          <p:cNvPr id="33" name="Oval 32"/>
          <p:cNvSpPr/>
          <p:nvPr/>
        </p:nvSpPr>
        <p:spPr bwMode="auto">
          <a:xfrm>
            <a:off x="436255" y="1515877"/>
            <a:ext cx="1190493" cy="1190493"/>
          </a:xfrm>
          <a:prstGeom prst="ellipse">
            <a:avLst/>
          </a:prstGeom>
          <a:noFill/>
          <a:ln w="38100" cap="flat" cmpd="sng" algn="ctr">
            <a:solidFill>
              <a:schemeClr val="tx2"/>
            </a:solidFill>
            <a:prstDash val="solid"/>
            <a:headEnd type="none" w="med" len="med"/>
            <a:tailEnd type="none" w="med" len="med"/>
          </a:ln>
          <a:effectLst/>
        </p:spPr>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37" name="Oval 36"/>
          <p:cNvSpPr/>
          <p:nvPr/>
        </p:nvSpPr>
        <p:spPr bwMode="auto">
          <a:xfrm>
            <a:off x="4389824" y="1483615"/>
            <a:ext cx="1190493" cy="1190493"/>
          </a:xfrm>
          <a:prstGeom prst="ellipse">
            <a:avLst/>
          </a:prstGeom>
          <a:noFill/>
          <a:ln w="38100" cap="flat" cmpd="sng" algn="ctr">
            <a:solidFill>
              <a:schemeClr val="tx2"/>
            </a:solidFill>
            <a:prstDash val="solid"/>
            <a:headEnd type="none" w="med" len="med"/>
            <a:tailEnd type="none" w="med" len="med"/>
          </a:ln>
          <a:effectLst/>
        </p:spPr>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cxnSp>
        <p:nvCxnSpPr>
          <p:cNvPr id="39" name="Straight Connector 38"/>
          <p:cNvCxnSpPr/>
          <p:nvPr/>
        </p:nvCxnSpPr>
        <p:spPr>
          <a:xfrm>
            <a:off x="9341245" y="2674108"/>
            <a:ext cx="0" cy="1305380"/>
          </a:xfrm>
          <a:prstGeom prst="line">
            <a:avLst/>
          </a:prstGeom>
          <a:noFill/>
          <a:ln w="38100" cap="flat" cmpd="sng" algn="ctr">
            <a:solidFill>
              <a:schemeClr val="tx2"/>
            </a:solidFill>
            <a:prstDash val="solid"/>
            <a:headEnd type="none" w="med" len="med"/>
            <a:tailEnd type="none" w="med" len="med"/>
          </a:ln>
          <a:effectLst/>
        </p:spPr>
      </p:cxnSp>
      <p:sp>
        <p:nvSpPr>
          <p:cNvPr id="40" name="Oval 39"/>
          <p:cNvSpPr/>
          <p:nvPr/>
        </p:nvSpPr>
        <p:spPr bwMode="auto">
          <a:xfrm>
            <a:off x="8751293" y="1483615"/>
            <a:ext cx="1190493" cy="1190493"/>
          </a:xfrm>
          <a:prstGeom prst="ellipse">
            <a:avLst/>
          </a:prstGeom>
          <a:noFill/>
          <a:ln w="38100" cap="flat" cmpd="sng" algn="ctr">
            <a:solidFill>
              <a:schemeClr val="tx2"/>
            </a:solidFill>
            <a:prstDash val="solid"/>
            <a:headEnd type="none" w="med" len="med"/>
            <a:tailEnd type="none" w="med" len="med"/>
          </a:ln>
          <a:effectLst/>
        </p:spPr>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cxnSp>
        <p:nvCxnSpPr>
          <p:cNvPr id="41" name="Straight Connector 40"/>
          <p:cNvCxnSpPr/>
          <p:nvPr/>
        </p:nvCxnSpPr>
        <p:spPr>
          <a:xfrm>
            <a:off x="4985069" y="2674108"/>
            <a:ext cx="0" cy="1305380"/>
          </a:xfrm>
          <a:prstGeom prst="line">
            <a:avLst/>
          </a:prstGeom>
          <a:noFill/>
          <a:ln w="38100" cap="flat" cmpd="sng" algn="ctr">
            <a:solidFill>
              <a:schemeClr val="tx2"/>
            </a:solidFill>
            <a:prstDash val="solid"/>
            <a:headEnd type="none" w="med" len="med"/>
            <a:tailEnd type="none" w="med" len="med"/>
          </a:ln>
          <a:effectLst/>
        </p:spPr>
      </p:cxnSp>
      <p:cxnSp>
        <p:nvCxnSpPr>
          <p:cNvPr id="42" name="Straight Connector 41"/>
          <p:cNvCxnSpPr/>
          <p:nvPr/>
        </p:nvCxnSpPr>
        <p:spPr>
          <a:xfrm>
            <a:off x="1018149" y="2706371"/>
            <a:ext cx="0" cy="1305380"/>
          </a:xfrm>
          <a:prstGeom prst="line">
            <a:avLst/>
          </a:prstGeom>
          <a:noFill/>
          <a:ln w="38100" cap="flat" cmpd="sng" algn="ctr">
            <a:solidFill>
              <a:schemeClr val="tx2"/>
            </a:solidFill>
            <a:prstDash val="solid"/>
            <a:headEnd type="none" w="med" len="med"/>
            <a:tailEnd type="none" w="med" len="med"/>
          </a:ln>
          <a:effectLst/>
        </p:spPr>
      </p:cxnSp>
      <p:sp>
        <p:nvSpPr>
          <p:cNvPr id="32" name="TextBox 31"/>
          <p:cNvSpPr txBox="1"/>
          <p:nvPr/>
        </p:nvSpPr>
        <p:spPr>
          <a:xfrm>
            <a:off x="1844336" y="6208036"/>
            <a:ext cx="1939565" cy="516941"/>
          </a:xfrm>
          <a:prstGeom prst="rect">
            <a:avLst/>
          </a:prstGeom>
          <a:noFill/>
        </p:spPr>
        <p:txBody>
          <a:bodyPr wrap="square" lIns="110136" tIns="146243" rIns="110136" bIns="146243" rtlCol="0">
            <a:spAutoFit/>
          </a:bodyPr>
          <a:lstStyle/>
          <a:p>
            <a:pPr defTabSz="932325">
              <a:lnSpc>
                <a:spcPct val="90000"/>
              </a:lnSpc>
              <a:spcAft>
                <a:spcPts val="600"/>
              </a:spcAft>
              <a:defRPr/>
            </a:pPr>
            <a:r>
              <a:rPr lang="en-US" sz="1600" b="1" kern="0" dirty="0">
                <a:solidFill>
                  <a:srgbClr val="FFFFFF"/>
                </a:solidFill>
              </a:rPr>
              <a:t>Integrates with</a:t>
            </a:r>
          </a:p>
        </p:txBody>
      </p:sp>
      <p:sp>
        <p:nvSpPr>
          <p:cNvPr id="36" name="TextBox 35"/>
          <p:cNvSpPr txBox="1"/>
          <p:nvPr/>
        </p:nvSpPr>
        <p:spPr>
          <a:xfrm>
            <a:off x="1768144" y="6452468"/>
            <a:ext cx="3992100" cy="572341"/>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000" kern="0" dirty="0">
                <a:solidFill>
                  <a:srgbClr val="FFFFFF"/>
                </a:solidFill>
                <a:latin typeface="Segoe UI Light"/>
              </a:rPr>
              <a:t>Your network appliances</a:t>
            </a:r>
          </a:p>
        </p:txBody>
      </p:sp>
      <p:cxnSp>
        <p:nvCxnSpPr>
          <p:cNvPr id="46" name="Straight Connector 45"/>
          <p:cNvCxnSpPr/>
          <p:nvPr/>
        </p:nvCxnSpPr>
        <p:spPr>
          <a:xfrm>
            <a:off x="4084116" y="4156589"/>
            <a:ext cx="0" cy="1550191"/>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426962" y="4156589"/>
            <a:ext cx="0" cy="1550191"/>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13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up)">
                                      <p:cBhvr>
                                        <p:cTn id="7" dur="500"/>
                                        <p:tgtEl>
                                          <p:spTgt spid="3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up)">
                                      <p:cBhvr>
                                        <p:cTn id="10" dur="500"/>
                                        <p:tgtEl>
                                          <p:spTgt spid="37"/>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wipe(up)">
                                      <p:cBhvr>
                                        <p:cTn id="1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7" grpId="0" animBg="1"/>
      <p:bldP spid="4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0" y="1212853"/>
            <a:ext cx="12434888" cy="57816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 Placeholder 6"/>
          <p:cNvSpPr txBox="1">
            <a:spLocks/>
          </p:cNvSpPr>
          <p:nvPr/>
        </p:nvSpPr>
        <p:spPr>
          <a:xfrm>
            <a:off x="366169" y="1287462"/>
            <a:ext cx="11921860" cy="461641"/>
          </a:xfrm>
          <a:prstGeom prst="rect">
            <a:avLst/>
          </a:prstGeom>
        </p:spPr>
        <p:txBody>
          <a:bodyPr vert="horz" wrap="square" lIns="146285" tIns="91428" rIns="146285" bIns="91428" rtlCol="0" anchor="ctr" anchorCtr="0">
            <a:noAutofit/>
          </a:bodyPr>
          <a:lstStyle>
            <a:lvl1pPr marL="0" indent="0" algn="l" defTabSz="931684" rtl="0" fontAlgn="base">
              <a:lnSpc>
                <a:spcPct val="90000"/>
              </a:lnSpc>
              <a:spcBef>
                <a:spcPct val="20000"/>
              </a:spcBef>
              <a:spcAft>
                <a:spcPct val="0"/>
              </a:spcAft>
              <a:buSzPct val="90000"/>
              <a:buFont typeface="Arial" charset="0"/>
              <a:buNone/>
              <a:defRPr sz="2244" b="0" kern="1200">
                <a:solidFill>
                  <a:schemeClr val="accent2"/>
                </a:solidFill>
                <a:latin typeface="+mn-lt"/>
                <a:ea typeface="ＭＳ Ｐゴシック" charset="0"/>
                <a:cs typeface="ＭＳ Ｐゴシック" charset="0"/>
              </a:defRPr>
            </a:lvl1pPr>
            <a:lvl2pPr marL="342834" indent="0" algn="l" defTabSz="931684" rtl="0" fontAlgn="base">
              <a:lnSpc>
                <a:spcPct val="90000"/>
              </a:lnSpc>
              <a:spcBef>
                <a:spcPct val="20000"/>
              </a:spcBef>
              <a:spcAft>
                <a:spcPct val="0"/>
              </a:spcAft>
              <a:buSzPct val="90000"/>
              <a:buFont typeface="Arial" charset="0"/>
              <a:buNone/>
              <a:defRPr sz="2400" kern="1200">
                <a:gradFill>
                  <a:gsLst>
                    <a:gs pos="1250">
                      <a:schemeClr val="tx1"/>
                    </a:gs>
                    <a:gs pos="100000">
                      <a:schemeClr val="tx1"/>
                    </a:gs>
                  </a:gsLst>
                  <a:lin ang="5400000" scaled="0"/>
                </a:gradFill>
                <a:latin typeface="+mn-lt"/>
                <a:ea typeface="ＭＳ Ｐゴシック" charset="0"/>
                <a:cs typeface="+mn-cs"/>
              </a:defRPr>
            </a:lvl2pPr>
            <a:lvl3pPr marL="571390" indent="0" algn="l" defTabSz="931684" rtl="0" fontAlgn="base">
              <a:lnSpc>
                <a:spcPct val="90000"/>
              </a:lnSpc>
              <a:spcBef>
                <a:spcPct val="20000"/>
              </a:spcBef>
              <a:spcAft>
                <a:spcPct val="0"/>
              </a:spcAft>
              <a:buSzPct val="90000"/>
              <a:buFont typeface="Arial" charset="0"/>
              <a:buNone/>
              <a:defRPr sz="2000" kern="1200">
                <a:gradFill>
                  <a:gsLst>
                    <a:gs pos="1250">
                      <a:schemeClr val="tx1"/>
                    </a:gs>
                    <a:gs pos="100000">
                      <a:schemeClr val="tx1"/>
                    </a:gs>
                  </a:gsLst>
                  <a:lin ang="5400000" scaled="0"/>
                </a:gradFill>
                <a:latin typeface="+mn-lt"/>
                <a:ea typeface="ＭＳ Ｐゴシック" charset="0"/>
                <a:cs typeface="+mn-cs"/>
              </a:defRPr>
            </a:lvl3pPr>
            <a:lvl4pPr marL="799946"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28502"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1591">
              <a:defRPr/>
            </a:pPr>
            <a:r>
              <a:rPr lang="en-US" sz="2000" dirty="0">
                <a:solidFill>
                  <a:schemeClr val="bg1"/>
                </a:solidFill>
                <a:latin typeface="Segoe UI Semibold" panose="020B0702040204020203" pitchFamily="34" charset="0"/>
                <a:cs typeface="Segoe UI Semibold" panose="020B0702040204020203" pitchFamily="34" charset="0"/>
              </a:rPr>
              <a:t>Combine the power of Azure AD with your </a:t>
            </a:r>
            <a:r>
              <a:rPr lang="en-US" sz="2000" dirty="0" err="1">
                <a:solidFill>
                  <a:schemeClr val="bg1"/>
                </a:solidFill>
                <a:latin typeface="Segoe UI Semibold" panose="020B0702040204020203" pitchFamily="34" charset="0"/>
                <a:cs typeface="Segoe UI Semibold" panose="020B0702040204020203" pitchFamily="34" charset="0"/>
              </a:rPr>
              <a:t>PowerBI</a:t>
            </a:r>
            <a:r>
              <a:rPr lang="en-US" sz="2000" dirty="0">
                <a:solidFill>
                  <a:schemeClr val="bg1"/>
                </a:solidFill>
                <a:latin typeface="Segoe UI Semibold" panose="020B0702040204020203" pitchFamily="34" charset="0"/>
                <a:cs typeface="Segoe UI Semibold" panose="020B0702040204020203" pitchFamily="34" charset="0"/>
              </a:rPr>
              <a:t>, SIEM, and other monitoring tools</a:t>
            </a: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22361" y="2194822"/>
            <a:ext cx="3540613" cy="2742850"/>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29808" y="4035356"/>
            <a:ext cx="5278766" cy="2377137"/>
          </a:xfrm>
          <a:prstGeom prst="rect">
            <a:avLst/>
          </a:prstGeom>
        </p:spPr>
      </p:pic>
      <p:pic>
        <p:nvPicPr>
          <p:cNvPr id="33" name="Content Placeholder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79752" y="1973457"/>
            <a:ext cx="4251622" cy="2643238"/>
          </a:xfrm>
          <a:prstGeom prst="rect">
            <a:avLst/>
          </a:prstGeom>
          <a:ln>
            <a:noFill/>
          </a:ln>
          <a:effectLst>
            <a:outerShdw blurRad="292100" dist="139700" dir="2700000" algn="tl" rotWithShape="0">
              <a:srgbClr val="333333">
                <a:alpha val="65000"/>
              </a:srgbClr>
            </a:outerShdw>
          </a:effectLst>
        </p:spPr>
      </p:pic>
      <p:pic>
        <p:nvPicPr>
          <p:cNvPr id="35" name="Picture 3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768599" y="3508609"/>
            <a:ext cx="4519430" cy="3291420"/>
          </a:xfrm>
          <a:prstGeom prst="rect">
            <a:avLst/>
          </a:prstGeom>
          <a:ln>
            <a:noFill/>
          </a:ln>
          <a:effectLst>
            <a:outerShdw blurRad="292100" dist="139700" dir="2700000" algn="tl" rotWithShape="0">
              <a:srgbClr val="333333">
                <a:alpha val="65000"/>
              </a:srgbClr>
            </a:outerShdw>
          </a:effectLst>
        </p:spPr>
      </p:pic>
      <p:sp>
        <p:nvSpPr>
          <p:cNvPr id="2" name="Oval 1"/>
          <p:cNvSpPr/>
          <p:nvPr/>
        </p:nvSpPr>
        <p:spPr bwMode="auto">
          <a:xfrm>
            <a:off x="8144352" y="4100086"/>
            <a:ext cx="838093" cy="886731"/>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r>
              <a:rPr lang="en-US" sz="1600" kern="0" dirty="0">
                <a:gradFill>
                  <a:gsLst>
                    <a:gs pos="0">
                      <a:srgbClr val="FFFFFF"/>
                    </a:gs>
                    <a:gs pos="100000">
                      <a:srgbClr val="FFFFFF"/>
                    </a:gs>
                  </a:gsLst>
                  <a:lin ang="5400000" scaled="0"/>
                </a:gradFill>
              </a:rPr>
              <a:t>Power BI</a:t>
            </a:r>
          </a:p>
        </p:txBody>
      </p:sp>
      <p:sp>
        <p:nvSpPr>
          <p:cNvPr id="5" name="Title 4"/>
          <p:cNvSpPr>
            <a:spLocks noGrp="1"/>
          </p:cNvSpPr>
          <p:nvPr>
            <p:ph type="title"/>
          </p:nvPr>
        </p:nvSpPr>
        <p:spPr/>
        <p:txBody>
          <a:bodyPr/>
          <a:lstStyle/>
          <a:p>
            <a:r>
              <a:rPr lang="en-US" dirty="0"/>
              <a:t>Scale your data and reporting</a:t>
            </a:r>
          </a:p>
        </p:txBody>
      </p:sp>
      <p:sp>
        <p:nvSpPr>
          <p:cNvPr id="23" name="TextBox 22"/>
          <p:cNvSpPr txBox="1"/>
          <p:nvPr/>
        </p:nvSpPr>
        <p:spPr>
          <a:xfrm>
            <a:off x="4658117" y="3588547"/>
            <a:ext cx="1139837" cy="193874"/>
          </a:xfrm>
          <a:prstGeom prst="rect">
            <a:avLst/>
          </a:prstGeom>
          <a:noFill/>
        </p:spPr>
        <p:txBody>
          <a:bodyPr wrap="square" lIns="0" tIns="0" rIns="0" bIns="0" rtlCol="0">
            <a:spAutoFit/>
          </a:bodyPr>
          <a:lstStyle>
            <a:defPPr>
              <a:defRPr lang="en-US"/>
            </a:defPPr>
            <a:lvl1pPr algn="ctr" defTabSz="1243038">
              <a:lnSpc>
                <a:spcPct val="90000"/>
              </a:lnSpc>
              <a:spcBef>
                <a:spcPct val="20000"/>
              </a:spcBef>
              <a:buSzPct val="80000"/>
              <a:defRPr sz="1200">
                <a:gradFill>
                  <a:gsLst>
                    <a:gs pos="21429">
                      <a:schemeClr val="bg1">
                        <a:lumMod val="50000"/>
                      </a:schemeClr>
                    </a:gs>
                    <a:gs pos="42000">
                      <a:schemeClr val="bg1">
                        <a:lumMod val="50000"/>
                      </a:schemeClr>
                    </a:gs>
                  </a:gsLst>
                  <a:lin ang="5400000" scaled="0"/>
                </a:gradFill>
              </a:defRPr>
            </a:lvl1pPr>
          </a:lstStyle>
          <a:p>
            <a:pPr algn="l" defTabSz="913657" fontAlgn="base">
              <a:spcBef>
                <a:spcPct val="0"/>
              </a:spcBef>
              <a:spcAft>
                <a:spcPct val="0"/>
              </a:spcAft>
              <a:defRPr/>
            </a:pPr>
            <a:r>
              <a:rPr lang="en-US" sz="1400" kern="0" dirty="0">
                <a:solidFill>
                  <a:schemeClr val="bg1"/>
                </a:solidFill>
                <a:ea typeface="ＭＳ Ｐゴシック" charset="0"/>
                <a:cs typeface="Segoe UI Semibold" panose="020B0702040204020203" pitchFamily="34" charset="0"/>
              </a:rPr>
              <a:t>Notifications</a:t>
            </a:r>
          </a:p>
        </p:txBody>
      </p:sp>
      <p:grpSp>
        <p:nvGrpSpPr>
          <p:cNvPr id="9" name="Group 8"/>
          <p:cNvGrpSpPr/>
          <p:nvPr/>
        </p:nvGrpSpPr>
        <p:grpSpPr>
          <a:xfrm>
            <a:off x="4714908" y="3837320"/>
            <a:ext cx="1162719" cy="1160647"/>
            <a:chOff x="4042621" y="4041476"/>
            <a:chExt cx="1186369" cy="1138138"/>
          </a:xfrm>
        </p:grpSpPr>
        <p:cxnSp>
          <p:nvCxnSpPr>
            <p:cNvPr id="11" name="Straight Arrow Connector 10"/>
            <p:cNvCxnSpPr/>
            <p:nvPr/>
          </p:nvCxnSpPr>
          <p:spPr>
            <a:xfrm>
              <a:off x="4068386" y="4041476"/>
              <a:ext cx="1160604" cy="0"/>
            </a:xfrm>
            <a:prstGeom prst="straightConnector1">
              <a:avLst/>
            </a:prstGeom>
            <a:ln w="57150" cap="rnd">
              <a:solidFill>
                <a:schemeClr val="bg1"/>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068386" y="4610545"/>
              <a:ext cx="1160604" cy="0"/>
            </a:xfrm>
            <a:prstGeom prst="straightConnector1">
              <a:avLst/>
            </a:prstGeom>
            <a:ln w="57150" cap="rnd">
              <a:solidFill>
                <a:schemeClr val="bg1"/>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042621" y="5179614"/>
              <a:ext cx="1160604" cy="0"/>
            </a:xfrm>
            <a:prstGeom prst="straightConnector1">
              <a:avLst/>
            </a:prstGeom>
            <a:ln w="57150" cap="rnd">
              <a:solidFill>
                <a:schemeClr val="bg1"/>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27" name="TextBox 26"/>
          <p:cNvSpPr txBox="1"/>
          <p:nvPr/>
        </p:nvSpPr>
        <p:spPr>
          <a:xfrm>
            <a:off x="4658117" y="3968454"/>
            <a:ext cx="1214581" cy="387748"/>
          </a:xfrm>
          <a:prstGeom prst="rect">
            <a:avLst/>
          </a:prstGeom>
          <a:noFill/>
        </p:spPr>
        <p:txBody>
          <a:bodyPr wrap="square" lIns="0" tIns="0" rIns="0" bIns="0" rtlCol="0">
            <a:spAutoFit/>
          </a:bodyPr>
          <a:lstStyle>
            <a:defPPr>
              <a:defRPr lang="en-US"/>
            </a:defPPr>
            <a:lvl1pPr algn="ctr" defTabSz="1243038">
              <a:lnSpc>
                <a:spcPct val="90000"/>
              </a:lnSpc>
              <a:spcBef>
                <a:spcPct val="20000"/>
              </a:spcBef>
              <a:buSzPct val="80000"/>
              <a:defRPr sz="1200">
                <a:gradFill>
                  <a:gsLst>
                    <a:gs pos="21429">
                      <a:schemeClr val="bg1">
                        <a:lumMod val="50000"/>
                      </a:schemeClr>
                    </a:gs>
                    <a:gs pos="42000">
                      <a:schemeClr val="bg1">
                        <a:lumMod val="50000"/>
                      </a:schemeClr>
                    </a:gs>
                  </a:gsLst>
                  <a:lin ang="5400000" scaled="0"/>
                </a:gradFill>
              </a:defRPr>
            </a:lvl1pPr>
          </a:lstStyle>
          <a:p>
            <a:pPr algn="l" defTabSz="913657" fontAlgn="base">
              <a:spcBef>
                <a:spcPct val="0"/>
              </a:spcBef>
              <a:spcAft>
                <a:spcPct val="0"/>
              </a:spcAft>
              <a:defRPr/>
            </a:pPr>
            <a:r>
              <a:rPr lang="en-US" sz="1400" kern="0" dirty="0">
                <a:solidFill>
                  <a:schemeClr val="bg1"/>
                </a:solidFill>
                <a:ea typeface="ＭＳ Ｐゴシック" charset="0"/>
                <a:cs typeface="Segoe UI Semibold" panose="020B0702040204020203" pitchFamily="34" charset="0"/>
              </a:rPr>
              <a:t>Data extracts/</a:t>
            </a:r>
          </a:p>
          <a:p>
            <a:pPr algn="l" defTabSz="913657" fontAlgn="base">
              <a:spcBef>
                <a:spcPct val="0"/>
              </a:spcBef>
              <a:spcAft>
                <a:spcPct val="0"/>
              </a:spcAft>
              <a:defRPr/>
            </a:pPr>
            <a:r>
              <a:rPr lang="en-US" sz="1400" kern="0" dirty="0">
                <a:solidFill>
                  <a:schemeClr val="bg1"/>
                </a:solidFill>
                <a:ea typeface="ＭＳ Ｐゴシック" charset="0"/>
                <a:cs typeface="Segoe UI Semibold" panose="020B0702040204020203" pitchFamily="34" charset="0"/>
              </a:rPr>
              <a:t>downloads</a:t>
            </a:r>
          </a:p>
        </p:txBody>
      </p:sp>
      <p:sp>
        <p:nvSpPr>
          <p:cNvPr id="28" name="TextBox 27"/>
          <p:cNvSpPr txBox="1"/>
          <p:nvPr/>
        </p:nvSpPr>
        <p:spPr>
          <a:xfrm>
            <a:off x="4667967" y="4674813"/>
            <a:ext cx="1169255" cy="193874"/>
          </a:xfrm>
          <a:prstGeom prst="rect">
            <a:avLst/>
          </a:prstGeom>
          <a:noFill/>
        </p:spPr>
        <p:txBody>
          <a:bodyPr wrap="square" lIns="0" tIns="0" rIns="0" bIns="0" rtlCol="0">
            <a:spAutoFit/>
          </a:bodyPr>
          <a:lstStyle>
            <a:defPPr>
              <a:defRPr lang="en-US"/>
            </a:defPPr>
            <a:lvl1pPr algn="ctr" defTabSz="1243038">
              <a:lnSpc>
                <a:spcPct val="90000"/>
              </a:lnSpc>
              <a:spcBef>
                <a:spcPct val="20000"/>
              </a:spcBef>
              <a:buSzPct val="80000"/>
              <a:defRPr sz="1200">
                <a:gradFill>
                  <a:gsLst>
                    <a:gs pos="21429">
                      <a:schemeClr val="bg1">
                        <a:lumMod val="50000"/>
                      </a:schemeClr>
                    </a:gs>
                    <a:gs pos="42000">
                      <a:schemeClr val="bg1">
                        <a:lumMod val="50000"/>
                      </a:schemeClr>
                    </a:gs>
                  </a:gsLst>
                  <a:lin ang="5400000" scaled="0"/>
                </a:gradFill>
              </a:defRPr>
            </a:lvl1pPr>
          </a:lstStyle>
          <a:p>
            <a:pPr algn="l" defTabSz="913657" fontAlgn="base">
              <a:spcBef>
                <a:spcPct val="0"/>
              </a:spcBef>
              <a:spcAft>
                <a:spcPct val="0"/>
              </a:spcAft>
              <a:defRPr/>
            </a:pPr>
            <a:r>
              <a:rPr lang="en-US" sz="1400" kern="0" dirty="0">
                <a:solidFill>
                  <a:schemeClr val="bg1"/>
                </a:solidFill>
                <a:ea typeface="ＭＳ Ｐゴシック" charset="0"/>
                <a:cs typeface="Segoe UI Semibold" panose="020B0702040204020203" pitchFamily="34" charset="0"/>
              </a:rPr>
              <a:t>Reporting APIs</a:t>
            </a:r>
          </a:p>
        </p:txBody>
      </p:sp>
      <p:sp>
        <p:nvSpPr>
          <p:cNvPr id="31" name="Oval 30"/>
          <p:cNvSpPr/>
          <p:nvPr/>
        </p:nvSpPr>
        <p:spPr bwMode="auto">
          <a:xfrm>
            <a:off x="8240224" y="2764886"/>
            <a:ext cx="646349" cy="646349"/>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r>
              <a:rPr lang="en-US" sz="1200" kern="0" dirty="0" err="1">
                <a:gradFill>
                  <a:gsLst>
                    <a:gs pos="0">
                      <a:srgbClr val="FFFFFF"/>
                    </a:gs>
                    <a:gs pos="100000">
                      <a:srgbClr val="FFFFFF"/>
                    </a:gs>
                  </a:gsLst>
                  <a:lin ang="5400000" scaled="0"/>
                </a:gradFill>
              </a:rPr>
              <a:t>Splunk</a:t>
            </a:r>
            <a:endParaRPr lang="en-US" sz="1200" kern="0" dirty="0">
              <a:gradFill>
                <a:gsLst>
                  <a:gs pos="0">
                    <a:srgbClr val="FFFFFF"/>
                  </a:gs>
                  <a:gs pos="100000">
                    <a:srgbClr val="FFFFFF"/>
                  </a:gs>
                </a:gsLst>
                <a:lin ang="5400000" scaled="0"/>
              </a:gradFill>
            </a:endParaRPr>
          </a:p>
        </p:txBody>
      </p:sp>
      <p:grpSp>
        <p:nvGrpSpPr>
          <p:cNvPr id="6" name="Group 5"/>
          <p:cNvGrpSpPr/>
          <p:nvPr/>
        </p:nvGrpSpPr>
        <p:grpSpPr>
          <a:xfrm>
            <a:off x="350794" y="2016879"/>
            <a:ext cx="3931081" cy="2282252"/>
            <a:chOff x="619209" y="4094509"/>
            <a:chExt cx="3931583" cy="2282543"/>
          </a:xfrm>
        </p:grpSpPr>
        <p:pic>
          <p:nvPicPr>
            <p:cNvPr id="29" name="Picture 2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31999" y="4108611"/>
              <a:ext cx="3915415" cy="2203703"/>
            </a:xfrm>
            <a:prstGeom prst="rect">
              <a:avLst/>
            </a:prstGeom>
            <a:ln>
              <a:solidFill>
                <a:schemeClr val="bg1">
                  <a:lumMod val="75000"/>
                </a:schemeClr>
              </a:solidFill>
            </a:ln>
          </p:spPr>
        </p:pic>
        <p:sp>
          <p:nvSpPr>
            <p:cNvPr id="52" name="TextBox 51"/>
            <p:cNvSpPr txBox="1"/>
            <p:nvPr/>
          </p:nvSpPr>
          <p:spPr>
            <a:xfrm>
              <a:off x="619209" y="4094509"/>
              <a:ext cx="3931583" cy="2228478"/>
            </a:xfrm>
            <a:prstGeom prst="rect">
              <a:avLst/>
            </a:prstGeom>
            <a:noFill/>
            <a:ln w="19050">
              <a:solidFill>
                <a:schemeClr val="accent3"/>
              </a:solidFill>
            </a:ln>
          </p:spPr>
          <p:txBody>
            <a:bodyPr wrap="square" lIns="182831" tIns="146264" rIns="182831" bIns="146264" rtlCol="0">
              <a:noAutofit/>
            </a:bodyPr>
            <a:lstStyle/>
            <a:p>
              <a:pPr algn="ctr" defTabSz="932504">
                <a:lnSpc>
                  <a:spcPct val="90000"/>
                </a:lnSpc>
                <a:defRPr/>
              </a:pPr>
              <a:endParaRPr lang="en-US" kern="0" spc="-50" dirty="0">
                <a:solidFill>
                  <a:srgbClr val="FFFFFF"/>
                </a:solidFill>
                <a:latin typeface="Segoe UI"/>
              </a:endParaRPr>
            </a:p>
          </p:txBody>
        </p:sp>
        <p:grpSp>
          <p:nvGrpSpPr>
            <p:cNvPr id="54" name="Group 53"/>
            <p:cNvGrpSpPr/>
            <p:nvPr/>
          </p:nvGrpSpPr>
          <p:grpSpPr>
            <a:xfrm>
              <a:off x="2267071" y="5843145"/>
              <a:ext cx="538387" cy="533907"/>
              <a:chOff x="-3875087" y="3027362"/>
              <a:chExt cx="2098674" cy="2081213"/>
            </a:xfrm>
            <a:solidFill>
              <a:schemeClr val="accent3"/>
            </a:solidFill>
          </p:grpSpPr>
          <p:sp>
            <p:nvSpPr>
              <p:cNvPr id="55" name="Freeform 5"/>
              <p:cNvSpPr>
                <a:spLocks/>
              </p:cNvSpPr>
              <p:nvPr/>
            </p:nvSpPr>
            <p:spPr bwMode="auto">
              <a:xfrm>
                <a:off x="-3394075" y="3305175"/>
                <a:ext cx="812800" cy="1187450"/>
              </a:xfrm>
              <a:custGeom>
                <a:avLst/>
                <a:gdLst>
                  <a:gd name="T0" fmla="*/ 459 w 512"/>
                  <a:gd name="T1" fmla="*/ 0 h 748"/>
                  <a:gd name="T2" fmla="*/ 239 w 512"/>
                  <a:gd name="T3" fmla="*/ 0 h 748"/>
                  <a:gd name="T4" fmla="*/ 0 w 512"/>
                  <a:gd name="T5" fmla="*/ 407 h 748"/>
                  <a:gd name="T6" fmla="*/ 231 w 512"/>
                  <a:gd name="T7" fmla="*/ 407 h 748"/>
                  <a:gd name="T8" fmla="*/ 67 w 512"/>
                  <a:gd name="T9" fmla="*/ 748 h 748"/>
                  <a:gd name="T10" fmla="*/ 512 w 512"/>
                  <a:gd name="T11" fmla="*/ 292 h 748"/>
                  <a:gd name="T12" fmla="*/ 241 w 512"/>
                  <a:gd name="T13" fmla="*/ 292 h 748"/>
                  <a:gd name="T14" fmla="*/ 459 w 512"/>
                  <a:gd name="T15" fmla="*/ 0 h 7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2" h="748">
                    <a:moveTo>
                      <a:pt x="459" y="0"/>
                    </a:moveTo>
                    <a:lnTo>
                      <a:pt x="239" y="0"/>
                    </a:lnTo>
                    <a:lnTo>
                      <a:pt x="0" y="407"/>
                    </a:lnTo>
                    <a:lnTo>
                      <a:pt x="231" y="407"/>
                    </a:lnTo>
                    <a:lnTo>
                      <a:pt x="67" y="748"/>
                    </a:lnTo>
                    <a:lnTo>
                      <a:pt x="512" y="292"/>
                    </a:lnTo>
                    <a:lnTo>
                      <a:pt x="241" y="292"/>
                    </a:lnTo>
                    <a:lnTo>
                      <a:pt x="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ysClr val="windowText" lastClr="000000"/>
                  </a:solidFill>
                </a:endParaRPr>
              </a:p>
            </p:txBody>
          </p:sp>
          <p:sp>
            <p:nvSpPr>
              <p:cNvPr id="56" name="Freeform 6"/>
              <p:cNvSpPr>
                <a:spLocks noEditPoints="1"/>
              </p:cNvSpPr>
              <p:nvPr/>
            </p:nvSpPr>
            <p:spPr bwMode="auto">
              <a:xfrm>
                <a:off x="-3875087" y="3027362"/>
                <a:ext cx="2098674" cy="2081213"/>
              </a:xfrm>
              <a:custGeom>
                <a:avLst/>
                <a:gdLst>
                  <a:gd name="T0" fmla="*/ 479 w 493"/>
                  <a:gd name="T1" fmla="*/ 414 h 489"/>
                  <a:gd name="T2" fmla="*/ 374 w 493"/>
                  <a:gd name="T3" fmla="*/ 309 h 489"/>
                  <a:gd name="T4" fmla="*/ 358 w 493"/>
                  <a:gd name="T5" fmla="*/ 310 h 489"/>
                  <a:gd name="T6" fmla="*/ 364 w 493"/>
                  <a:gd name="T7" fmla="*/ 300 h 489"/>
                  <a:gd name="T8" fmla="*/ 364 w 493"/>
                  <a:gd name="T9" fmla="*/ 300 h 489"/>
                  <a:gd name="T10" fmla="*/ 394 w 493"/>
                  <a:gd name="T11" fmla="*/ 197 h 489"/>
                  <a:gd name="T12" fmla="*/ 197 w 493"/>
                  <a:gd name="T13" fmla="*/ 0 h 489"/>
                  <a:gd name="T14" fmla="*/ 0 w 493"/>
                  <a:gd name="T15" fmla="*/ 197 h 489"/>
                  <a:gd name="T16" fmla="*/ 197 w 493"/>
                  <a:gd name="T17" fmla="*/ 394 h 489"/>
                  <a:gd name="T18" fmla="*/ 305 w 493"/>
                  <a:gd name="T19" fmla="*/ 361 h 489"/>
                  <a:gd name="T20" fmla="*/ 305 w 493"/>
                  <a:gd name="T21" fmla="*/ 361 h 489"/>
                  <a:gd name="T22" fmla="*/ 314 w 493"/>
                  <a:gd name="T23" fmla="*/ 355 h 489"/>
                  <a:gd name="T24" fmla="*/ 314 w 493"/>
                  <a:gd name="T25" fmla="*/ 371 h 489"/>
                  <a:gd name="T26" fmla="*/ 419 w 493"/>
                  <a:gd name="T27" fmla="*/ 475 h 489"/>
                  <a:gd name="T28" fmla="*/ 470 w 493"/>
                  <a:gd name="T29" fmla="*/ 475 h 489"/>
                  <a:gd name="T30" fmla="*/ 479 w 493"/>
                  <a:gd name="T31" fmla="*/ 466 h 489"/>
                  <a:gd name="T32" fmla="*/ 479 w 493"/>
                  <a:gd name="T33" fmla="*/ 414 h 489"/>
                  <a:gd name="T34" fmla="*/ 41 w 493"/>
                  <a:gd name="T35" fmla="*/ 197 h 489"/>
                  <a:gd name="T36" fmla="*/ 197 w 493"/>
                  <a:gd name="T37" fmla="*/ 41 h 489"/>
                  <a:gd name="T38" fmla="*/ 353 w 493"/>
                  <a:gd name="T39" fmla="*/ 197 h 489"/>
                  <a:gd name="T40" fmla="*/ 197 w 493"/>
                  <a:gd name="T41" fmla="*/ 353 h 489"/>
                  <a:gd name="T42" fmla="*/ 41 w 493"/>
                  <a:gd name="T43" fmla="*/ 19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3" h="489">
                    <a:moveTo>
                      <a:pt x="479" y="414"/>
                    </a:moveTo>
                    <a:cubicBezTo>
                      <a:pt x="374" y="309"/>
                      <a:pt x="374" y="309"/>
                      <a:pt x="374" y="309"/>
                    </a:cubicBezTo>
                    <a:cubicBezTo>
                      <a:pt x="358" y="310"/>
                      <a:pt x="358" y="310"/>
                      <a:pt x="358" y="310"/>
                    </a:cubicBezTo>
                    <a:cubicBezTo>
                      <a:pt x="358" y="310"/>
                      <a:pt x="361" y="306"/>
                      <a:pt x="364" y="300"/>
                    </a:cubicBezTo>
                    <a:cubicBezTo>
                      <a:pt x="364" y="300"/>
                      <a:pt x="364" y="300"/>
                      <a:pt x="364" y="300"/>
                    </a:cubicBezTo>
                    <a:cubicBezTo>
                      <a:pt x="383" y="270"/>
                      <a:pt x="394" y="235"/>
                      <a:pt x="394" y="197"/>
                    </a:cubicBezTo>
                    <a:cubicBezTo>
                      <a:pt x="394" y="88"/>
                      <a:pt x="306" y="0"/>
                      <a:pt x="197" y="0"/>
                    </a:cubicBezTo>
                    <a:cubicBezTo>
                      <a:pt x="88" y="0"/>
                      <a:pt x="0" y="88"/>
                      <a:pt x="0" y="197"/>
                    </a:cubicBezTo>
                    <a:cubicBezTo>
                      <a:pt x="0" y="305"/>
                      <a:pt x="88" y="394"/>
                      <a:pt x="197" y="394"/>
                    </a:cubicBezTo>
                    <a:cubicBezTo>
                      <a:pt x="237" y="394"/>
                      <a:pt x="274" y="382"/>
                      <a:pt x="305" y="361"/>
                    </a:cubicBezTo>
                    <a:cubicBezTo>
                      <a:pt x="305" y="361"/>
                      <a:pt x="305" y="361"/>
                      <a:pt x="305" y="361"/>
                    </a:cubicBezTo>
                    <a:cubicBezTo>
                      <a:pt x="311" y="358"/>
                      <a:pt x="314" y="355"/>
                      <a:pt x="314" y="355"/>
                    </a:cubicBezTo>
                    <a:cubicBezTo>
                      <a:pt x="314" y="371"/>
                      <a:pt x="314" y="371"/>
                      <a:pt x="314" y="371"/>
                    </a:cubicBezTo>
                    <a:cubicBezTo>
                      <a:pt x="419" y="475"/>
                      <a:pt x="419" y="475"/>
                      <a:pt x="419" y="475"/>
                    </a:cubicBezTo>
                    <a:cubicBezTo>
                      <a:pt x="433" y="489"/>
                      <a:pt x="456" y="489"/>
                      <a:pt x="470" y="475"/>
                    </a:cubicBezTo>
                    <a:cubicBezTo>
                      <a:pt x="479" y="466"/>
                      <a:pt x="479" y="466"/>
                      <a:pt x="479" y="466"/>
                    </a:cubicBezTo>
                    <a:cubicBezTo>
                      <a:pt x="493" y="451"/>
                      <a:pt x="493" y="428"/>
                      <a:pt x="479" y="414"/>
                    </a:cubicBezTo>
                    <a:close/>
                    <a:moveTo>
                      <a:pt x="41" y="197"/>
                    </a:moveTo>
                    <a:cubicBezTo>
                      <a:pt x="41" y="111"/>
                      <a:pt x="111" y="41"/>
                      <a:pt x="197" y="41"/>
                    </a:cubicBezTo>
                    <a:cubicBezTo>
                      <a:pt x="283" y="41"/>
                      <a:pt x="353" y="111"/>
                      <a:pt x="353" y="197"/>
                    </a:cubicBezTo>
                    <a:cubicBezTo>
                      <a:pt x="353" y="283"/>
                      <a:pt x="283" y="353"/>
                      <a:pt x="197" y="353"/>
                    </a:cubicBezTo>
                    <a:cubicBezTo>
                      <a:pt x="111" y="353"/>
                      <a:pt x="41" y="283"/>
                      <a:pt x="41"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kern="0">
                  <a:solidFill>
                    <a:sysClr val="windowText" lastClr="000000"/>
                  </a:solidFill>
                </a:endParaRPr>
              </a:p>
            </p:txBody>
          </p:sp>
        </p:grpSp>
      </p:grpSp>
      <p:pic>
        <p:nvPicPr>
          <p:cNvPr id="12" name="Picture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00210" y="3109615"/>
            <a:ext cx="4260204" cy="2102852"/>
          </a:xfrm>
          <a:prstGeom prst="rect">
            <a:avLst/>
          </a:prstGeom>
        </p:spPr>
      </p:pic>
      <p:pic>
        <p:nvPicPr>
          <p:cNvPr id="10" name="Picture 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78119" y="4699198"/>
            <a:ext cx="4178969" cy="2102852"/>
          </a:xfrm>
          <a:prstGeom prst="rect">
            <a:avLst/>
          </a:prstGeom>
        </p:spPr>
      </p:pic>
      <p:sp>
        <p:nvSpPr>
          <p:cNvPr id="30" name="Oval 29"/>
          <p:cNvSpPr/>
          <p:nvPr/>
        </p:nvSpPr>
        <p:spPr bwMode="auto">
          <a:xfrm>
            <a:off x="6838241" y="4209409"/>
            <a:ext cx="646349" cy="646349"/>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r>
              <a:rPr lang="en-US" sz="900" kern="0" dirty="0" err="1">
                <a:gradFill>
                  <a:gsLst>
                    <a:gs pos="0">
                      <a:srgbClr val="FFFFFF"/>
                    </a:gs>
                    <a:gs pos="100000">
                      <a:srgbClr val="FFFFFF"/>
                    </a:gs>
                  </a:gsLst>
                  <a:lin ang="5400000" scaled="0"/>
                </a:gradFill>
              </a:rPr>
              <a:t>ArcSight</a:t>
            </a:r>
            <a:endParaRPr lang="en-US" sz="900" kern="0" dirty="0">
              <a:gradFill>
                <a:gsLst>
                  <a:gs pos="0">
                    <a:srgbClr val="FFFFFF"/>
                  </a:gs>
                  <a:gs pos="100000">
                    <a:srgbClr val="FFFFFF"/>
                  </a:gs>
                </a:gsLst>
                <a:lin ang="5400000" scaled="0"/>
              </a:gradFill>
            </a:endParaRPr>
          </a:p>
        </p:txBody>
      </p:sp>
      <p:sp>
        <p:nvSpPr>
          <p:cNvPr id="32" name="Oval 31"/>
          <p:cNvSpPr/>
          <p:nvPr/>
        </p:nvSpPr>
        <p:spPr bwMode="auto">
          <a:xfrm>
            <a:off x="6838241" y="2764886"/>
            <a:ext cx="646349" cy="646349"/>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r>
              <a:rPr lang="en-US" sz="1050" kern="0" dirty="0" err="1">
                <a:gradFill>
                  <a:gsLst>
                    <a:gs pos="0">
                      <a:srgbClr val="FFFFFF"/>
                    </a:gs>
                    <a:gs pos="100000">
                      <a:srgbClr val="FFFFFF"/>
                    </a:gs>
                  </a:gsLst>
                  <a:lin ang="5400000" scaled="0"/>
                </a:gradFill>
              </a:rPr>
              <a:t>QRadar</a:t>
            </a:r>
            <a:endParaRPr lang="en-US" sz="1050" kern="0" dirty="0">
              <a:gradFill>
                <a:gsLst>
                  <a:gs pos="0">
                    <a:srgbClr val="FFFFFF"/>
                  </a:gs>
                  <a:gs pos="100000">
                    <a:srgbClr val="FFFFFF"/>
                  </a:gs>
                </a:gsLst>
                <a:lin ang="5400000" scaled="0"/>
              </a:gradFill>
            </a:endParaRPr>
          </a:p>
        </p:txBody>
      </p:sp>
      <p:sp>
        <p:nvSpPr>
          <p:cNvPr id="34" name="Oval 33"/>
          <p:cNvSpPr>
            <a:spLocks noChangeAspect="1"/>
          </p:cNvSpPr>
          <p:nvPr/>
        </p:nvSpPr>
        <p:spPr bwMode="auto">
          <a:xfrm>
            <a:off x="3178698" y="5633345"/>
            <a:ext cx="1036963" cy="109714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r>
              <a:rPr lang="en-US" sz="2000" kern="0" dirty="0">
                <a:gradFill>
                  <a:gsLst>
                    <a:gs pos="0">
                      <a:srgbClr val="FFFFFF"/>
                    </a:gs>
                    <a:gs pos="100000">
                      <a:srgbClr val="FFFFFF"/>
                    </a:gs>
                  </a:gsLst>
                  <a:lin ang="5400000" scaled="0"/>
                </a:gradFill>
              </a:rPr>
              <a:t>Azure AD</a:t>
            </a:r>
          </a:p>
        </p:txBody>
      </p:sp>
    </p:spTree>
    <p:extLst>
      <p:ext uri="{BB962C8B-B14F-4D97-AF65-F5344CB8AC3E}">
        <p14:creationId xmlns:p14="http://schemas.microsoft.com/office/powerpoint/2010/main" val="14411558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0" y="3655954"/>
            <a:ext cx="12434888" cy="333812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a:t>Information protection for cloud apps</a:t>
            </a:r>
            <a:endParaRPr lang="en-US" dirty="0"/>
          </a:p>
        </p:txBody>
      </p:sp>
      <p:sp>
        <p:nvSpPr>
          <p:cNvPr id="31" name="TextBox 30"/>
          <p:cNvSpPr txBox="1"/>
          <p:nvPr/>
        </p:nvSpPr>
        <p:spPr>
          <a:xfrm>
            <a:off x="8826701" y="3979488"/>
            <a:ext cx="3029543" cy="1591851"/>
          </a:xfrm>
          <a:prstGeom prst="rect">
            <a:avLst/>
          </a:prstGeom>
          <a:noFill/>
        </p:spPr>
        <p:txBody>
          <a:bodyPr wrap="square" lIns="182805" tIns="146243" rIns="182805" bIns="146243" rtlCol="0">
            <a:spAutoFit/>
          </a:bodyPr>
          <a:lstStyle/>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Identify policy violations</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Investigate incidents and related activities</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Quarantine and         permissions removal</a:t>
            </a:r>
          </a:p>
        </p:txBody>
      </p:sp>
      <p:sp>
        <p:nvSpPr>
          <p:cNvPr id="24" name="TextBox 23"/>
          <p:cNvSpPr txBox="1"/>
          <p:nvPr/>
        </p:nvSpPr>
        <p:spPr>
          <a:xfrm>
            <a:off x="9950767" y="1622924"/>
            <a:ext cx="2666660" cy="960055"/>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400" kern="0" dirty="0">
                <a:latin typeface="Segoe UI Light"/>
              </a:rPr>
              <a:t>Get alerts            and investigate</a:t>
            </a:r>
          </a:p>
        </p:txBody>
      </p:sp>
      <p:sp>
        <p:nvSpPr>
          <p:cNvPr id="25" name="TextBox 24"/>
          <p:cNvSpPr txBox="1"/>
          <p:nvPr/>
        </p:nvSpPr>
        <p:spPr>
          <a:xfrm>
            <a:off x="457787" y="3954404"/>
            <a:ext cx="3326113" cy="1591851"/>
          </a:xfrm>
          <a:prstGeom prst="rect">
            <a:avLst/>
          </a:prstGeom>
          <a:noFill/>
        </p:spPr>
        <p:txBody>
          <a:bodyPr wrap="square" lIns="110136" tIns="146243" rIns="110136" bIns="146243" rtlCol="0">
            <a:spAutoFit/>
          </a:bodyPr>
          <a:lstStyle/>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Visibility to sharing level and classification labels</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Quantify exposure and risk</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Detect and manage 3rd            apps access</a:t>
            </a:r>
          </a:p>
        </p:txBody>
      </p:sp>
      <p:sp>
        <p:nvSpPr>
          <p:cNvPr id="34" name="TextBox 33"/>
          <p:cNvSpPr txBox="1"/>
          <p:nvPr/>
        </p:nvSpPr>
        <p:spPr>
          <a:xfrm>
            <a:off x="1693085" y="1612496"/>
            <a:ext cx="2771983" cy="960055"/>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400" kern="0" dirty="0">
                <a:latin typeface="Segoe UI Light"/>
              </a:rPr>
              <a:t>Gain cloud       data visibility</a:t>
            </a:r>
          </a:p>
        </p:txBody>
      </p:sp>
      <p:sp>
        <p:nvSpPr>
          <p:cNvPr id="43" name="TextBox 42"/>
          <p:cNvSpPr txBox="1"/>
          <p:nvPr/>
        </p:nvSpPr>
        <p:spPr>
          <a:xfrm>
            <a:off x="5616738" y="1605922"/>
            <a:ext cx="2996103" cy="960055"/>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400" kern="0">
                <a:latin typeface="Segoe UI Light"/>
              </a:rPr>
              <a:t>Enforce DLP policies &amp; control sharing</a:t>
            </a:r>
            <a:endParaRPr lang="en-US" sz="2400" kern="0" dirty="0">
              <a:latin typeface="Segoe UI Light"/>
            </a:endParaRPr>
          </a:p>
        </p:txBody>
      </p:sp>
      <p:sp>
        <p:nvSpPr>
          <p:cNvPr id="44" name="TextBox 43"/>
          <p:cNvSpPr txBox="1"/>
          <p:nvPr/>
        </p:nvSpPr>
        <p:spPr>
          <a:xfrm>
            <a:off x="4465067" y="3979488"/>
            <a:ext cx="3646003" cy="1240216"/>
          </a:xfrm>
          <a:prstGeom prst="rect">
            <a:avLst/>
          </a:prstGeom>
          <a:noFill/>
        </p:spPr>
        <p:txBody>
          <a:bodyPr wrap="square" lIns="182805" tIns="146243" rIns="182805" bIns="146243" rtlCol="0">
            <a:spAutoFit/>
          </a:bodyPr>
          <a:lstStyle/>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Govern data in the cloud with granular DLP policies</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Leverage Microsoft and 3rd party DLP engines for classification</a:t>
            </a:r>
          </a:p>
        </p:txBody>
      </p:sp>
      <p:sp>
        <p:nvSpPr>
          <p:cNvPr id="4" name="Rectangle 3"/>
          <p:cNvSpPr/>
          <p:nvPr/>
        </p:nvSpPr>
        <p:spPr>
          <a:xfrm>
            <a:off x="4333039" y="3312620"/>
            <a:ext cx="242343" cy="369285"/>
          </a:xfrm>
          <a:prstGeom prst="rect">
            <a:avLst/>
          </a:prstGeom>
        </p:spPr>
        <p:txBody>
          <a:bodyPr wrap="none">
            <a:spAutoFit/>
          </a:bodyPr>
          <a:lstStyle/>
          <a:p>
            <a:pPr defTabSz="914309">
              <a:defRPr/>
            </a:pPr>
            <a:r>
              <a:rPr lang="en-US" kern="0" dirty="0">
                <a:solidFill>
                  <a:srgbClr val="000000"/>
                </a:solidFill>
                <a:latin typeface="Times" charset="0"/>
              </a:rPr>
              <a:t> </a:t>
            </a:r>
            <a:endParaRPr lang="en-US" kern="0" dirty="0">
              <a:solidFill>
                <a:sysClr val="windowText" lastClr="000000"/>
              </a:solidFill>
              <a:latin typeface="Segoe UI"/>
            </a:endParaRPr>
          </a:p>
        </p:txBody>
      </p:sp>
      <p:sp>
        <p:nvSpPr>
          <p:cNvPr id="6" name="Rectangle 5"/>
          <p:cNvSpPr/>
          <p:nvPr/>
        </p:nvSpPr>
        <p:spPr bwMode="auto">
          <a:xfrm>
            <a:off x="-1" y="6190086"/>
            <a:ext cx="12434888" cy="811928"/>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2040" kern="0" dirty="0">
              <a:gradFill>
                <a:gsLst>
                  <a:gs pos="0">
                    <a:srgbClr val="FFFFFF"/>
                  </a:gs>
                  <a:gs pos="100000">
                    <a:srgbClr val="FFFFFF"/>
                  </a:gs>
                </a:gsLst>
                <a:lin ang="5400000" scaled="0"/>
              </a:gradFill>
              <a:latin typeface="Segoe UI"/>
            </a:endParaRPr>
          </a:p>
        </p:txBody>
      </p:sp>
      <p:pic>
        <p:nvPicPr>
          <p:cNvPr id="29" name="Picture 28"/>
          <p:cNvPicPr>
            <a:picLocks noChangeAspect="1"/>
          </p:cNvPicPr>
          <p:nvPr/>
        </p:nvPicPr>
        <p:blipFill rotWithShape="1">
          <a:blip r:embed="rId3" cstate="screen">
            <a:extLst>
              <a:ext uri="{28A0092B-C50C-407E-A947-70E740481C1C}">
                <a14:useLocalDpi xmlns:a14="http://schemas.microsoft.com/office/drawing/2010/main"/>
              </a:ext>
            </a:extLst>
          </a:blip>
          <a:srcRect l="-13053" t="13514" r="-13053" b="13514"/>
          <a:stretch/>
        </p:blipFill>
        <p:spPr>
          <a:xfrm>
            <a:off x="383678" y="6190086"/>
            <a:ext cx="1444398" cy="811928"/>
          </a:xfrm>
          <a:prstGeom prst="rect">
            <a:avLst/>
          </a:prstGeom>
        </p:spPr>
      </p:pic>
      <p:cxnSp>
        <p:nvCxnSpPr>
          <p:cNvPr id="9" name="Straight Connector 8"/>
          <p:cNvCxnSpPr/>
          <p:nvPr/>
        </p:nvCxnSpPr>
        <p:spPr>
          <a:xfrm>
            <a:off x="4084116" y="4156589"/>
            <a:ext cx="0" cy="1550191"/>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426962" y="4156589"/>
            <a:ext cx="0" cy="1550191"/>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auto">
          <a:xfrm>
            <a:off x="436255" y="1515877"/>
            <a:ext cx="1190493" cy="1190493"/>
          </a:xfrm>
          <a:prstGeom prst="ellipse">
            <a:avLst/>
          </a:prstGeom>
          <a:noFill/>
          <a:ln w="38100" cap="flat" cmpd="sng" algn="ctr">
            <a:solidFill>
              <a:schemeClr val="tx2"/>
            </a:solidFill>
            <a:prstDash val="solid"/>
            <a:headEnd type="none" w="med" len="med"/>
            <a:tailEnd type="none" w="med" len="med"/>
          </a:ln>
          <a:effectLst/>
        </p:spPr>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37" name="Oval 36"/>
          <p:cNvSpPr/>
          <p:nvPr/>
        </p:nvSpPr>
        <p:spPr bwMode="auto">
          <a:xfrm>
            <a:off x="4389824" y="1483615"/>
            <a:ext cx="1190493" cy="1190493"/>
          </a:xfrm>
          <a:prstGeom prst="ellipse">
            <a:avLst/>
          </a:prstGeom>
          <a:noFill/>
          <a:ln w="38100" cap="flat" cmpd="sng" algn="ctr">
            <a:solidFill>
              <a:schemeClr val="tx2"/>
            </a:solidFill>
            <a:prstDash val="solid"/>
            <a:headEnd type="none" w="med" len="med"/>
            <a:tailEnd type="none" w="med" len="med"/>
          </a:ln>
          <a:effectLst/>
        </p:spPr>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cxnSp>
        <p:nvCxnSpPr>
          <p:cNvPr id="39" name="Straight Connector 38"/>
          <p:cNvCxnSpPr/>
          <p:nvPr/>
        </p:nvCxnSpPr>
        <p:spPr>
          <a:xfrm>
            <a:off x="9341245" y="2674108"/>
            <a:ext cx="0" cy="1305380"/>
          </a:xfrm>
          <a:prstGeom prst="line">
            <a:avLst/>
          </a:prstGeom>
          <a:noFill/>
          <a:ln w="38100" cap="flat" cmpd="sng" algn="ctr">
            <a:solidFill>
              <a:schemeClr val="tx2"/>
            </a:solidFill>
            <a:prstDash val="solid"/>
            <a:headEnd type="none" w="med" len="med"/>
            <a:tailEnd type="none" w="med" len="med"/>
          </a:ln>
          <a:effectLst/>
        </p:spPr>
      </p:cxnSp>
      <p:sp>
        <p:nvSpPr>
          <p:cNvPr id="40" name="Oval 39"/>
          <p:cNvSpPr/>
          <p:nvPr/>
        </p:nvSpPr>
        <p:spPr bwMode="auto">
          <a:xfrm>
            <a:off x="8751293" y="1483615"/>
            <a:ext cx="1190493" cy="1190493"/>
          </a:xfrm>
          <a:prstGeom prst="ellipse">
            <a:avLst/>
          </a:prstGeom>
          <a:noFill/>
          <a:ln w="38100" cap="flat" cmpd="sng" algn="ctr">
            <a:solidFill>
              <a:schemeClr val="tx2"/>
            </a:solidFill>
            <a:prstDash val="solid"/>
            <a:headEnd type="none" w="med" len="med"/>
            <a:tailEnd type="none" w="med" len="med"/>
          </a:ln>
          <a:effectLst/>
        </p:spPr>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cxnSp>
        <p:nvCxnSpPr>
          <p:cNvPr id="41" name="Straight Connector 40"/>
          <p:cNvCxnSpPr/>
          <p:nvPr/>
        </p:nvCxnSpPr>
        <p:spPr>
          <a:xfrm>
            <a:off x="4985069" y="2674108"/>
            <a:ext cx="0" cy="1305380"/>
          </a:xfrm>
          <a:prstGeom prst="line">
            <a:avLst/>
          </a:prstGeom>
          <a:noFill/>
          <a:ln w="38100" cap="flat" cmpd="sng" algn="ctr">
            <a:solidFill>
              <a:schemeClr val="tx2"/>
            </a:solidFill>
            <a:prstDash val="solid"/>
            <a:headEnd type="none" w="med" len="med"/>
            <a:tailEnd type="none" w="med" len="med"/>
          </a:ln>
          <a:effectLst/>
        </p:spPr>
      </p:cxnSp>
      <p:cxnSp>
        <p:nvCxnSpPr>
          <p:cNvPr id="42" name="Straight Connector 41"/>
          <p:cNvCxnSpPr/>
          <p:nvPr/>
        </p:nvCxnSpPr>
        <p:spPr>
          <a:xfrm>
            <a:off x="1018149" y="2706371"/>
            <a:ext cx="0" cy="1305380"/>
          </a:xfrm>
          <a:prstGeom prst="line">
            <a:avLst/>
          </a:prstGeom>
          <a:noFill/>
          <a:ln w="38100" cap="flat" cmpd="sng" algn="ctr">
            <a:solidFill>
              <a:schemeClr val="tx2"/>
            </a:solidFill>
            <a:prstDash val="solid"/>
            <a:headEnd type="none" w="med" len="med"/>
            <a:tailEnd type="none" w="med" len="med"/>
          </a:ln>
          <a:effectLst/>
        </p:spPr>
      </p:cxnSp>
      <p:grpSp>
        <p:nvGrpSpPr>
          <p:cNvPr id="30" name="Group 29"/>
          <p:cNvGrpSpPr/>
          <p:nvPr/>
        </p:nvGrpSpPr>
        <p:grpSpPr>
          <a:xfrm>
            <a:off x="645924" y="1742652"/>
            <a:ext cx="771153" cy="699742"/>
            <a:chOff x="1394835" y="2847529"/>
            <a:chExt cx="1434656" cy="1435896"/>
          </a:xfrm>
        </p:grpSpPr>
        <p:pic>
          <p:nvPicPr>
            <p:cNvPr id="32" name="Picture 3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94835" y="2847529"/>
              <a:ext cx="1434656" cy="1435896"/>
            </a:xfrm>
            <a:prstGeom prst="rect">
              <a:avLst/>
            </a:prstGeom>
          </p:spPr>
        </p:pic>
        <p:sp>
          <p:nvSpPr>
            <p:cNvPr id="36" name="Oval 35"/>
            <p:cNvSpPr/>
            <p:nvPr/>
          </p:nvSpPr>
          <p:spPr bwMode="auto">
            <a:xfrm>
              <a:off x="1861729" y="3351971"/>
              <a:ext cx="536024" cy="536024"/>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46" name="Picture 4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43044" y="3558209"/>
              <a:ext cx="377188" cy="177484"/>
            </a:xfrm>
            <a:prstGeom prst="rect">
              <a:avLst/>
            </a:prstGeom>
          </p:spPr>
        </p:pic>
      </p:grpSp>
      <p:grpSp>
        <p:nvGrpSpPr>
          <p:cNvPr id="47" name="Group 46"/>
          <p:cNvGrpSpPr/>
          <p:nvPr/>
        </p:nvGrpSpPr>
        <p:grpSpPr>
          <a:xfrm>
            <a:off x="4551631" y="1742653"/>
            <a:ext cx="808779" cy="798397"/>
            <a:chOff x="5150080" y="2804657"/>
            <a:chExt cx="1997560" cy="1910198"/>
          </a:xfrm>
        </p:grpSpPr>
        <p:grpSp>
          <p:nvGrpSpPr>
            <p:cNvPr id="48" name="Group 47"/>
            <p:cNvGrpSpPr/>
            <p:nvPr/>
          </p:nvGrpSpPr>
          <p:grpSpPr>
            <a:xfrm>
              <a:off x="5150080" y="2804657"/>
              <a:ext cx="1997560" cy="1347676"/>
              <a:chOff x="5242136" y="2804657"/>
              <a:chExt cx="1997560" cy="1347676"/>
            </a:xfrm>
          </p:grpSpPr>
          <p:pic>
            <p:nvPicPr>
              <p:cNvPr id="50" name="Picture 4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42136" y="2804657"/>
                <a:ext cx="1997560" cy="1347676"/>
              </a:xfrm>
              <a:prstGeom prst="rect">
                <a:avLst/>
              </a:prstGeom>
            </p:spPr>
          </p:pic>
          <p:grpSp>
            <p:nvGrpSpPr>
              <p:cNvPr id="51" name="Group 50"/>
              <p:cNvGrpSpPr/>
              <p:nvPr/>
            </p:nvGrpSpPr>
            <p:grpSpPr>
              <a:xfrm>
                <a:off x="5748789" y="3071191"/>
                <a:ext cx="979560" cy="600626"/>
                <a:chOff x="-1668373" y="4139273"/>
                <a:chExt cx="1463037" cy="897076"/>
              </a:xfrm>
            </p:grpSpPr>
            <p:pic>
              <p:nvPicPr>
                <p:cNvPr id="52" name="Picture 5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668373" y="4344424"/>
                  <a:ext cx="691925" cy="691925"/>
                </a:xfrm>
                <a:prstGeom prst="rect">
                  <a:avLst/>
                </a:prstGeom>
              </p:spPr>
            </p:pic>
            <p:grpSp>
              <p:nvGrpSpPr>
                <p:cNvPr id="53" name="Group 52"/>
                <p:cNvGrpSpPr/>
                <p:nvPr/>
              </p:nvGrpSpPr>
              <p:grpSpPr>
                <a:xfrm>
                  <a:off x="-748321" y="4601673"/>
                  <a:ext cx="542985" cy="351340"/>
                  <a:chOff x="5380358" y="3439881"/>
                  <a:chExt cx="774701" cy="510811"/>
                </a:xfrm>
              </p:grpSpPr>
              <p:sp>
                <p:nvSpPr>
                  <p:cNvPr id="59" name="Rectangle 19"/>
                  <p:cNvSpPr>
                    <a:spLocks noChangeArrowheads="1"/>
                  </p:cNvSpPr>
                  <p:nvPr/>
                </p:nvSpPr>
                <p:spPr bwMode="auto">
                  <a:xfrm>
                    <a:off x="5380358" y="3439882"/>
                    <a:ext cx="774699" cy="510806"/>
                  </a:xfrm>
                  <a:prstGeom prst="rect">
                    <a:avLst/>
                  </a:prstGeom>
                  <a:solidFill>
                    <a:schemeClr val="bg1">
                      <a:lumMod val="95000"/>
                    </a:schemeClr>
                  </a:solidFill>
                  <a:ln>
                    <a:noFill/>
                  </a:ln>
                </p:spPr>
                <p:txBody>
                  <a:bodyPr vert="horz" wrap="square" lIns="93235" tIns="46617" rIns="93235" bIns="46617" numCol="1" anchor="t" anchorCtr="0" compatLnSpc="1">
                    <a:prstTxWarp prst="textNoShape">
                      <a:avLst/>
                    </a:prstTxWarp>
                  </a:bodyPr>
                  <a:lstStyle/>
                  <a:p>
                    <a:pPr defTabSz="914309">
                      <a:defRPr/>
                    </a:pPr>
                    <a:endParaRPr lang="en-US" sz="1836" kern="0">
                      <a:solidFill>
                        <a:sysClr val="windowText" lastClr="000000"/>
                      </a:solidFill>
                      <a:latin typeface="Segoe UI"/>
                    </a:endParaRPr>
                  </a:p>
                </p:txBody>
              </p:sp>
              <p:sp>
                <p:nvSpPr>
                  <p:cNvPr id="60" name="Freeform 20"/>
                  <p:cNvSpPr>
                    <a:spLocks/>
                  </p:cNvSpPr>
                  <p:nvPr/>
                </p:nvSpPr>
                <p:spPr bwMode="auto">
                  <a:xfrm>
                    <a:off x="5380360" y="3622782"/>
                    <a:ext cx="774699" cy="327910"/>
                  </a:xfrm>
                  <a:custGeom>
                    <a:avLst/>
                    <a:gdLst>
                      <a:gd name="T0" fmla="*/ 296 w 593"/>
                      <a:gd name="T1" fmla="*/ 0 h 251"/>
                      <a:gd name="T2" fmla="*/ 0 w 593"/>
                      <a:gd name="T3" fmla="*/ 251 h 251"/>
                      <a:gd name="T4" fmla="*/ 593 w 593"/>
                      <a:gd name="T5" fmla="*/ 251 h 251"/>
                      <a:gd name="T6" fmla="*/ 296 w 593"/>
                      <a:gd name="T7" fmla="*/ 0 h 251"/>
                    </a:gdLst>
                    <a:ahLst/>
                    <a:cxnLst>
                      <a:cxn ang="0">
                        <a:pos x="T0" y="T1"/>
                      </a:cxn>
                      <a:cxn ang="0">
                        <a:pos x="T2" y="T3"/>
                      </a:cxn>
                      <a:cxn ang="0">
                        <a:pos x="T4" y="T5"/>
                      </a:cxn>
                      <a:cxn ang="0">
                        <a:pos x="T6" y="T7"/>
                      </a:cxn>
                    </a:cxnLst>
                    <a:rect l="0" t="0" r="r" b="b"/>
                    <a:pathLst>
                      <a:path w="593" h="251">
                        <a:moveTo>
                          <a:pt x="296" y="0"/>
                        </a:moveTo>
                        <a:lnTo>
                          <a:pt x="0" y="251"/>
                        </a:lnTo>
                        <a:lnTo>
                          <a:pt x="593" y="251"/>
                        </a:lnTo>
                        <a:lnTo>
                          <a:pt x="296" y="0"/>
                        </a:lnTo>
                        <a:close/>
                      </a:path>
                    </a:pathLst>
                  </a:custGeom>
                  <a:solidFill>
                    <a:schemeClr val="bg1">
                      <a:lumMod val="85000"/>
                    </a:schemeClr>
                  </a:solidFill>
                  <a:ln>
                    <a:noFill/>
                  </a:ln>
                </p:spPr>
                <p:txBody>
                  <a:bodyPr vert="horz" wrap="square" lIns="93235" tIns="46617" rIns="93235" bIns="46617" numCol="1" anchor="t" anchorCtr="0" compatLnSpc="1">
                    <a:prstTxWarp prst="textNoShape">
                      <a:avLst/>
                    </a:prstTxWarp>
                  </a:bodyPr>
                  <a:lstStyle/>
                  <a:p>
                    <a:pPr defTabSz="914309">
                      <a:defRPr/>
                    </a:pPr>
                    <a:endParaRPr lang="en-US" sz="1836" kern="0" dirty="0">
                      <a:solidFill>
                        <a:sysClr val="windowText" lastClr="000000"/>
                      </a:solidFill>
                      <a:latin typeface="Segoe UI"/>
                    </a:endParaRPr>
                  </a:p>
                </p:txBody>
              </p:sp>
              <p:sp>
                <p:nvSpPr>
                  <p:cNvPr id="61" name="Freeform 21"/>
                  <p:cNvSpPr>
                    <a:spLocks/>
                  </p:cNvSpPr>
                  <p:nvPr/>
                </p:nvSpPr>
                <p:spPr bwMode="auto">
                  <a:xfrm>
                    <a:off x="5380358" y="3439882"/>
                    <a:ext cx="774699" cy="386794"/>
                  </a:xfrm>
                  <a:custGeom>
                    <a:avLst/>
                    <a:gdLst>
                      <a:gd name="T0" fmla="*/ 296 w 593"/>
                      <a:gd name="T1" fmla="*/ 255 h 255"/>
                      <a:gd name="T2" fmla="*/ 0 w 593"/>
                      <a:gd name="T3" fmla="*/ 0 h 255"/>
                      <a:gd name="T4" fmla="*/ 593 w 593"/>
                      <a:gd name="T5" fmla="*/ 0 h 255"/>
                      <a:gd name="T6" fmla="*/ 296 w 593"/>
                      <a:gd name="T7" fmla="*/ 255 h 255"/>
                    </a:gdLst>
                    <a:ahLst/>
                    <a:cxnLst>
                      <a:cxn ang="0">
                        <a:pos x="T0" y="T1"/>
                      </a:cxn>
                      <a:cxn ang="0">
                        <a:pos x="T2" y="T3"/>
                      </a:cxn>
                      <a:cxn ang="0">
                        <a:pos x="T4" y="T5"/>
                      </a:cxn>
                      <a:cxn ang="0">
                        <a:pos x="T6" y="T7"/>
                      </a:cxn>
                    </a:cxnLst>
                    <a:rect l="0" t="0" r="r" b="b"/>
                    <a:pathLst>
                      <a:path w="593" h="255">
                        <a:moveTo>
                          <a:pt x="296" y="255"/>
                        </a:moveTo>
                        <a:lnTo>
                          <a:pt x="0" y="0"/>
                        </a:lnTo>
                        <a:lnTo>
                          <a:pt x="593" y="0"/>
                        </a:lnTo>
                        <a:lnTo>
                          <a:pt x="296" y="255"/>
                        </a:lnTo>
                        <a:close/>
                      </a:path>
                    </a:pathLst>
                  </a:custGeom>
                  <a:solidFill>
                    <a:schemeClr val="bg1">
                      <a:lumMod val="75000"/>
                    </a:schemeClr>
                  </a:solidFill>
                  <a:ln>
                    <a:noFill/>
                  </a:ln>
                </p:spPr>
                <p:txBody>
                  <a:bodyPr vert="horz" wrap="square" lIns="93235" tIns="46617" rIns="93235" bIns="46617" numCol="1" anchor="t" anchorCtr="0" compatLnSpc="1">
                    <a:prstTxWarp prst="textNoShape">
                      <a:avLst/>
                    </a:prstTxWarp>
                  </a:bodyPr>
                  <a:lstStyle/>
                  <a:p>
                    <a:pPr defTabSz="914309">
                      <a:defRPr/>
                    </a:pPr>
                    <a:endParaRPr lang="en-US" sz="1836" kern="0">
                      <a:ln>
                        <a:solidFill>
                          <a:sysClr val="windowText" lastClr="000000"/>
                        </a:solidFill>
                      </a:ln>
                      <a:solidFill>
                        <a:sysClr val="windowText" lastClr="000000"/>
                      </a:solidFill>
                      <a:latin typeface="Segoe UI"/>
                    </a:endParaRPr>
                  </a:p>
                </p:txBody>
              </p:sp>
              <p:sp>
                <p:nvSpPr>
                  <p:cNvPr id="62" name="Freeform 21"/>
                  <p:cNvSpPr>
                    <a:spLocks/>
                  </p:cNvSpPr>
                  <p:nvPr/>
                </p:nvSpPr>
                <p:spPr bwMode="auto">
                  <a:xfrm>
                    <a:off x="5380358" y="3439881"/>
                    <a:ext cx="774699" cy="315081"/>
                  </a:xfrm>
                  <a:custGeom>
                    <a:avLst/>
                    <a:gdLst>
                      <a:gd name="T0" fmla="*/ 296 w 593"/>
                      <a:gd name="T1" fmla="*/ 255 h 255"/>
                      <a:gd name="T2" fmla="*/ 0 w 593"/>
                      <a:gd name="T3" fmla="*/ 0 h 255"/>
                      <a:gd name="T4" fmla="*/ 593 w 593"/>
                      <a:gd name="T5" fmla="*/ 0 h 255"/>
                      <a:gd name="T6" fmla="*/ 296 w 593"/>
                      <a:gd name="T7" fmla="*/ 255 h 255"/>
                    </a:gdLst>
                    <a:ahLst/>
                    <a:cxnLst>
                      <a:cxn ang="0">
                        <a:pos x="T0" y="T1"/>
                      </a:cxn>
                      <a:cxn ang="0">
                        <a:pos x="T2" y="T3"/>
                      </a:cxn>
                      <a:cxn ang="0">
                        <a:pos x="T4" y="T5"/>
                      </a:cxn>
                      <a:cxn ang="0">
                        <a:pos x="T6" y="T7"/>
                      </a:cxn>
                    </a:cxnLst>
                    <a:rect l="0" t="0" r="r" b="b"/>
                    <a:pathLst>
                      <a:path w="593" h="255">
                        <a:moveTo>
                          <a:pt x="296" y="255"/>
                        </a:moveTo>
                        <a:lnTo>
                          <a:pt x="0" y="0"/>
                        </a:lnTo>
                        <a:lnTo>
                          <a:pt x="593" y="0"/>
                        </a:lnTo>
                        <a:lnTo>
                          <a:pt x="296" y="255"/>
                        </a:lnTo>
                        <a:close/>
                      </a:path>
                    </a:pathLst>
                  </a:custGeom>
                  <a:solidFill>
                    <a:schemeClr val="bg1">
                      <a:lumMod val="85000"/>
                    </a:schemeClr>
                  </a:solidFill>
                  <a:ln>
                    <a:noFill/>
                  </a:ln>
                </p:spPr>
                <p:txBody>
                  <a:bodyPr vert="horz" wrap="square" lIns="93235" tIns="46617" rIns="93235" bIns="46617" numCol="1" anchor="t" anchorCtr="0" compatLnSpc="1">
                    <a:prstTxWarp prst="textNoShape">
                      <a:avLst/>
                    </a:prstTxWarp>
                  </a:bodyPr>
                  <a:lstStyle/>
                  <a:p>
                    <a:pPr defTabSz="914309">
                      <a:defRPr/>
                    </a:pPr>
                    <a:endParaRPr lang="en-US" sz="1836" kern="0">
                      <a:solidFill>
                        <a:sysClr val="windowText" lastClr="000000"/>
                      </a:solidFill>
                      <a:latin typeface="Segoe UI"/>
                    </a:endParaRPr>
                  </a:p>
                </p:txBody>
              </p:sp>
            </p:grpSp>
            <p:grpSp>
              <p:nvGrpSpPr>
                <p:cNvPr id="54" name="Group 53"/>
                <p:cNvGrpSpPr/>
                <p:nvPr/>
              </p:nvGrpSpPr>
              <p:grpSpPr>
                <a:xfrm>
                  <a:off x="-1210611" y="4139273"/>
                  <a:ext cx="409465" cy="410301"/>
                  <a:chOff x="7866116" y="3280888"/>
                  <a:chExt cx="924253" cy="924253"/>
                </a:xfrm>
              </p:grpSpPr>
              <p:sp>
                <p:nvSpPr>
                  <p:cNvPr id="55" name="Freeform 30"/>
                  <p:cNvSpPr>
                    <a:spLocks/>
                  </p:cNvSpPr>
                  <p:nvPr/>
                </p:nvSpPr>
                <p:spPr bwMode="auto">
                  <a:xfrm>
                    <a:off x="8131188" y="3280888"/>
                    <a:ext cx="506435" cy="462127"/>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FFA537"/>
                  </a:solidFill>
                  <a:ln>
                    <a:noFill/>
                  </a:ln>
                </p:spPr>
                <p:txBody>
                  <a:bodyPr vert="horz" wrap="square" lIns="93235" tIns="46617" rIns="93235" bIns="46617" numCol="1" anchor="t" anchorCtr="0" compatLnSpc="1">
                    <a:prstTxWarp prst="textNoShape">
                      <a:avLst/>
                    </a:prstTxWarp>
                  </a:bodyPr>
                  <a:lstStyle/>
                  <a:p>
                    <a:pPr defTabSz="914309">
                      <a:defRPr/>
                    </a:pPr>
                    <a:endParaRPr lang="en-US" sz="1836" kern="0">
                      <a:solidFill>
                        <a:sysClr val="windowText" lastClr="000000"/>
                      </a:solidFill>
                      <a:latin typeface="Segoe UI"/>
                    </a:endParaRPr>
                  </a:p>
                </p:txBody>
              </p:sp>
              <p:sp>
                <p:nvSpPr>
                  <p:cNvPr id="56" name="Freeform 31"/>
                  <p:cNvSpPr>
                    <a:spLocks/>
                  </p:cNvSpPr>
                  <p:nvPr/>
                </p:nvSpPr>
                <p:spPr bwMode="auto">
                  <a:xfrm>
                    <a:off x="8328243" y="3400598"/>
                    <a:ext cx="427146" cy="342417"/>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DF3"/>
                  </a:solidFill>
                  <a:ln>
                    <a:noFill/>
                  </a:ln>
                </p:spPr>
                <p:txBody>
                  <a:bodyPr vert="horz" wrap="square" lIns="93235" tIns="46617" rIns="93235" bIns="46617" numCol="1" anchor="t" anchorCtr="0" compatLnSpc="1">
                    <a:prstTxWarp prst="textNoShape">
                      <a:avLst/>
                    </a:prstTxWarp>
                  </a:bodyPr>
                  <a:lstStyle/>
                  <a:p>
                    <a:pPr defTabSz="914309">
                      <a:defRPr/>
                    </a:pPr>
                    <a:endParaRPr lang="en-US" sz="1836" kern="0">
                      <a:solidFill>
                        <a:sysClr val="windowText" lastClr="000000"/>
                      </a:solidFill>
                      <a:latin typeface="Segoe UI"/>
                    </a:endParaRPr>
                  </a:p>
                </p:txBody>
              </p:sp>
              <p:sp>
                <p:nvSpPr>
                  <p:cNvPr id="57" name="Freeform 32"/>
                  <p:cNvSpPr>
                    <a:spLocks/>
                  </p:cNvSpPr>
                  <p:nvPr/>
                </p:nvSpPr>
                <p:spPr bwMode="auto">
                  <a:xfrm>
                    <a:off x="7866116" y="3324807"/>
                    <a:ext cx="462127" cy="742356"/>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BFBFB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14309">
                      <a:defRPr/>
                    </a:pPr>
                    <a:endParaRPr lang="en-US" sz="1836" kern="0">
                      <a:solidFill>
                        <a:sysClr val="windowText" lastClr="000000"/>
                      </a:solidFill>
                      <a:latin typeface="Segoe UI"/>
                    </a:endParaRPr>
                  </a:p>
                </p:txBody>
              </p:sp>
              <p:sp>
                <p:nvSpPr>
                  <p:cNvPr id="58" name="Freeform 33"/>
                  <p:cNvSpPr>
                    <a:spLocks/>
                  </p:cNvSpPr>
                  <p:nvPr/>
                </p:nvSpPr>
                <p:spPr bwMode="auto">
                  <a:xfrm>
                    <a:off x="7998652" y="3566948"/>
                    <a:ext cx="791717" cy="63819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8D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14309">
                      <a:defRPr/>
                    </a:pPr>
                    <a:endParaRPr lang="en-US" sz="1836" kern="0">
                      <a:solidFill>
                        <a:sysClr val="windowText" lastClr="000000"/>
                      </a:solidFill>
                      <a:latin typeface="Segoe UI"/>
                    </a:endParaRPr>
                  </a:p>
                </p:txBody>
              </p:sp>
            </p:grpSp>
          </p:grpSp>
        </p:grpSp>
        <p:pic>
          <p:nvPicPr>
            <p:cNvPr id="49" name="Picture 4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476521" y="3345903"/>
              <a:ext cx="1368952" cy="1368952"/>
            </a:xfrm>
            <a:prstGeom prst="rect">
              <a:avLst/>
            </a:prstGeom>
          </p:spPr>
        </p:pic>
      </p:grpSp>
      <p:pic>
        <p:nvPicPr>
          <p:cNvPr id="63" name="Picture 6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89204" y="1677900"/>
            <a:ext cx="704083" cy="771653"/>
          </a:xfrm>
          <a:prstGeom prst="rect">
            <a:avLst/>
          </a:prstGeom>
        </p:spPr>
      </p:pic>
      <p:sp>
        <p:nvSpPr>
          <p:cNvPr id="64" name="TextBox 63"/>
          <p:cNvSpPr txBox="1"/>
          <p:nvPr/>
        </p:nvSpPr>
        <p:spPr>
          <a:xfrm>
            <a:off x="1844336" y="6208036"/>
            <a:ext cx="1939565" cy="516941"/>
          </a:xfrm>
          <a:prstGeom prst="rect">
            <a:avLst/>
          </a:prstGeom>
          <a:noFill/>
        </p:spPr>
        <p:txBody>
          <a:bodyPr wrap="square" lIns="110136" tIns="146243" rIns="110136" bIns="146243" rtlCol="0">
            <a:spAutoFit/>
          </a:bodyPr>
          <a:lstStyle/>
          <a:p>
            <a:pPr defTabSz="932325">
              <a:lnSpc>
                <a:spcPct val="90000"/>
              </a:lnSpc>
              <a:spcAft>
                <a:spcPts val="600"/>
              </a:spcAft>
              <a:defRPr/>
            </a:pPr>
            <a:r>
              <a:rPr lang="en-US" sz="1600" b="1" kern="0" dirty="0">
                <a:solidFill>
                  <a:srgbClr val="FFFFFF"/>
                </a:solidFill>
              </a:rPr>
              <a:t>Integrates with</a:t>
            </a:r>
          </a:p>
        </p:txBody>
      </p:sp>
      <p:sp>
        <p:nvSpPr>
          <p:cNvPr id="65" name="TextBox 64"/>
          <p:cNvSpPr txBox="1"/>
          <p:nvPr/>
        </p:nvSpPr>
        <p:spPr>
          <a:xfrm>
            <a:off x="1768144" y="6452468"/>
            <a:ext cx="10300576" cy="572341"/>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000" kern="0" dirty="0">
                <a:solidFill>
                  <a:srgbClr val="FFFFFF"/>
                </a:solidFill>
                <a:latin typeface="Segoe UI Light"/>
              </a:rPr>
              <a:t>Azure Information Protection, Office 365 Information Protection, 3rd party DLP</a:t>
            </a:r>
          </a:p>
        </p:txBody>
      </p:sp>
    </p:spTree>
    <p:extLst>
      <p:ext uri="{BB962C8B-B14F-4D97-AF65-F5344CB8AC3E}">
        <p14:creationId xmlns:p14="http://schemas.microsoft.com/office/powerpoint/2010/main" val="2196777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up)">
                                      <p:cBhvr>
                                        <p:cTn id="7" dur="500"/>
                                        <p:tgtEl>
                                          <p:spTgt spid="3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up)">
                                      <p:cBhvr>
                                        <p:cTn id="10" dur="500"/>
                                        <p:tgtEl>
                                          <p:spTgt spid="37"/>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wipe(up)">
                                      <p:cBhvr>
                                        <p:cTn id="1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7" grpId="0" animBg="1"/>
      <p:bldP spid="40" grpId="0" animBg="1"/>
    </p:bldLst>
  </p:timing>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0" y="3655954"/>
            <a:ext cx="12434888" cy="333812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t>Threat detection</a:t>
            </a:r>
          </a:p>
        </p:txBody>
      </p:sp>
      <p:sp>
        <p:nvSpPr>
          <p:cNvPr id="31" name="TextBox 30"/>
          <p:cNvSpPr txBox="1"/>
          <p:nvPr/>
        </p:nvSpPr>
        <p:spPr>
          <a:xfrm>
            <a:off x="8826701" y="3954404"/>
            <a:ext cx="3418551" cy="1437963"/>
          </a:xfrm>
          <a:prstGeom prst="rect">
            <a:avLst/>
          </a:prstGeom>
          <a:noFill/>
        </p:spPr>
        <p:txBody>
          <a:bodyPr wrap="square" lIns="182805" tIns="146243" rIns="182805" bIns="146243" rtlCol="0">
            <a:spAutoFit/>
          </a:bodyPr>
          <a:lstStyle/>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Leverage Microsoft Intelligent Security Graph</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Unique insights, informed by trillions of signals across Microsoft’s customer base</a:t>
            </a:r>
          </a:p>
        </p:txBody>
      </p:sp>
      <p:sp>
        <p:nvSpPr>
          <p:cNvPr id="24" name="TextBox 23"/>
          <p:cNvSpPr txBox="1"/>
          <p:nvPr/>
        </p:nvSpPr>
        <p:spPr>
          <a:xfrm>
            <a:off x="9950767" y="1622924"/>
            <a:ext cx="2666660" cy="960055"/>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400" kern="0" dirty="0">
                <a:latin typeface="Segoe UI Light"/>
              </a:rPr>
              <a:t>Threat intelligence</a:t>
            </a:r>
          </a:p>
        </p:txBody>
      </p:sp>
      <p:sp>
        <p:nvSpPr>
          <p:cNvPr id="25" name="TextBox 24"/>
          <p:cNvSpPr txBox="1"/>
          <p:nvPr/>
        </p:nvSpPr>
        <p:spPr>
          <a:xfrm>
            <a:off x="457787" y="3954404"/>
            <a:ext cx="3326113" cy="1591851"/>
          </a:xfrm>
          <a:prstGeom prst="rect">
            <a:avLst/>
          </a:prstGeom>
          <a:noFill/>
        </p:spPr>
        <p:txBody>
          <a:bodyPr wrap="square" lIns="110136" tIns="146243" rIns="110136" bIns="146243" rtlCol="0">
            <a:spAutoFit/>
          </a:bodyPr>
          <a:lstStyle/>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Support sharing level and classification labels</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Quantify exposure and risk</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Detect and manage 3rd              apps access</a:t>
            </a:r>
          </a:p>
        </p:txBody>
      </p:sp>
      <p:sp>
        <p:nvSpPr>
          <p:cNvPr id="34" name="TextBox 33"/>
          <p:cNvSpPr txBox="1"/>
          <p:nvPr/>
        </p:nvSpPr>
        <p:spPr>
          <a:xfrm>
            <a:off x="1693085" y="1612496"/>
            <a:ext cx="2771983" cy="960055"/>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400" kern="0" dirty="0">
                <a:latin typeface="Segoe UI Light"/>
              </a:rPr>
              <a:t>Behavioral analytics</a:t>
            </a:r>
          </a:p>
        </p:txBody>
      </p:sp>
      <p:sp>
        <p:nvSpPr>
          <p:cNvPr id="43" name="TextBox 42"/>
          <p:cNvSpPr txBox="1"/>
          <p:nvPr/>
        </p:nvSpPr>
        <p:spPr>
          <a:xfrm>
            <a:off x="5616738" y="1605922"/>
            <a:ext cx="2996103" cy="960055"/>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400" kern="0">
                <a:latin typeface="Segoe UI Light"/>
              </a:rPr>
              <a:t>Advanced investigation</a:t>
            </a:r>
            <a:endParaRPr lang="en-US" sz="2400" kern="0" dirty="0">
              <a:latin typeface="Segoe UI Light"/>
            </a:endParaRPr>
          </a:p>
        </p:txBody>
      </p:sp>
      <p:sp>
        <p:nvSpPr>
          <p:cNvPr id="44" name="TextBox 43"/>
          <p:cNvSpPr txBox="1"/>
          <p:nvPr/>
        </p:nvSpPr>
        <p:spPr>
          <a:xfrm>
            <a:off x="4465067" y="3954404"/>
            <a:ext cx="3813266" cy="1591851"/>
          </a:xfrm>
          <a:prstGeom prst="rect">
            <a:avLst/>
          </a:prstGeom>
          <a:noFill/>
        </p:spPr>
        <p:txBody>
          <a:bodyPr wrap="square" lIns="182805" tIns="146243" rIns="182805" bIns="146243" rtlCol="0">
            <a:spAutoFit/>
          </a:bodyPr>
          <a:lstStyle/>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Advanced incident investigation tools</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Pivot on users, file, activities, and locations</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Customize detections based on       your findings</a:t>
            </a:r>
          </a:p>
        </p:txBody>
      </p:sp>
      <p:sp>
        <p:nvSpPr>
          <p:cNvPr id="4" name="Rectangle 3"/>
          <p:cNvSpPr/>
          <p:nvPr/>
        </p:nvSpPr>
        <p:spPr>
          <a:xfrm>
            <a:off x="4333039" y="3312620"/>
            <a:ext cx="242343" cy="369285"/>
          </a:xfrm>
          <a:prstGeom prst="rect">
            <a:avLst/>
          </a:prstGeom>
        </p:spPr>
        <p:txBody>
          <a:bodyPr wrap="none">
            <a:spAutoFit/>
          </a:bodyPr>
          <a:lstStyle/>
          <a:p>
            <a:pPr defTabSz="914309">
              <a:defRPr/>
            </a:pPr>
            <a:r>
              <a:rPr lang="en-US" kern="0" dirty="0">
                <a:solidFill>
                  <a:srgbClr val="000000"/>
                </a:solidFill>
                <a:latin typeface="Times" charset="0"/>
              </a:rPr>
              <a:t> </a:t>
            </a:r>
            <a:endParaRPr lang="en-US" kern="0" dirty="0">
              <a:solidFill>
                <a:sysClr val="windowText" lastClr="000000"/>
              </a:solidFill>
              <a:latin typeface="Segoe UI"/>
            </a:endParaRPr>
          </a:p>
        </p:txBody>
      </p:sp>
      <p:sp>
        <p:nvSpPr>
          <p:cNvPr id="6" name="Rectangle 5"/>
          <p:cNvSpPr/>
          <p:nvPr/>
        </p:nvSpPr>
        <p:spPr bwMode="auto">
          <a:xfrm>
            <a:off x="-1" y="6190086"/>
            <a:ext cx="12434888" cy="811928"/>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2040" kern="0" dirty="0">
              <a:gradFill>
                <a:gsLst>
                  <a:gs pos="0">
                    <a:srgbClr val="FFFFFF"/>
                  </a:gs>
                  <a:gs pos="100000">
                    <a:srgbClr val="FFFFFF"/>
                  </a:gs>
                </a:gsLst>
                <a:lin ang="5400000" scaled="0"/>
              </a:gradFill>
              <a:latin typeface="Segoe UI"/>
            </a:endParaRPr>
          </a:p>
        </p:txBody>
      </p:sp>
      <p:pic>
        <p:nvPicPr>
          <p:cNvPr id="29" name="Picture 28"/>
          <p:cNvPicPr>
            <a:picLocks noChangeAspect="1"/>
          </p:cNvPicPr>
          <p:nvPr/>
        </p:nvPicPr>
        <p:blipFill rotWithShape="1">
          <a:blip r:embed="rId3" cstate="screen">
            <a:extLst>
              <a:ext uri="{28A0092B-C50C-407E-A947-70E740481C1C}">
                <a14:useLocalDpi xmlns:a14="http://schemas.microsoft.com/office/drawing/2010/main"/>
              </a:ext>
            </a:extLst>
          </a:blip>
          <a:srcRect l="-13053" t="13514" r="-13053" b="13514"/>
          <a:stretch/>
        </p:blipFill>
        <p:spPr>
          <a:xfrm>
            <a:off x="383678" y="6190086"/>
            <a:ext cx="1444398" cy="811928"/>
          </a:xfrm>
          <a:prstGeom prst="rect">
            <a:avLst/>
          </a:prstGeom>
        </p:spPr>
      </p:pic>
      <p:cxnSp>
        <p:nvCxnSpPr>
          <p:cNvPr id="9" name="Straight Connector 8"/>
          <p:cNvCxnSpPr/>
          <p:nvPr/>
        </p:nvCxnSpPr>
        <p:spPr>
          <a:xfrm>
            <a:off x="4084116" y="4156589"/>
            <a:ext cx="0" cy="1550191"/>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426962" y="4156589"/>
            <a:ext cx="0" cy="1550191"/>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auto">
          <a:xfrm>
            <a:off x="436255" y="1515877"/>
            <a:ext cx="1190493" cy="1190493"/>
          </a:xfrm>
          <a:prstGeom prst="ellipse">
            <a:avLst/>
          </a:prstGeom>
          <a:noFill/>
          <a:ln w="38100" cap="flat" cmpd="sng" algn="ctr">
            <a:solidFill>
              <a:schemeClr val="tx2"/>
            </a:solidFill>
            <a:prstDash val="solid"/>
            <a:headEnd type="none" w="med" len="med"/>
            <a:tailEnd type="none" w="med" len="med"/>
          </a:ln>
          <a:effectLst/>
        </p:spPr>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37" name="Oval 36"/>
          <p:cNvSpPr/>
          <p:nvPr/>
        </p:nvSpPr>
        <p:spPr bwMode="auto">
          <a:xfrm>
            <a:off x="4389824" y="1483615"/>
            <a:ext cx="1190493" cy="1190493"/>
          </a:xfrm>
          <a:prstGeom prst="ellipse">
            <a:avLst/>
          </a:prstGeom>
          <a:noFill/>
          <a:ln w="38100" cap="flat" cmpd="sng" algn="ctr">
            <a:solidFill>
              <a:schemeClr val="tx2"/>
            </a:solidFill>
            <a:prstDash val="solid"/>
            <a:headEnd type="none" w="med" len="med"/>
            <a:tailEnd type="none" w="med" len="med"/>
          </a:ln>
          <a:effectLst/>
        </p:spPr>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cxnSp>
        <p:nvCxnSpPr>
          <p:cNvPr id="39" name="Straight Connector 38"/>
          <p:cNvCxnSpPr/>
          <p:nvPr/>
        </p:nvCxnSpPr>
        <p:spPr>
          <a:xfrm>
            <a:off x="9341245" y="2674108"/>
            <a:ext cx="0" cy="1305380"/>
          </a:xfrm>
          <a:prstGeom prst="line">
            <a:avLst/>
          </a:prstGeom>
          <a:noFill/>
          <a:ln w="38100" cap="flat" cmpd="sng" algn="ctr">
            <a:solidFill>
              <a:schemeClr val="tx2"/>
            </a:solidFill>
            <a:prstDash val="solid"/>
            <a:headEnd type="none" w="med" len="med"/>
            <a:tailEnd type="none" w="med" len="med"/>
          </a:ln>
          <a:effectLst/>
        </p:spPr>
      </p:cxnSp>
      <p:sp>
        <p:nvSpPr>
          <p:cNvPr id="40" name="Oval 39"/>
          <p:cNvSpPr/>
          <p:nvPr/>
        </p:nvSpPr>
        <p:spPr bwMode="auto">
          <a:xfrm>
            <a:off x="8751293" y="1483615"/>
            <a:ext cx="1190493" cy="1190493"/>
          </a:xfrm>
          <a:prstGeom prst="ellipse">
            <a:avLst/>
          </a:prstGeom>
          <a:noFill/>
          <a:ln w="38100" cap="flat" cmpd="sng" algn="ctr">
            <a:solidFill>
              <a:schemeClr val="tx2"/>
            </a:solidFill>
            <a:prstDash val="solid"/>
            <a:headEnd type="none" w="med" len="med"/>
            <a:tailEnd type="none" w="med" len="med"/>
          </a:ln>
          <a:effectLst/>
        </p:spPr>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cxnSp>
        <p:nvCxnSpPr>
          <p:cNvPr id="41" name="Straight Connector 40"/>
          <p:cNvCxnSpPr/>
          <p:nvPr/>
        </p:nvCxnSpPr>
        <p:spPr>
          <a:xfrm>
            <a:off x="4985069" y="2674108"/>
            <a:ext cx="0" cy="1305380"/>
          </a:xfrm>
          <a:prstGeom prst="line">
            <a:avLst/>
          </a:prstGeom>
          <a:noFill/>
          <a:ln w="38100" cap="flat" cmpd="sng" algn="ctr">
            <a:solidFill>
              <a:schemeClr val="tx2"/>
            </a:solidFill>
            <a:prstDash val="solid"/>
            <a:headEnd type="none" w="med" len="med"/>
            <a:tailEnd type="none" w="med" len="med"/>
          </a:ln>
          <a:effectLst/>
        </p:spPr>
      </p:cxnSp>
      <p:cxnSp>
        <p:nvCxnSpPr>
          <p:cNvPr id="42" name="Straight Connector 41"/>
          <p:cNvCxnSpPr/>
          <p:nvPr/>
        </p:nvCxnSpPr>
        <p:spPr>
          <a:xfrm>
            <a:off x="1018149" y="2706371"/>
            <a:ext cx="0" cy="1305380"/>
          </a:xfrm>
          <a:prstGeom prst="line">
            <a:avLst/>
          </a:prstGeom>
          <a:noFill/>
          <a:ln w="38100" cap="flat" cmpd="sng" algn="ctr">
            <a:solidFill>
              <a:schemeClr val="tx2"/>
            </a:solidFill>
            <a:prstDash val="solid"/>
            <a:headEnd type="none" w="med" len="med"/>
            <a:tailEnd type="none" w="med" len="med"/>
          </a:ln>
          <a:effectLst/>
        </p:spPr>
      </p:cxnSp>
      <p:pic>
        <p:nvPicPr>
          <p:cNvPr id="45" name="Picture 4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1396" y="1874156"/>
            <a:ext cx="823189" cy="477290"/>
          </a:xfrm>
          <a:prstGeom prst="rect">
            <a:avLst/>
          </a:prstGeom>
        </p:spPr>
      </p:pic>
      <p:pic>
        <p:nvPicPr>
          <p:cNvPr id="66" name="Picture 6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597944" y="1830532"/>
            <a:ext cx="770296" cy="478630"/>
          </a:xfrm>
          <a:prstGeom prst="rect">
            <a:avLst/>
          </a:prstGeom>
        </p:spPr>
      </p:pic>
      <p:pic>
        <p:nvPicPr>
          <p:cNvPr id="67" name="Picture 6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25657" y="1693242"/>
            <a:ext cx="631177" cy="775722"/>
          </a:xfrm>
          <a:prstGeom prst="rect">
            <a:avLst/>
          </a:prstGeom>
        </p:spPr>
      </p:pic>
      <p:sp>
        <p:nvSpPr>
          <p:cNvPr id="27" name="TextBox 26"/>
          <p:cNvSpPr txBox="1"/>
          <p:nvPr/>
        </p:nvSpPr>
        <p:spPr>
          <a:xfrm>
            <a:off x="1844336" y="6208036"/>
            <a:ext cx="1939565" cy="516941"/>
          </a:xfrm>
          <a:prstGeom prst="rect">
            <a:avLst/>
          </a:prstGeom>
          <a:noFill/>
        </p:spPr>
        <p:txBody>
          <a:bodyPr wrap="square" lIns="110136" tIns="146243" rIns="110136" bIns="146243" rtlCol="0">
            <a:spAutoFit/>
          </a:bodyPr>
          <a:lstStyle/>
          <a:p>
            <a:pPr defTabSz="932325">
              <a:lnSpc>
                <a:spcPct val="90000"/>
              </a:lnSpc>
              <a:spcAft>
                <a:spcPts val="600"/>
              </a:spcAft>
              <a:defRPr/>
            </a:pPr>
            <a:r>
              <a:rPr lang="en-US" sz="1600" b="1" kern="0" dirty="0">
                <a:solidFill>
                  <a:srgbClr val="FFFFFF"/>
                </a:solidFill>
              </a:rPr>
              <a:t>Integrates with</a:t>
            </a:r>
          </a:p>
        </p:txBody>
      </p:sp>
      <p:sp>
        <p:nvSpPr>
          <p:cNvPr id="30" name="TextBox 29"/>
          <p:cNvSpPr txBox="1"/>
          <p:nvPr/>
        </p:nvSpPr>
        <p:spPr>
          <a:xfrm>
            <a:off x="1768144" y="6452468"/>
            <a:ext cx="10300576" cy="572341"/>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000" kern="0" dirty="0">
                <a:solidFill>
                  <a:srgbClr val="FFFFFF"/>
                </a:solidFill>
                <a:latin typeface="Segoe UI Light"/>
              </a:rPr>
              <a:t>Microsoft Intelligent Security Graph, 3rd party SIEM</a:t>
            </a:r>
          </a:p>
        </p:txBody>
      </p:sp>
    </p:spTree>
    <p:extLst>
      <p:ext uri="{BB962C8B-B14F-4D97-AF65-F5344CB8AC3E}">
        <p14:creationId xmlns:p14="http://schemas.microsoft.com/office/powerpoint/2010/main" val="271532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up)">
                                      <p:cBhvr>
                                        <p:cTn id="7" dur="500"/>
                                        <p:tgtEl>
                                          <p:spTgt spid="3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up)">
                                      <p:cBhvr>
                                        <p:cTn id="10" dur="500"/>
                                        <p:tgtEl>
                                          <p:spTgt spid="37"/>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wipe(up)">
                                      <p:cBhvr>
                                        <p:cTn id="1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7" grpId="0" animBg="1"/>
      <p:bldP spid="40" grpId="0" animBg="1"/>
    </p:bld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0" y="3655954"/>
            <a:ext cx="12434888" cy="333812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t>In-session control</a:t>
            </a:r>
          </a:p>
        </p:txBody>
      </p:sp>
      <p:sp>
        <p:nvSpPr>
          <p:cNvPr id="25" name="TextBox 24"/>
          <p:cNvSpPr txBox="1"/>
          <p:nvPr/>
        </p:nvSpPr>
        <p:spPr>
          <a:xfrm>
            <a:off x="1954092" y="3954404"/>
            <a:ext cx="2900743" cy="1437963"/>
          </a:xfrm>
          <a:prstGeom prst="rect">
            <a:avLst/>
          </a:prstGeom>
          <a:noFill/>
        </p:spPr>
        <p:txBody>
          <a:bodyPr wrap="square" lIns="110136" tIns="146243" rIns="110136" bIns="146243" rtlCol="0">
            <a:spAutoFit/>
          </a:bodyPr>
          <a:lstStyle/>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Control access to cloud apps based on user, location, device, and app</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Supports any SSO, any SAML-based app, any OS</a:t>
            </a:r>
          </a:p>
        </p:txBody>
      </p:sp>
      <p:sp>
        <p:nvSpPr>
          <p:cNvPr id="34" name="TextBox 33"/>
          <p:cNvSpPr txBox="1"/>
          <p:nvPr/>
        </p:nvSpPr>
        <p:spPr>
          <a:xfrm>
            <a:off x="3096347" y="1605922"/>
            <a:ext cx="2771983" cy="960055"/>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400" kern="0" dirty="0">
                <a:latin typeface="Segoe UI Light"/>
              </a:rPr>
              <a:t>Context-aware session policies</a:t>
            </a:r>
          </a:p>
        </p:txBody>
      </p:sp>
      <p:sp>
        <p:nvSpPr>
          <p:cNvPr id="43" name="TextBox 42"/>
          <p:cNvSpPr txBox="1"/>
          <p:nvPr/>
        </p:nvSpPr>
        <p:spPr>
          <a:xfrm>
            <a:off x="8426962" y="1605922"/>
            <a:ext cx="2996103" cy="960055"/>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400" kern="0" dirty="0">
                <a:latin typeface="Segoe UI Light"/>
              </a:rPr>
              <a:t>Limit sessions of unmanaged devices</a:t>
            </a:r>
          </a:p>
        </p:txBody>
      </p:sp>
      <p:sp>
        <p:nvSpPr>
          <p:cNvPr id="44" name="TextBox 43"/>
          <p:cNvSpPr txBox="1"/>
          <p:nvPr/>
        </p:nvSpPr>
        <p:spPr>
          <a:xfrm>
            <a:off x="7275292" y="3954404"/>
            <a:ext cx="3646003" cy="1042470"/>
          </a:xfrm>
          <a:prstGeom prst="rect">
            <a:avLst/>
          </a:prstGeom>
          <a:noFill/>
        </p:spPr>
        <p:txBody>
          <a:bodyPr wrap="square" lIns="182805" tIns="146243" rIns="182805" bIns="146243" rtlCol="0">
            <a:spAutoFit/>
          </a:bodyPr>
          <a:lstStyle/>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Enforce browser-based “view only” mode for risky sessions</a:t>
            </a:r>
          </a:p>
          <a:p>
            <a:pPr marL="285750" indent="-285750" defTabSz="932325">
              <a:lnSpc>
                <a:spcPct val="90000"/>
              </a:lnSpc>
              <a:spcBef>
                <a:spcPts val="612"/>
              </a:spcBef>
              <a:spcAft>
                <a:spcPts val="600"/>
              </a:spcAft>
              <a:buFont typeface="Arial" panose="020B0604020202020204" pitchFamily="34" charset="0"/>
              <a:buChar char="•"/>
              <a:defRPr/>
            </a:pPr>
            <a:r>
              <a:rPr lang="en-US" sz="1430" dirty="0">
                <a:gradFill>
                  <a:gsLst>
                    <a:gs pos="1250">
                      <a:schemeClr val="tx1"/>
                    </a:gs>
                    <a:gs pos="100000">
                      <a:schemeClr val="tx1"/>
                    </a:gs>
                  </a:gsLst>
                  <a:lin ang="5400000" scaled="0"/>
                </a:gradFill>
              </a:rPr>
              <a:t>Limit access to sensitive data</a:t>
            </a:r>
          </a:p>
        </p:txBody>
      </p:sp>
      <p:sp>
        <p:nvSpPr>
          <p:cNvPr id="4" name="Rectangle 3"/>
          <p:cNvSpPr/>
          <p:nvPr/>
        </p:nvSpPr>
        <p:spPr>
          <a:xfrm>
            <a:off x="4333039" y="3312620"/>
            <a:ext cx="242343" cy="369285"/>
          </a:xfrm>
          <a:prstGeom prst="rect">
            <a:avLst/>
          </a:prstGeom>
        </p:spPr>
        <p:txBody>
          <a:bodyPr wrap="none">
            <a:spAutoFit/>
          </a:bodyPr>
          <a:lstStyle/>
          <a:p>
            <a:pPr defTabSz="914309">
              <a:defRPr/>
            </a:pPr>
            <a:r>
              <a:rPr lang="en-US" kern="0" dirty="0">
                <a:solidFill>
                  <a:srgbClr val="000000"/>
                </a:solidFill>
                <a:latin typeface="Times" charset="0"/>
              </a:rPr>
              <a:t> </a:t>
            </a:r>
            <a:endParaRPr lang="en-US" kern="0" dirty="0">
              <a:solidFill>
                <a:sysClr val="windowText" lastClr="000000"/>
              </a:solidFill>
              <a:latin typeface="Segoe UI"/>
            </a:endParaRPr>
          </a:p>
        </p:txBody>
      </p:sp>
      <p:sp>
        <p:nvSpPr>
          <p:cNvPr id="6" name="Rectangle 5"/>
          <p:cNvSpPr/>
          <p:nvPr/>
        </p:nvSpPr>
        <p:spPr bwMode="auto">
          <a:xfrm>
            <a:off x="-1" y="6190086"/>
            <a:ext cx="12434888" cy="811928"/>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2040" kern="0" dirty="0">
              <a:gradFill>
                <a:gsLst>
                  <a:gs pos="0">
                    <a:srgbClr val="FFFFFF"/>
                  </a:gs>
                  <a:gs pos="100000">
                    <a:srgbClr val="FFFFFF"/>
                  </a:gs>
                </a:gsLst>
                <a:lin ang="5400000" scaled="0"/>
              </a:gradFill>
              <a:latin typeface="Segoe UI"/>
            </a:endParaRPr>
          </a:p>
        </p:txBody>
      </p:sp>
      <p:pic>
        <p:nvPicPr>
          <p:cNvPr id="29" name="Picture 28"/>
          <p:cNvPicPr>
            <a:picLocks noChangeAspect="1"/>
          </p:cNvPicPr>
          <p:nvPr/>
        </p:nvPicPr>
        <p:blipFill rotWithShape="1">
          <a:blip r:embed="rId3" cstate="screen">
            <a:extLst>
              <a:ext uri="{28A0092B-C50C-407E-A947-70E740481C1C}">
                <a14:useLocalDpi xmlns:a14="http://schemas.microsoft.com/office/drawing/2010/main"/>
              </a:ext>
            </a:extLst>
          </a:blip>
          <a:srcRect l="-13053" t="13514" r="-13053" b="13514"/>
          <a:stretch/>
        </p:blipFill>
        <p:spPr>
          <a:xfrm>
            <a:off x="383678" y="6190086"/>
            <a:ext cx="1444398" cy="811928"/>
          </a:xfrm>
          <a:prstGeom prst="rect">
            <a:avLst/>
          </a:prstGeom>
        </p:spPr>
      </p:pic>
      <p:cxnSp>
        <p:nvCxnSpPr>
          <p:cNvPr id="9" name="Straight Connector 8"/>
          <p:cNvCxnSpPr/>
          <p:nvPr/>
        </p:nvCxnSpPr>
        <p:spPr>
          <a:xfrm>
            <a:off x="6065063" y="4156589"/>
            <a:ext cx="0" cy="1550191"/>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auto">
          <a:xfrm>
            <a:off x="1932560" y="1515877"/>
            <a:ext cx="1190493" cy="1190493"/>
          </a:xfrm>
          <a:prstGeom prst="ellipse">
            <a:avLst/>
          </a:prstGeom>
          <a:noFill/>
          <a:ln w="38100" cap="flat" cmpd="sng" algn="ctr">
            <a:solidFill>
              <a:schemeClr val="tx2"/>
            </a:solidFill>
            <a:prstDash val="solid"/>
            <a:headEnd type="none" w="med" len="med"/>
            <a:tailEnd type="none" w="med" len="med"/>
          </a:ln>
          <a:effectLst/>
        </p:spPr>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37" name="Oval 36"/>
          <p:cNvSpPr/>
          <p:nvPr/>
        </p:nvSpPr>
        <p:spPr bwMode="auto">
          <a:xfrm>
            <a:off x="7200048" y="1483615"/>
            <a:ext cx="1190493" cy="1190493"/>
          </a:xfrm>
          <a:prstGeom prst="ellipse">
            <a:avLst/>
          </a:prstGeom>
          <a:noFill/>
          <a:ln w="38100" cap="flat" cmpd="sng" algn="ctr">
            <a:solidFill>
              <a:schemeClr val="tx2"/>
            </a:solidFill>
            <a:prstDash val="solid"/>
            <a:headEnd type="none" w="med" len="med"/>
            <a:tailEnd type="none" w="med" len="med"/>
          </a:ln>
          <a:effectLst/>
        </p:spPr>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cxnSp>
        <p:nvCxnSpPr>
          <p:cNvPr id="41" name="Straight Connector 40"/>
          <p:cNvCxnSpPr/>
          <p:nvPr/>
        </p:nvCxnSpPr>
        <p:spPr>
          <a:xfrm>
            <a:off x="7795294" y="2674108"/>
            <a:ext cx="0" cy="1305380"/>
          </a:xfrm>
          <a:prstGeom prst="line">
            <a:avLst/>
          </a:prstGeom>
          <a:noFill/>
          <a:ln w="38100" cap="flat" cmpd="sng" algn="ctr">
            <a:solidFill>
              <a:schemeClr val="tx2"/>
            </a:solidFill>
            <a:prstDash val="solid"/>
            <a:headEnd type="none" w="med" len="med"/>
            <a:tailEnd type="none" w="med" len="med"/>
          </a:ln>
          <a:effectLst/>
        </p:spPr>
      </p:cxnSp>
      <p:cxnSp>
        <p:nvCxnSpPr>
          <p:cNvPr id="42" name="Straight Connector 41"/>
          <p:cNvCxnSpPr/>
          <p:nvPr/>
        </p:nvCxnSpPr>
        <p:spPr>
          <a:xfrm>
            <a:off x="2514454" y="2706371"/>
            <a:ext cx="0" cy="1305380"/>
          </a:xfrm>
          <a:prstGeom prst="line">
            <a:avLst/>
          </a:prstGeom>
          <a:noFill/>
          <a:ln w="38100" cap="flat" cmpd="sng" algn="ctr">
            <a:solidFill>
              <a:schemeClr val="tx2"/>
            </a:solidFill>
            <a:prstDash val="solid"/>
            <a:headEnd type="none" w="med" len="med"/>
            <a:tailEnd type="none" w="med" len="med"/>
          </a:ln>
          <a:effectLst/>
        </p:spPr>
      </p:cxnSp>
      <p:pic>
        <p:nvPicPr>
          <p:cNvPr id="27" name="Picture 2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7240" y="1799267"/>
            <a:ext cx="594427" cy="602461"/>
          </a:xfrm>
          <a:prstGeom prst="rect">
            <a:avLst/>
          </a:prstGeom>
        </p:spPr>
      </p:pic>
      <p:pic>
        <p:nvPicPr>
          <p:cNvPr id="30" name="Picture 2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54622" y="1873509"/>
            <a:ext cx="881344" cy="410702"/>
          </a:xfrm>
          <a:prstGeom prst="rect">
            <a:avLst/>
          </a:prstGeom>
        </p:spPr>
      </p:pic>
      <p:sp>
        <p:nvSpPr>
          <p:cNvPr id="20" name="Rectangle 19"/>
          <p:cNvSpPr/>
          <p:nvPr/>
        </p:nvSpPr>
        <p:spPr bwMode="auto">
          <a:xfrm>
            <a:off x="9643664" y="372497"/>
            <a:ext cx="2821383" cy="6478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r>
              <a:rPr lang="en-US" sz="2800" kern="0" dirty="0">
                <a:gradFill>
                  <a:gsLst>
                    <a:gs pos="5439">
                      <a:srgbClr val="F8F8F8"/>
                    </a:gs>
                    <a:gs pos="10000">
                      <a:srgbClr val="F8F8F8"/>
                    </a:gs>
                  </a:gsLst>
                  <a:lin ang="5400000" scaled="0"/>
                </a:gradFill>
                <a:latin typeface="Segoe UI"/>
              </a:rPr>
              <a:t>Coming soon!</a:t>
            </a:r>
          </a:p>
        </p:txBody>
      </p:sp>
      <p:sp>
        <p:nvSpPr>
          <p:cNvPr id="21" name="TextBox 20"/>
          <p:cNvSpPr txBox="1"/>
          <p:nvPr/>
        </p:nvSpPr>
        <p:spPr>
          <a:xfrm>
            <a:off x="1844336" y="6208036"/>
            <a:ext cx="1939565" cy="516941"/>
          </a:xfrm>
          <a:prstGeom prst="rect">
            <a:avLst/>
          </a:prstGeom>
          <a:noFill/>
        </p:spPr>
        <p:txBody>
          <a:bodyPr wrap="square" lIns="110136" tIns="146243" rIns="110136" bIns="146243" rtlCol="0">
            <a:spAutoFit/>
          </a:bodyPr>
          <a:lstStyle/>
          <a:p>
            <a:pPr defTabSz="932325">
              <a:lnSpc>
                <a:spcPct val="90000"/>
              </a:lnSpc>
              <a:spcAft>
                <a:spcPts val="600"/>
              </a:spcAft>
              <a:defRPr/>
            </a:pPr>
            <a:r>
              <a:rPr lang="en-US" sz="1600" b="1" kern="0" dirty="0">
                <a:solidFill>
                  <a:srgbClr val="FFFFFF"/>
                </a:solidFill>
              </a:rPr>
              <a:t>Integrates with</a:t>
            </a:r>
          </a:p>
        </p:txBody>
      </p:sp>
      <p:sp>
        <p:nvSpPr>
          <p:cNvPr id="22" name="TextBox 21"/>
          <p:cNvSpPr txBox="1"/>
          <p:nvPr/>
        </p:nvSpPr>
        <p:spPr>
          <a:xfrm>
            <a:off x="1768144" y="6452468"/>
            <a:ext cx="10300576" cy="572341"/>
          </a:xfrm>
          <a:prstGeom prst="rect">
            <a:avLst/>
          </a:prstGeom>
          <a:noFill/>
        </p:spPr>
        <p:txBody>
          <a:bodyPr wrap="square" lIns="182805" tIns="146243" rIns="182805" bIns="146243" rtlCol="0">
            <a:spAutoFit/>
          </a:bodyPr>
          <a:lstStyle/>
          <a:p>
            <a:pPr defTabSz="932325">
              <a:lnSpc>
                <a:spcPct val="90000"/>
              </a:lnSpc>
              <a:spcAft>
                <a:spcPts val="600"/>
              </a:spcAft>
              <a:defRPr/>
            </a:pPr>
            <a:r>
              <a:rPr lang="en-US" sz="2000" kern="0" dirty="0">
                <a:solidFill>
                  <a:srgbClr val="FFFFFF"/>
                </a:solidFill>
                <a:latin typeface="Segoe UI Light"/>
              </a:rPr>
              <a:t>Azure Active Directory, Device Registration Service</a:t>
            </a:r>
          </a:p>
        </p:txBody>
      </p:sp>
    </p:spTree>
    <p:extLst>
      <p:ext uri="{BB962C8B-B14F-4D97-AF65-F5344CB8AC3E}">
        <p14:creationId xmlns:p14="http://schemas.microsoft.com/office/powerpoint/2010/main" val="2206271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up)">
                                      <p:cBhvr>
                                        <p:cTn id="7" dur="500"/>
                                        <p:tgtEl>
                                          <p:spTgt spid="3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up)">
                                      <p:cBhvr>
                                        <p:cTn id="10"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7" grpId="0" animBg="1"/>
    </p:bldLst>
  </p:timing>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6169" y="295278"/>
            <a:ext cx="12067838" cy="917575"/>
          </a:xfrm>
        </p:spPr>
        <p:txBody>
          <a:bodyPr/>
          <a:lstStyle/>
          <a:p>
            <a:r>
              <a:rPr lang="en-US" dirty="0"/>
              <a:t>Complete framework to secure your cloud apps</a:t>
            </a:r>
          </a:p>
        </p:txBody>
      </p:sp>
      <p:sp>
        <p:nvSpPr>
          <p:cNvPr id="15" name="TextBox 14"/>
          <p:cNvSpPr txBox="1"/>
          <p:nvPr/>
        </p:nvSpPr>
        <p:spPr>
          <a:xfrm>
            <a:off x="-66545" y="3072399"/>
            <a:ext cx="3150320" cy="1217491"/>
          </a:xfrm>
          <a:prstGeom prst="rect">
            <a:avLst/>
          </a:prstGeom>
          <a:noFill/>
        </p:spPr>
        <p:txBody>
          <a:bodyPr wrap="square" lIns="182831" tIns="146264" rIns="182831" bIns="146264" rtlCol="0">
            <a:spAutoFit/>
          </a:bodyPr>
          <a:lstStyle/>
          <a:p>
            <a:pPr algn="ctr" defTabSz="914309">
              <a:lnSpc>
                <a:spcPct val="90000"/>
              </a:lnSpc>
              <a:spcAft>
                <a:spcPts val="600"/>
              </a:spcAft>
              <a:defRPr/>
            </a:pPr>
            <a:r>
              <a:rPr lang="en-US" sz="3264" kern="0" dirty="0">
                <a:solidFill>
                  <a:srgbClr val="0078D7"/>
                </a:solidFill>
                <a:latin typeface="Segoe UI Light"/>
              </a:rPr>
              <a:t>Cloud</a:t>
            </a:r>
            <a:br>
              <a:rPr lang="en-US" sz="3264" kern="0" dirty="0">
                <a:solidFill>
                  <a:srgbClr val="0078D7"/>
                </a:solidFill>
                <a:latin typeface="Segoe UI Light"/>
              </a:rPr>
            </a:br>
            <a:r>
              <a:rPr lang="en-US" sz="3264" kern="0" dirty="0">
                <a:solidFill>
                  <a:srgbClr val="0078D7"/>
                </a:solidFill>
                <a:latin typeface="Segoe UI Light"/>
              </a:rPr>
              <a:t>discovery</a:t>
            </a:r>
          </a:p>
        </p:txBody>
      </p:sp>
      <p:sp>
        <p:nvSpPr>
          <p:cNvPr id="12" name="TextBox 11"/>
          <p:cNvSpPr txBox="1"/>
          <p:nvPr/>
        </p:nvSpPr>
        <p:spPr>
          <a:xfrm>
            <a:off x="311710" y="4196587"/>
            <a:ext cx="2648349" cy="743557"/>
          </a:xfrm>
          <a:prstGeom prst="rect">
            <a:avLst/>
          </a:prstGeom>
          <a:noFill/>
        </p:spPr>
        <p:txBody>
          <a:bodyPr wrap="square" lIns="182831" tIns="146264" rIns="182831" bIns="146264" rtlCol="0">
            <a:spAutoFit/>
          </a:bodyPr>
          <a:lstStyle/>
          <a:p>
            <a:pPr algn="ctr" defTabSz="932325">
              <a:spcBef>
                <a:spcPts val="612"/>
              </a:spcBef>
              <a:spcAft>
                <a:spcPts val="600"/>
              </a:spcAft>
              <a:defRPr/>
            </a:pPr>
            <a:r>
              <a:rPr lang="en-US" sz="1428" kern="0" dirty="0">
                <a:solidFill>
                  <a:srgbClr val="505050"/>
                </a:solidFill>
                <a:latin typeface="Segoe UI"/>
                <a:ea typeface="Segoe UI" charset="0"/>
                <a:cs typeface="Segoe UI" charset="0"/>
              </a:rPr>
              <a:t>Discover all cloud usage in your organization</a:t>
            </a:r>
          </a:p>
        </p:txBody>
      </p:sp>
      <p:sp>
        <p:nvSpPr>
          <p:cNvPr id="20" name="TextBox 19"/>
          <p:cNvSpPr txBox="1"/>
          <p:nvPr/>
        </p:nvSpPr>
        <p:spPr>
          <a:xfrm>
            <a:off x="2666342" y="3072399"/>
            <a:ext cx="3314273" cy="1217491"/>
          </a:xfrm>
          <a:prstGeom prst="rect">
            <a:avLst/>
          </a:prstGeom>
          <a:noFill/>
        </p:spPr>
        <p:txBody>
          <a:bodyPr wrap="square" lIns="182831" tIns="146264" rIns="182831" bIns="146264" rtlCol="0">
            <a:spAutoFit/>
          </a:bodyPr>
          <a:lstStyle/>
          <a:p>
            <a:pPr algn="ctr" defTabSz="914309">
              <a:lnSpc>
                <a:spcPct val="90000"/>
              </a:lnSpc>
              <a:spcAft>
                <a:spcPts val="600"/>
              </a:spcAft>
              <a:defRPr/>
            </a:pPr>
            <a:r>
              <a:rPr lang="en-US" sz="3264" kern="0" dirty="0">
                <a:solidFill>
                  <a:srgbClr val="0078D7"/>
                </a:solidFill>
                <a:latin typeface="Segoe UI Light"/>
              </a:rPr>
              <a:t>Information</a:t>
            </a:r>
            <a:br>
              <a:rPr lang="en-US" sz="3264" kern="0" dirty="0">
                <a:solidFill>
                  <a:srgbClr val="0078D7"/>
                </a:solidFill>
                <a:latin typeface="Segoe UI Light"/>
              </a:rPr>
            </a:br>
            <a:r>
              <a:rPr lang="en-US" sz="3264" kern="0" dirty="0">
                <a:solidFill>
                  <a:srgbClr val="0078D7"/>
                </a:solidFill>
                <a:latin typeface="Segoe UI Light"/>
              </a:rPr>
              <a:t>protection</a:t>
            </a:r>
          </a:p>
        </p:txBody>
      </p:sp>
      <p:sp>
        <p:nvSpPr>
          <p:cNvPr id="13" name="TextBox 12"/>
          <p:cNvSpPr txBox="1"/>
          <p:nvPr/>
        </p:nvSpPr>
        <p:spPr>
          <a:xfrm>
            <a:off x="2953750" y="4196587"/>
            <a:ext cx="2795698" cy="743557"/>
          </a:xfrm>
          <a:prstGeom prst="rect">
            <a:avLst/>
          </a:prstGeom>
          <a:noFill/>
        </p:spPr>
        <p:txBody>
          <a:bodyPr wrap="square" lIns="182831" tIns="146264" rIns="182831" bIns="146264" rtlCol="0">
            <a:spAutoFit/>
          </a:bodyPr>
          <a:lstStyle/>
          <a:p>
            <a:pPr algn="ctr" defTabSz="932325">
              <a:spcBef>
                <a:spcPts val="612"/>
              </a:spcBef>
              <a:spcAft>
                <a:spcPts val="600"/>
              </a:spcAft>
              <a:defRPr/>
            </a:pPr>
            <a:r>
              <a:rPr lang="en-US" sz="1428" kern="0" dirty="0">
                <a:solidFill>
                  <a:srgbClr val="505050"/>
                </a:solidFill>
                <a:latin typeface="Segoe UI"/>
                <a:ea typeface="Segoe UI" charset="0"/>
                <a:cs typeface="Segoe UI" charset="0"/>
              </a:rPr>
              <a:t>Monitor and control your data in the cloud</a:t>
            </a:r>
          </a:p>
        </p:txBody>
      </p:sp>
      <p:sp>
        <p:nvSpPr>
          <p:cNvPr id="24" name="TextBox 23"/>
          <p:cNvSpPr txBox="1"/>
          <p:nvPr/>
        </p:nvSpPr>
        <p:spPr>
          <a:xfrm>
            <a:off x="5563182" y="3072400"/>
            <a:ext cx="3751078" cy="1217448"/>
          </a:xfrm>
          <a:prstGeom prst="rect">
            <a:avLst/>
          </a:prstGeom>
          <a:noFill/>
        </p:spPr>
        <p:txBody>
          <a:bodyPr wrap="square" lIns="182805" tIns="146243" rIns="182805" bIns="146243" rtlCol="0">
            <a:spAutoFit/>
          </a:bodyPr>
          <a:lstStyle/>
          <a:p>
            <a:pPr algn="ctr" defTabSz="932325">
              <a:lnSpc>
                <a:spcPct val="90000"/>
              </a:lnSpc>
              <a:spcAft>
                <a:spcPts val="600"/>
              </a:spcAft>
              <a:defRPr/>
            </a:pPr>
            <a:r>
              <a:rPr lang="en-US" sz="3264" kern="0" dirty="0">
                <a:solidFill>
                  <a:srgbClr val="0078D7"/>
                </a:solidFill>
                <a:latin typeface="Segoe UI Light"/>
              </a:rPr>
              <a:t>Threat </a:t>
            </a:r>
            <a:br>
              <a:rPr lang="en-US" sz="3264" kern="0" dirty="0">
                <a:solidFill>
                  <a:srgbClr val="0078D7"/>
                </a:solidFill>
                <a:latin typeface="Segoe UI Light"/>
              </a:rPr>
            </a:br>
            <a:r>
              <a:rPr lang="en-US" sz="3264" kern="0" dirty="0">
                <a:solidFill>
                  <a:srgbClr val="0078D7"/>
                </a:solidFill>
                <a:latin typeface="Segoe UI Light"/>
              </a:rPr>
              <a:t>prevention</a:t>
            </a:r>
          </a:p>
        </p:txBody>
      </p:sp>
      <p:sp>
        <p:nvSpPr>
          <p:cNvPr id="25" name="TextBox 24"/>
          <p:cNvSpPr txBox="1"/>
          <p:nvPr/>
        </p:nvSpPr>
        <p:spPr>
          <a:xfrm>
            <a:off x="6158542" y="4196587"/>
            <a:ext cx="2700942" cy="743513"/>
          </a:xfrm>
          <a:prstGeom prst="rect">
            <a:avLst/>
          </a:prstGeom>
          <a:noFill/>
        </p:spPr>
        <p:txBody>
          <a:bodyPr wrap="square" lIns="182805" tIns="146243" rIns="182805" bIns="146243" rtlCol="0">
            <a:spAutoFit/>
          </a:bodyPr>
          <a:lstStyle/>
          <a:p>
            <a:pPr algn="ctr" defTabSz="932325">
              <a:spcBef>
                <a:spcPts val="612"/>
              </a:spcBef>
              <a:spcAft>
                <a:spcPts val="600"/>
              </a:spcAft>
              <a:defRPr/>
            </a:pPr>
            <a:r>
              <a:rPr lang="en-US" sz="1428" kern="0" dirty="0">
                <a:solidFill>
                  <a:srgbClr val="505050"/>
                </a:solidFill>
                <a:latin typeface="Segoe UI"/>
                <a:ea typeface="Segoe UI" charset="0"/>
                <a:cs typeface="Segoe UI" charset="0"/>
              </a:rPr>
              <a:t>Detect usage anomalies and security incidents</a:t>
            </a:r>
          </a:p>
        </p:txBody>
      </p:sp>
      <p:sp>
        <p:nvSpPr>
          <p:cNvPr id="21" name="TextBox 20"/>
          <p:cNvSpPr txBox="1"/>
          <p:nvPr/>
        </p:nvSpPr>
        <p:spPr>
          <a:xfrm>
            <a:off x="8896827" y="3040062"/>
            <a:ext cx="3614886" cy="1276426"/>
          </a:xfrm>
          <a:prstGeom prst="rect">
            <a:avLst/>
          </a:prstGeom>
          <a:noFill/>
        </p:spPr>
        <p:txBody>
          <a:bodyPr wrap="square" lIns="182831" tIns="146264" rIns="182831" bIns="146264" rtlCol="0">
            <a:spAutoFit/>
          </a:bodyPr>
          <a:lstStyle/>
          <a:p>
            <a:pPr algn="ctr" defTabSz="914309">
              <a:lnSpc>
                <a:spcPct val="90000"/>
              </a:lnSpc>
              <a:spcAft>
                <a:spcPts val="600"/>
              </a:spcAft>
              <a:defRPr/>
            </a:pPr>
            <a:r>
              <a:rPr lang="en-US" sz="3264" kern="0" dirty="0">
                <a:solidFill>
                  <a:srgbClr val="0078D7"/>
                </a:solidFill>
                <a:latin typeface="Segoe UI Light"/>
              </a:rPr>
              <a:t>In-session </a:t>
            </a:r>
          </a:p>
          <a:p>
            <a:pPr algn="ctr" defTabSz="914309">
              <a:lnSpc>
                <a:spcPct val="90000"/>
              </a:lnSpc>
              <a:spcAft>
                <a:spcPts val="600"/>
              </a:spcAft>
              <a:defRPr/>
            </a:pPr>
            <a:r>
              <a:rPr lang="en-US" sz="3264" kern="0" dirty="0">
                <a:solidFill>
                  <a:srgbClr val="0078D7"/>
                </a:solidFill>
                <a:latin typeface="Segoe UI Light"/>
              </a:rPr>
              <a:t>control</a:t>
            </a:r>
          </a:p>
        </p:txBody>
      </p:sp>
      <p:sp>
        <p:nvSpPr>
          <p:cNvPr id="29" name="TextBox 28"/>
          <p:cNvSpPr txBox="1"/>
          <p:nvPr/>
        </p:nvSpPr>
        <p:spPr>
          <a:xfrm>
            <a:off x="9293857" y="4196587"/>
            <a:ext cx="2673908" cy="734808"/>
          </a:xfrm>
          <a:prstGeom prst="rect">
            <a:avLst/>
          </a:prstGeom>
          <a:noFill/>
        </p:spPr>
        <p:txBody>
          <a:bodyPr wrap="square" lIns="182831" tIns="146264" rIns="182831" bIns="146264" rtlCol="0">
            <a:spAutoFit/>
          </a:bodyPr>
          <a:lstStyle/>
          <a:p>
            <a:pPr algn="ctr" defTabSz="932325">
              <a:spcBef>
                <a:spcPts val="612"/>
              </a:spcBef>
              <a:spcAft>
                <a:spcPts val="600"/>
              </a:spcAft>
              <a:defRPr/>
            </a:pPr>
            <a:r>
              <a:rPr lang="en-US" sz="1428" kern="0" dirty="0">
                <a:solidFill>
                  <a:srgbClr val="505050"/>
                </a:solidFill>
                <a:latin typeface="Segoe UI"/>
                <a:ea typeface="Segoe UI" charset="0"/>
                <a:cs typeface="Segoe UI" charset="0"/>
              </a:rPr>
              <a:t>Control and limit user access based on session context</a:t>
            </a:r>
          </a:p>
        </p:txBody>
      </p:sp>
      <p:sp>
        <p:nvSpPr>
          <p:cNvPr id="55" name="Rectangle 54"/>
          <p:cNvSpPr/>
          <p:nvPr/>
        </p:nvSpPr>
        <p:spPr bwMode="auto">
          <a:xfrm>
            <a:off x="883" y="5517645"/>
            <a:ext cx="12433124" cy="1476434"/>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56" name="TextBox 55"/>
          <p:cNvSpPr txBox="1"/>
          <p:nvPr/>
        </p:nvSpPr>
        <p:spPr>
          <a:xfrm>
            <a:off x="305400" y="5949879"/>
            <a:ext cx="2360943" cy="615526"/>
          </a:xfrm>
          <a:prstGeom prst="rect">
            <a:avLst/>
          </a:prstGeom>
          <a:noFill/>
        </p:spPr>
        <p:txBody>
          <a:bodyPr wrap="square" lIns="182831" tIns="146264" rIns="182831" bIns="146264" rtlCol="0">
            <a:spAutoFit/>
          </a:bodyPr>
          <a:lstStyle/>
          <a:p>
            <a:pPr defTabSz="914309">
              <a:defRPr/>
            </a:pPr>
            <a:r>
              <a:rPr lang="en-US" sz="2040" kern="0" dirty="0">
                <a:solidFill>
                  <a:srgbClr val="FFFFFF"/>
                </a:solidFill>
                <a:latin typeface="Segoe UI"/>
              </a:rPr>
              <a:t>DISCOVER</a:t>
            </a:r>
          </a:p>
        </p:txBody>
      </p:sp>
      <p:grpSp>
        <p:nvGrpSpPr>
          <p:cNvPr id="57" name="Group 56"/>
          <p:cNvGrpSpPr/>
          <p:nvPr/>
        </p:nvGrpSpPr>
        <p:grpSpPr>
          <a:xfrm rot="18900000">
            <a:off x="2412852" y="5992096"/>
            <a:ext cx="497865" cy="497865"/>
            <a:chOff x="2734623" y="5249368"/>
            <a:chExt cx="1295400" cy="1295400"/>
          </a:xfrm>
        </p:grpSpPr>
        <p:sp>
          <p:nvSpPr>
            <p:cNvPr id="58" name="Rounded Rectangle 57"/>
            <p:cNvSpPr/>
            <p:nvPr/>
          </p:nvSpPr>
          <p:spPr bwMode="auto">
            <a:xfrm>
              <a:off x="2734623" y="63923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59" name="Rounded Rectangle 58"/>
            <p:cNvSpPr/>
            <p:nvPr/>
          </p:nvSpPr>
          <p:spPr bwMode="auto">
            <a:xfrm rot="5400000">
              <a:off x="3306123" y="58208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grpSp>
      <p:sp>
        <p:nvSpPr>
          <p:cNvPr id="60" name="TextBox 59"/>
          <p:cNvSpPr txBox="1"/>
          <p:nvPr/>
        </p:nvSpPr>
        <p:spPr>
          <a:xfrm>
            <a:off x="3335790" y="5949879"/>
            <a:ext cx="2360943" cy="615526"/>
          </a:xfrm>
          <a:prstGeom prst="rect">
            <a:avLst/>
          </a:prstGeom>
          <a:noFill/>
        </p:spPr>
        <p:txBody>
          <a:bodyPr wrap="square" lIns="182831" tIns="146264" rIns="182831" bIns="146264" rtlCol="0">
            <a:spAutoFit/>
          </a:bodyPr>
          <a:lstStyle/>
          <a:p>
            <a:pPr defTabSz="914309">
              <a:defRPr/>
            </a:pPr>
            <a:r>
              <a:rPr lang="en-US" sz="2040" kern="0" dirty="0">
                <a:solidFill>
                  <a:srgbClr val="FFFFFF"/>
                </a:solidFill>
                <a:latin typeface="Segoe UI"/>
              </a:rPr>
              <a:t>INVESTIGATE</a:t>
            </a:r>
          </a:p>
        </p:txBody>
      </p:sp>
      <p:grpSp>
        <p:nvGrpSpPr>
          <p:cNvPr id="61" name="Group 60"/>
          <p:cNvGrpSpPr/>
          <p:nvPr/>
        </p:nvGrpSpPr>
        <p:grpSpPr>
          <a:xfrm rot="18900000">
            <a:off x="5388073" y="5992096"/>
            <a:ext cx="497865" cy="497865"/>
            <a:chOff x="2734623" y="5249368"/>
            <a:chExt cx="1295400" cy="1295400"/>
          </a:xfrm>
        </p:grpSpPr>
        <p:sp>
          <p:nvSpPr>
            <p:cNvPr id="62" name="Rounded Rectangle 61"/>
            <p:cNvSpPr/>
            <p:nvPr/>
          </p:nvSpPr>
          <p:spPr bwMode="auto">
            <a:xfrm>
              <a:off x="2734623" y="63923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63" name="Rounded Rectangle 62"/>
            <p:cNvSpPr/>
            <p:nvPr/>
          </p:nvSpPr>
          <p:spPr bwMode="auto">
            <a:xfrm rot="5400000">
              <a:off x="3306123" y="58208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grpSp>
      <p:sp>
        <p:nvSpPr>
          <p:cNvPr id="64" name="TextBox 63"/>
          <p:cNvSpPr txBox="1"/>
          <p:nvPr/>
        </p:nvSpPr>
        <p:spPr>
          <a:xfrm>
            <a:off x="6366179" y="5949879"/>
            <a:ext cx="2757971" cy="615526"/>
          </a:xfrm>
          <a:prstGeom prst="rect">
            <a:avLst/>
          </a:prstGeom>
          <a:noFill/>
        </p:spPr>
        <p:txBody>
          <a:bodyPr wrap="square" lIns="182831" tIns="146264" rIns="182831" bIns="146264" rtlCol="0">
            <a:spAutoFit/>
          </a:bodyPr>
          <a:lstStyle/>
          <a:p>
            <a:pPr defTabSz="914309">
              <a:defRPr/>
            </a:pPr>
            <a:r>
              <a:rPr lang="en-US" sz="2040" kern="0" dirty="0">
                <a:solidFill>
                  <a:srgbClr val="FFFFFF"/>
                </a:solidFill>
                <a:latin typeface="Segoe UI"/>
              </a:rPr>
              <a:t>CONTROL</a:t>
            </a:r>
          </a:p>
        </p:txBody>
      </p:sp>
      <p:grpSp>
        <p:nvGrpSpPr>
          <p:cNvPr id="65" name="Group 64"/>
          <p:cNvGrpSpPr/>
          <p:nvPr/>
        </p:nvGrpSpPr>
        <p:grpSpPr>
          <a:xfrm rot="18900000">
            <a:off x="8884888" y="5992096"/>
            <a:ext cx="497865" cy="497865"/>
            <a:chOff x="2734623" y="5249368"/>
            <a:chExt cx="1295400" cy="1295400"/>
          </a:xfrm>
        </p:grpSpPr>
        <p:sp>
          <p:nvSpPr>
            <p:cNvPr id="66" name="Rounded Rectangle 65"/>
            <p:cNvSpPr/>
            <p:nvPr/>
          </p:nvSpPr>
          <p:spPr bwMode="auto">
            <a:xfrm>
              <a:off x="2734623" y="63923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67" name="Rounded Rectangle 66"/>
            <p:cNvSpPr/>
            <p:nvPr/>
          </p:nvSpPr>
          <p:spPr bwMode="auto">
            <a:xfrm rot="5400000">
              <a:off x="3306123" y="58208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grpSp>
      <p:sp>
        <p:nvSpPr>
          <p:cNvPr id="68" name="TextBox 67"/>
          <p:cNvSpPr txBox="1"/>
          <p:nvPr/>
        </p:nvSpPr>
        <p:spPr>
          <a:xfrm>
            <a:off x="9793596" y="5949879"/>
            <a:ext cx="2484995" cy="615526"/>
          </a:xfrm>
          <a:prstGeom prst="rect">
            <a:avLst/>
          </a:prstGeom>
          <a:noFill/>
        </p:spPr>
        <p:txBody>
          <a:bodyPr wrap="square" lIns="182831" tIns="146264" rIns="182831" bIns="146264" rtlCol="0">
            <a:spAutoFit/>
          </a:bodyPr>
          <a:lstStyle/>
          <a:p>
            <a:pPr defTabSz="914309">
              <a:defRPr/>
            </a:pPr>
            <a:r>
              <a:rPr lang="en-US" sz="2040" kern="0" dirty="0">
                <a:solidFill>
                  <a:srgbClr val="FFFFFF"/>
                </a:solidFill>
                <a:latin typeface="Segoe UI"/>
              </a:rPr>
              <a:t>PROTECT</a:t>
            </a:r>
          </a:p>
        </p:txBody>
      </p:sp>
      <p:pic>
        <p:nvPicPr>
          <p:cNvPr id="31" name="Picture 3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18161" y="1804691"/>
            <a:ext cx="981703" cy="981703"/>
          </a:xfrm>
          <a:prstGeom prst="rect">
            <a:avLst/>
          </a:prstGeom>
        </p:spPr>
      </p:pic>
      <p:pic>
        <p:nvPicPr>
          <p:cNvPr id="32" name="Picture 3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2259" y="1757315"/>
            <a:ext cx="1407225" cy="1001379"/>
          </a:xfrm>
          <a:prstGeom prst="rect">
            <a:avLst/>
          </a:prstGeom>
        </p:spPr>
      </p:pic>
      <p:pic>
        <p:nvPicPr>
          <p:cNvPr id="33" name="Picture 3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04084" y="1744662"/>
            <a:ext cx="1483307" cy="1101762"/>
          </a:xfrm>
          <a:prstGeom prst="rect">
            <a:avLst/>
          </a:prstGeom>
        </p:spPr>
      </p:pic>
      <p:pic>
        <p:nvPicPr>
          <p:cNvPr id="34" name="Picture 3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30634" y="1840236"/>
            <a:ext cx="1793008" cy="835532"/>
          </a:xfrm>
          <a:prstGeom prst="rect">
            <a:avLst/>
          </a:prstGeom>
        </p:spPr>
      </p:pic>
    </p:spTree>
    <p:extLst>
      <p:ext uri="{BB962C8B-B14F-4D97-AF65-F5344CB8AC3E}">
        <p14:creationId xmlns:p14="http://schemas.microsoft.com/office/powerpoint/2010/main" val="591290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6"/>
          <p:cNvSpPr>
            <a:spLocks noGrp="1"/>
          </p:cNvSpPr>
          <p:nvPr>
            <p:ph type="title"/>
          </p:nvPr>
        </p:nvSpPr>
        <p:spPr/>
        <p:txBody>
          <a:bodyPr/>
          <a:lstStyle/>
          <a:p>
            <a:r>
              <a:rPr lang="en-US" dirty="0"/>
              <a:t>’Lift-and-shift’ existing on-premises apps. Easy?</a:t>
            </a:r>
          </a:p>
        </p:txBody>
      </p:sp>
      <p:grpSp>
        <p:nvGrpSpPr>
          <p:cNvPr id="5" name="Group 4"/>
          <p:cNvGrpSpPr/>
          <p:nvPr/>
        </p:nvGrpSpPr>
        <p:grpSpPr>
          <a:xfrm>
            <a:off x="1265779" y="1135699"/>
            <a:ext cx="3831344" cy="5346713"/>
            <a:chOff x="7812124" y="1376780"/>
            <a:chExt cx="3832376" cy="5348155"/>
          </a:xfrm>
        </p:grpSpPr>
        <p:sp>
          <p:nvSpPr>
            <p:cNvPr id="6" name="Freeform 5"/>
            <p:cNvSpPr>
              <a:spLocks noChangeAspect="1"/>
            </p:cNvSpPr>
            <p:nvPr/>
          </p:nvSpPr>
          <p:spPr bwMode="black">
            <a:xfrm>
              <a:off x="8208405" y="1376780"/>
              <a:ext cx="3289482" cy="194539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2"/>
            </a:solidFill>
            <a:ln>
              <a:noFill/>
            </a:ln>
          </p:spPr>
          <p:txBody>
            <a:bodyPr vert="horz" wrap="square" lIns="89618" tIns="44809" rIns="89618" bIns="44809" numCol="1" anchor="t" anchorCtr="0" compatLnSpc="1">
              <a:prstTxWarp prst="textNoShape">
                <a:avLst/>
              </a:prstTxWarp>
            </a:bodyPr>
            <a:lstStyle/>
            <a:p>
              <a:pPr defTabSz="914216">
                <a:defRPr/>
              </a:pPr>
              <a:endParaRPr lang="en-US" sz="1765" kern="0" dirty="0">
                <a:solidFill>
                  <a:srgbClr val="FFFFFF"/>
                </a:solidFill>
              </a:endParaRPr>
            </a:p>
            <a:p>
              <a:pPr defTabSz="914216">
                <a:defRPr/>
              </a:pPr>
              <a:endParaRPr lang="en-US" sz="1765" kern="0" dirty="0">
                <a:solidFill>
                  <a:srgbClr val="FFFFFF"/>
                </a:solidFill>
              </a:endParaRPr>
            </a:p>
            <a:p>
              <a:pPr defTabSz="914216">
                <a:defRPr/>
              </a:pPr>
              <a:endParaRPr lang="en-US" sz="1765" kern="0" dirty="0">
                <a:solidFill>
                  <a:srgbClr val="FFFFFF"/>
                </a:solidFill>
              </a:endParaRPr>
            </a:p>
            <a:p>
              <a:pPr defTabSz="914216">
                <a:defRPr/>
              </a:pPr>
              <a:endParaRPr lang="en-US" sz="1765" kern="0" dirty="0">
                <a:solidFill>
                  <a:srgbClr val="FFFFFF"/>
                </a:solidFill>
              </a:endParaRPr>
            </a:p>
            <a:p>
              <a:pPr defTabSz="914216">
                <a:defRPr/>
              </a:pPr>
              <a:endParaRPr lang="en-US" sz="1765" kern="0" dirty="0">
                <a:solidFill>
                  <a:srgbClr val="FFFFFF"/>
                </a:solidFill>
              </a:endParaRPr>
            </a:p>
            <a:p>
              <a:pPr defTabSz="914216">
                <a:defRPr/>
              </a:pPr>
              <a:r>
                <a:rPr lang="en-US" sz="1765" kern="0" dirty="0">
                  <a:solidFill>
                    <a:srgbClr val="FFFFFF"/>
                  </a:solidFill>
                </a:rPr>
                <a:t>       </a:t>
              </a:r>
            </a:p>
            <a:p>
              <a:pPr defTabSz="914216">
                <a:defRPr/>
              </a:pPr>
              <a:r>
                <a:rPr lang="en-US" sz="1400" kern="0" dirty="0">
                  <a:solidFill>
                    <a:srgbClr val="FFFFFF"/>
                  </a:solidFill>
                </a:rPr>
                <a:t>         </a:t>
              </a:r>
              <a:r>
                <a:rPr lang="en-US" sz="1400" i="1" kern="0" dirty="0">
                  <a:solidFill>
                    <a:sysClr val="windowText" lastClr="000000"/>
                  </a:solidFill>
                </a:rPr>
                <a:t>Azure</a:t>
              </a:r>
            </a:p>
          </p:txBody>
        </p:sp>
        <p:grpSp>
          <p:nvGrpSpPr>
            <p:cNvPr id="7" name="Group 6"/>
            <p:cNvGrpSpPr/>
            <p:nvPr/>
          </p:nvGrpSpPr>
          <p:grpSpPr>
            <a:xfrm>
              <a:off x="7812124" y="5186780"/>
              <a:ext cx="3832376" cy="1538155"/>
              <a:chOff x="3978380" y="4859154"/>
              <a:chExt cx="3832376" cy="1538155"/>
            </a:xfrm>
          </p:grpSpPr>
          <p:sp>
            <p:nvSpPr>
              <p:cNvPr id="17" name="Oval 16"/>
              <p:cNvSpPr/>
              <p:nvPr>
                <p:custDataLst>
                  <p:tags r:id="rId1"/>
                </p:custDataLst>
              </p:nvPr>
            </p:nvSpPr>
            <p:spPr bwMode="auto">
              <a:xfrm>
                <a:off x="3978380" y="4859154"/>
                <a:ext cx="3832376" cy="1538155"/>
              </a:xfrm>
              <a:prstGeom prst="ellipse">
                <a:avLst/>
              </a:prstGeom>
              <a:solidFill>
                <a:schemeClr val="bg1">
                  <a:lumMod val="85000"/>
                </a:schemeClr>
              </a:solidFill>
              <a:ln w="3175" cap="flat" cmpd="sng" algn="ctr">
                <a:noFill/>
                <a:prstDash val="solid"/>
                <a:headEnd type="none" w="med" len="med"/>
                <a:tailEnd type="none" w="med" len="med"/>
              </a:ln>
              <a:effectLst/>
            </p:spPr>
            <p:txBody>
              <a:bodyPr vert="horz" wrap="square" lIns="82248" tIns="41124" rIns="82248" bIns="41124" numCol="1" rtlCol="0" anchor="ctr" anchorCtr="0" compatLnSpc="1">
                <a:prstTxWarp prst="textNoShape">
                  <a:avLst/>
                </a:prstTxWarp>
              </a:bodyPr>
              <a:lstStyle/>
              <a:p>
                <a:pPr algn="ctr" defTabSz="822343" fontAlgn="base">
                  <a:spcBef>
                    <a:spcPct val="0"/>
                  </a:spcBef>
                  <a:spcAft>
                    <a:spcPct val="0"/>
                  </a:spcAft>
                  <a:defRPr/>
                </a:pPr>
                <a:endParaRPr lang="en-US" sz="2024" kern="0" dirty="0">
                  <a:solidFill>
                    <a:srgbClr val="595959"/>
                  </a:solidFill>
                  <a:latin typeface="Segoe UI"/>
                </a:endParaRPr>
              </a:p>
            </p:txBody>
          </p:sp>
          <p:cxnSp>
            <p:nvCxnSpPr>
              <p:cNvPr id="18" name="Straight Connector 17"/>
              <p:cNvCxnSpPr/>
              <p:nvPr/>
            </p:nvCxnSpPr>
            <p:spPr>
              <a:xfrm flipH="1">
                <a:off x="5136282" y="5370299"/>
                <a:ext cx="477786" cy="430743"/>
              </a:xfrm>
              <a:prstGeom prst="line">
                <a:avLst/>
              </a:prstGeom>
              <a:noFill/>
              <a:ln w="19050" cap="rnd" cmpd="sng" algn="ctr">
                <a:solidFill>
                  <a:schemeClr val="tx1"/>
                </a:solidFill>
                <a:prstDash val="solid"/>
              </a:ln>
              <a:effectLst/>
            </p:spPr>
          </p:cxnSp>
          <p:cxnSp>
            <p:nvCxnSpPr>
              <p:cNvPr id="19" name="Straight Connector 18"/>
              <p:cNvCxnSpPr/>
              <p:nvPr/>
            </p:nvCxnSpPr>
            <p:spPr>
              <a:xfrm>
                <a:off x="5614069" y="5363474"/>
                <a:ext cx="186472" cy="491404"/>
              </a:xfrm>
              <a:prstGeom prst="line">
                <a:avLst/>
              </a:prstGeom>
              <a:noFill/>
              <a:ln w="19050" cap="rnd" cmpd="sng" algn="ctr">
                <a:solidFill>
                  <a:schemeClr val="tx1"/>
                </a:solidFill>
                <a:prstDash val="solid"/>
              </a:ln>
              <a:effectLst/>
            </p:spPr>
          </p:cxnSp>
          <p:sp>
            <p:nvSpPr>
              <p:cNvPr id="20" name="Freeform 836"/>
              <p:cNvSpPr>
                <a:spLocks noEditPoints="1"/>
              </p:cNvSpPr>
              <p:nvPr/>
            </p:nvSpPr>
            <p:spPr bwMode="auto">
              <a:xfrm>
                <a:off x="4968918" y="5826037"/>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solidFill>
                  <a:schemeClr val="tx1"/>
                </a:solidFill>
                <a:prstDash val="solid"/>
                <a:round/>
                <a:headEnd/>
                <a:tailEnd/>
              </a:ln>
            </p:spPr>
            <p:txBody>
              <a:bodyPr vert="horz" wrap="square" lIns="68552" tIns="34276" rIns="68552" bIns="34276" numCol="1" anchor="t" anchorCtr="0" compatLnSpc="1">
                <a:prstTxWarp prst="textNoShape">
                  <a:avLst/>
                </a:prstTxWarp>
              </a:bodyPr>
              <a:lstStyle/>
              <a:p>
                <a:pPr defTabSz="699378">
                  <a:defRPr/>
                </a:pPr>
                <a:endParaRPr lang="en-GB" sz="1350" kern="0">
                  <a:solidFill>
                    <a:srgbClr val="505050"/>
                  </a:solidFill>
                  <a:ea typeface="ＭＳ Ｐゴシック" charset="0"/>
                </a:endParaRPr>
              </a:p>
            </p:txBody>
          </p:sp>
          <p:sp>
            <p:nvSpPr>
              <p:cNvPr id="21" name="Freeform 836"/>
              <p:cNvSpPr>
                <a:spLocks noEditPoints="1"/>
              </p:cNvSpPr>
              <p:nvPr/>
            </p:nvSpPr>
            <p:spPr bwMode="auto">
              <a:xfrm>
                <a:off x="5690833" y="5883822"/>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solidFill>
                  <a:schemeClr val="tx1"/>
                </a:solidFill>
                <a:prstDash val="solid"/>
                <a:round/>
                <a:headEnd/>
                <a:tailEnd/>
              </a:ln>
            </p:spPr>
            <p:txBody>
              <a:bodyPr vert="horz" wrap="square" lIns="68552" tIns="34276" rIns="68552" bIns="34276" numCol="1" anchor="t" anchorCtr="0" compatLnSpc="1">
                <a:prstTxWarp prst="textNoShape">
                  <a:avLst/>
                </a:prstTxWarp>
              </a:bodyPr>
              <a:lstStyle/>
              <a:p>
                <a:pPr defTabSz="699378">
                  <a:defRPr/>
                </a:pPr>
                <a:endParaRPr lang="en-GB" sz="1350" kern="0">
                  <a:solidFill>
                    <a:srgbClr val="505050"/>
                  </a:solidFill>
                  <a:ea typeface="ＭＳ Ｐゴシック" charset="0"/>
                </a:endParaRPr>
              </a:p>
            </p:txBody>
          </p:sp>
          <p:grpSp>
            <p:nvGrpSpPr>
              <p:cNvPr id="22" name="Group 21"/>
              <p:cNvGrpSpPr/>
              <p:nvPr/>
            </p:nvGrpSpPr>
            <p:grpSpPr>
              <a:xfrm>
                <a:off x="5336295" y="4982619"/>
                <a:ext cx="2017877" cy="562643"/>
                <a:chOff x="7600492" y="4310851"/>
                <a:chExt cx="2690884" cy="750296"/>
              </a:xfrm>
            </p:grpSpPr>
            <p:grpSp>
              <p:nvGrpSpPr>
                <p:cNvPr id="25" name="Group 24"/>
                <p:cNvGrpSpPr/>
                <p:nvPr/>
              </p:nvGrpSpPr>
              <p:grpSpPr>
                <a:xfrm>
                  <a:off x="7600492" y="4310851"/>
                  <a:ext cx="2646055" cy="750296"/>
                  <a:chOff x="4872042" y="3212049"/>
                  <a:chExt cx="2646055" cy="750296"/>
                </a:xfrm>
              </p:grpSpPr>
              <p:sp>
                <p:nvSpPr>
                  <p:cNvPr id="27" name="Rectangle 26"/>
                  <p:cNvSpPr/>
                  <p:nvPr/>
                </p:nvSpPr>
                <p:spPr>
                  <a:xfrm>
                    <a:off x="5782982" y="3716054"/>
                    <a:ext cx="1735115" cy="246291"/>
                  </a:xfrm>
                  <a:prstGeom prst="rect">
                    <a:avLst/>
                  </a:prstGeom>
                  <a:ln>
                    <a:noFill/>
                  </a:ln>
                </p:spPr>
                <p:txBody>
                  <a:bodyPr wrap="square" lIns="0" tIns="0" rIns="0" bIns="0" anchor="ctr">
                    <a:spAutoFit/>
                  </a:bodyPr>
                  <a:lstStyle/>
                  <a:p>
                    <a:pPr algn="ctr" defTabSz="822308" fontAlgn="base">
                      <a:spcBef>
                        <a:spcPts val="1080"/>
                      </a:spcBef>
                      <a:spcAft>
                        <a:spcPct val="0"/>
                      </a:spcAft>
                      <a:defRPr/>
                    </a:pPr>
                    <a:r>
                      <a:rPr lang="en-US" sz="1200" kern="0" dirty="0">
                        <a:ln>
                          <a:solidFill>
                            <a:srgbClr val="FFFFFF">
                              <a:alpha val="0"/>
                            </a:srgbClr>
                          </a:solidFill>
                        </a:ln>
                        <a:solidFill>
                          <a:srgbClr val="FFFFFF"/>
                        </a:solidFill>
                        <a:ea typeface="ＭＳ Ｐゴシック" charset="0"/>
                      </a:rPr>
                      <a:t>Active Directory</a:t>
                    </a:r>
                  </a:p>
                </p:txBody>
              </p:sp>
              <p:pic>
                <p:nvPicPr>
                  <p:cNvPr id="28" name="Picture 2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72042" y="3212049"/>
                    <a:ext cx="697094" cy="461261"/>
                  </a:xfrm>
                  <a:prstGeom prst="rect">
                    <a:avLst/>
                  </a:prstGeom>
                </p:spPr>
              </p:pic>
            </p:grpSp>
            <p:pic>
              <p:nvPicPr>
                <p:cNvPr id="26" name="Picture 2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27836" y="4349739"/>
                  <a:ext cx="2063540" cy="536710"/>
                </a:xfrm>
                <a:prstGeom prst="rect">
                  <a:avLst/>
                </a:prstGeom>
              </p:spPr>
            </p:pic>
          </p:grpSp>
          <p:sp>
            <p:nvSpPr>
              <p:cNvPr id="23" name="Rectangle 22"/>
              <p:cNvSpPr/>
              <p:nvPr/>
            </p:nvSpPr>
            <p:spPr>
              <a:xfrm>
                <a:off x="6162652" y="5844445"/>
                <a:ext cx="1069491" cy="431003"/>
              </a:xfrm>
              <a:prstGeom prst="rect">
                <a:avLst/>
              </a:prstGeom>
            </p:spPr>
            <p:txBody>
              <a:bodyPr wrap="none" lIns="0" tIns="0" rIns="0" bIns="0" anchor="b">
                <a:spAutoFit/>
              </a:bodyPr>
              <a:lstStyle/>
              <a:p>
                <a:pPr algn="ctr" defTabSz="822062" fontAlgn="base">
                  <a:spcBef>
                    <a:spcPct val="0"/>
                  </a:spcBef>
                  <a:spcAft>
                    <a:spcPct val="0"/>
                  </a:spcAft>
                  <a:defRPr/>
                </a:pPr>
                <a:r>
                  <a:rPr lang="en-US" sz="1400" b="1" kern="0" dirty="0">
                    <a:ln>
                      <a:solidFill>
                        <a:srgbClr val="FFFFFF">
                          <a:alpha val="0"/>
                        </a:srgbClr>
                      </a:solidFill>
                    </a:ln>
                    <a:solidFill>
                      <a:sysClr val="windowText" lastClr="000000"/>
                    </a:solidFill>
                    <a:ea typeface="ＭＳ Ｐゴシック" charset="0"/>
                  </a:rPr>
                  <a:t>On-premises</a:t>
                </a:r>
              </a:p>
              <a:p>
                <a:pPr algn="ctr" defTabSz="822062" fontAlgn="base">
                  <a:spcBef>
                    <a:spcPct val="0"/>
                  </a:spcBef>
                  <a:spcAft>
                    <a:spcPct val="0"/>
                  </a:spcAft>
                  <a:defRPr/>
                </a:pPr>
                <a:r>
                  <a:rPr lang="en-US" sz="1400" b="1" kern="0" dirty="0">
                    <a:ln>
                      <a:solidFill>
                        <a:srgbClr val="FFFFFF">
                          <a:alpha val="0"/>
                        </a:srgbClr>
                      </a:solidFill>
                    </a:ln>
                    <a:solidFill>
                      <a:sysClr val="windowText" lastClr="000000"/>
                    </a:solidFill>
                    <a:ea typeface="ＭＳ Ｐゴシック" charset="0"/>
                  </a:rPr>
                  <a:t>apps</a:t>
                </a:r>
              </a:p>
            </p:txBody>
          </p:sp>
          <p:sp>
            <p:nvSpPr>
              <p:cNvPr id="24" name="Can 23"/>
              <p:cNvSpPr/>
              <p:nvPr/>
            </p:nvSpPr>
            <p:spPr bwMode="auto">
              <a:xfrm>
                <a:off x="5111161" y="6075028"/>
                <a:ext cx="202031" cy="188925"/>
              </a:xfrm>
              <a:prstGeom prst="can">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318"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grpSp>
          <p:nvGrpSpPr>
            <p:cNvPr id="8" name="Group 7"/>
            <p:cNvGrpSpPr/>
            <p:nvPr/>
          </p:nvGrpSpPr>
          <p:grpSpPr>
            <a:xfrm>
              <a:off x="9352117" y="2128232"/>
              <a:ext cx="1014747" cy="467587"/>
              <a:chOff x="8504237" y="2286969"/>
              <a:chExt cx="1014747" cy="467587"/>
            </a:xfrm>
          </p:grpSpPr>
          <p:grpSp>
            <p:nvGrpSpPr>
              <p:cNvPr id="11" name="Group 10"/>
              <p:cNvGrpSpPr/>
              <p:nvPr/>
            </p:nvGrpSpPr>
            <p:grpSpPr>
              <a:xfrm>
                <a:off x="8504237" y="2314520"/>
                <a:ext cx="364575" cy="440036"/>
                <a:chOff x="8955062" y="6306063"/>
                <a:chExt cx="364575" cy="440036"/>
              </a:xfrm>
            </p:grpSpPr>
            <p:sp>
              <p:nvSpPr>
                <p:cNvPr id="15" name="Freeform 836"/>
                <p:cNvSpPr>
                  <a:spLocks noEditPoints="1"/>
                </p:cNvSpPr>
                <p:nvPr/>
              </p:nvSpPr>
              <p:spPr bwMode="auto">
                <a:xfrm>
                  <a:off x="8955062" y="6306063"/>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solidFill>
                    <a:schemeClr val="tx1"/>
                  </a:solidFill>
                  <a:prstDash val="solid"/>
                  <a:round/>
                  <a:headEnd/>
                  <a:tailEnd/>
                </a:ln>
              </p:spPr>
              <p:txBody>
                <a:bodyPr vert="horz" wrap="square" lIns="68552" tIns="34276" rIns="68552" bIns="34276" numCol="1" anchor="t" anchorCtr="0" compatLnSpc="1">
                  <a:prstTxWarp prst="textNoShape">
                    <a:avLst/>
                  </a:prstTxWarp>
                </a:bodyPr>
                <a:lstStyle/>
                <a:p>
                  <a:pPr defTabSz="699378">
                    <a:defRPr/>
                  </a:pPr>
                  <a:endParaRPr lang="en-GB" sz="1350" kern="0">
                    <a:solidFill>
                      <a:srgbClr val="505050"/>
                    </a:solidFill>
                    <a:ea typeface="ＭＳ Ｐゴシック" charset="0"/>
                  </a:endParaRPr>
                </a:p>
              </p:txBody>
            </p:sp>
            <p:sp>
              <p:nvSpPr>
                <p:cNvPr id="16" name="Can 15"/>
                <p:cNvSpPr/>
                <p:nvPr/>
              </p:nvSpPr>
              <p:spPr bwMode="auto">
                <a:xfrm>
                  <a:off x="9117604" y="6557174"/>
                  <a:ext cx="202033" cy="188925"/>
                </a:xfrm>
                <a:prstGeom prst="can">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318"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sp>
            <p:nvSpPr>
              <p:cNvPr id="12" name="Freeform 836"/>
              <p:cNvSpPr>
                <a:spLocks noEditPoints="1"/>
              </p:cNvSpPr>
              <p:nvPr/>
            </p:nvSpPr>
            <p:spPr bwMode="auto">
              <a:xfrm>
                <a:off x="9290631" y="2286969"/>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solidFill>
                  <a:schemeClr val="tx1"/>
                </a:solidFill>
                <a:prstDash val="solid"/>
                <a:round/>
                <a:headEnd/>
                <a:tailEnd/>
              </a:ln>
            </p:spPr>
            <p:txBody>
              <a:bodyPr vert="horz" wrap="square" lIns="68552" tIns="34276" rIns="68552" bIns="34276" numCol="1" anchor="t" anchorCtr="0" compatLnSpc="1">
                <a:prstTxWarp prst="textNoShape">
                  <a:avLst/>
                </a:prstTxWarp>
              </a:bodyPr>
              <a:lstStyle/>
              <a:p>
                <a:pPr defTabSz="699378">
                  <a:defRPr/>
                </a:pPr>
                <a:endParaRPr lang="en-GB" sz="1350" kern="0">
                  <a:solidFill>
                    <a:srgbClr val="505050"/>
                  </a:solidFill>
                  <a:ea typeface="ＭＳ Ｐゴシック" charset="0"/>
                </a:endParaRPr>
              </a:p>
            </p:txBody>
          </p:sp>
        </p:grpSp>
        <p:cxnSp>
          <p:nvCxnSpPr>
            <p:cNvPr id="9" name="Curved Connector 8"/>
            <p:cNvCxnSpPr>
              <a:stCxn id="24" idx="3"/>
              <a:endCxn id="15" idx="3"/>
            </p:cNvCxnSpPr>
            <p:nvPr/>
          </p:nvCxnSpPr>
          <p:spPr>
            <a:xfrm rot="5400000" flipH="1" flipV="1">
              <a:off x="7134452" y="4349073"/>
              <a:ext cx="4153975" cy="331039"/>
            </a:xfrm>
            <a:prstGeom prst="curvedConnector4">
              <a:avLst>
                <a:gd name="adj1" fmla="val -5504"/>
                <a:gd name="adj2" fmla="val -293202"/>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Curved Connector 9"/>
            <p:cNvCxnSpPr>
              <a:stCxn id="17" idx="4"/>
            </p:cNvCxnSpPr>
            <p:nvPr/>
          </p:nvCxnSpPr>
          <p:spPr>
            <a:xfrm rot="5400000" flipH="1" flipV="1">
              <a:off x="7890938" y="4159828"/>
              <a:ext cx="4402481" cy="727732"/>
            </a:xfrm>
            <a:prstGeom prst="curvedConnector5">
              <a:avLst>
                <a:gd name="adj1" fmla="val -5193"/>
                <a:gd name="adj2" fmla="val 209256"/>
                <a:gd name="adj3" fmla="val 101442"/>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9" name="Freeform 54"/>
          <p:cNvSpPr>
            <a:spLocks noChangeAspect="1" noEditPoints="1"/>
          </p:cNvSpPr>
          <p:nvPr/>
        </p:nvSpPr>
        <p:spPr bwMode="black">
          <a:xfrm>
            <a:off x="3097948" y="6180210"/>
            <a:ext cx="230238" cy="230238"/>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31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54"/>
          <p:cNvSpPr>
            <a:spLocks noChangeAspect="1" noEditPoints="1"/>
          </p:cNvSpPr>
          <p:nvPr/>
        </p:nvSpPr>
        <p:spPr bwMode="black">
          <a:xfrm>
            <a:off x="3692133" y="2081118"/>
            <a:ext cx="230238" cy="230238"/>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31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3033649" y="2384656"/>
            <a:ext cx="457077" cy="849185"/>
          </a:xfrm>
          <a:prstGeom prst="rect">
            <a:avLst/>
          </a:prstGeom>
          <a:noFill/>
        </p:spPr>
        <p:txBody>
          <a:bodyPr wrap="square" lIns="182831" tIns="146264" rIns="182831" bIns="146264" rtlCol="0">
            <a:spAutoFit/>
          </a:bodyPr>
          <a:lstStyle/>
          <a:p>
            <a:pPr defTabSz="914309">
              <a:lnSpc>
                <a:spcPct val="90000"/>
              </a:lnSpc>
              <a:spcAft>
                <a:spcPts val="600"/>
              </a:spcAft>
              <a:defRPr/>
            </a:pPr>
            <a:r>
              <a:rPr lang="en-US" sz="3999" b="1" kern="0" dirty="0">
                <a:gradFill>
                  <a:gsLst>
                    <a:gs pos="2917">
                      <a:schemeClr val="tx1"/>
                    </a:gs>
                    <a:gs pos="30000">
                      <a:schemeClr val="tx1"/>
                    </a:gs>
                  </a:gsLst>
                  <a:lin ang="5400000" scaled="0"/>
                </a:gradFill>
                <a:latin typeface="+mj-lt"/>
              </a:rPr>
              <a:t>?</a:t>
            </a:r>
          </a:p>
        </p:txBody>
      </p:sp>
      <p:sp>
        <p:nvSpPr>
          <p:cNvPr id="45" name="TextBox 44"/>
          <p:cNvSpPr txBox="1"/>
          <p:nvPr/>
        </p:nvSpPr>
        <p:spPr>
          <a:xfrm>
            <a:off x="5628273" y="1814007"/>
            <a:ext cx="6752891" cy="2628331"/>
          </a:xfrm>
          <a:prstGeom prst="rect">
            <a:avLst/>
          </a:prstGeom>
          <a:noFill/>
        </p:spPr>
        <p:txBody>
          <a:bodyPr wrap="square" lIns="182831" tIns="146264" rIns="182831" bIns="146264" rtlCol="0">
            <a:spAutoFit/>
          </a:bodyPr>
          <a:lstStyle/>
          <a:p>
            <a:pPr defTabSz="914309">
              <a:lnSpc>
                <a:spcPct val="90000"/>
              </a:lnSpc>
              <a:spcAft>
                <a:spcPts val="600"/>
              </a:spcAft>
              <a:defRPr/>
            </a:pPr>
            <a:r>
              <a:rPr lang="en-US" sz="3200" kern="0" dirty="0">
                <a:solidFill>
                  <a:schemeClr val="tx2"/>
                </a:solidFill>
                <a:latin typeface="+mj-lt"/>
              </a:rPr>
              <a:t>What about identity in the cloud?</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My apps depend on AD Domain Services 1</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Apps can’t be modified to use new authn,                          </a:t>
            </a:r>
            <a:r>
              <a:rPr lang="en-US" sz="2000" dirty="0" err="1">
                <a:gradFill>
                  <a:gsLst>
                    <a:gs pos="1250">
                      <a:schemeClr val="tx1"/>
                    </a:gs>
                    <a:gs pos="100000">
                      <a:schemeClr val="tx1"/>
                    </a:gs>
                  </a:gsLst>
                  <a:lin ang="5400000" scaled="0"/>
                </a:gradFill>
              </a:rPr>
              <a:t>authz</a:t>
            </a:r>
            <a:r>
              <a:rPr lang="en-US" sz="2000" dirty="0">
                <a:gradFill>
                  <a:gsLst>
                    <a:gs pos="1250">
                      <a:schemeClr val="tx1"/>
                    </a:gs>
                    <a:gs pos="100000">
                      <a:schemeClr val="tx1"/>
                    </a:gs>
                  </a:gsLst>
                  <a:lin ang="5400000" scaled="0"/>
                </a:gradFill>
              </a:rPr>
              <a:t> (OAuth, SAML, OIDC, REST etc.)</a:t>
            </a:r>
          </a:p>
          <a:p>
            <a:pPr marL="809217" lvl="2" indent="-342846" defTabSz="932594">
              <a:lnSpc>
                <a:spcPct val="90000"/>
              </a:lnSpc>
              <a:spcBef>
                <a:spcPct val="20000"/>
              </a:spcBef>
              <a:buSzPct val="90000"/>
              <a:buFont typeface="Arial" pitchFamily="34" charset="0"/>
              <a:buChar char="•"/>
              <a:defRPr/>
            </a:pPr>
            <a:r>
              <a:rPr lang="en-US" dirty="0">
                <a:gradFill>
                  <a:gsLst>
                    <a:gs pos="1250">
                      <a:schemeClr val="tx1"/>
                    </a:gs>
                    <a:gs pos="100000">
                      <a:schemeClr val="tx1"/>
                    </a:gs>
                  </a:gsLst>
                  <a:lin ang="5400000" scaled="0"/>
                </a:gradFill>
              </a:rPr>
              <a:t>I don’t have source code for apps</a:t>
            </a:r>
          </a:p>
          <a:p>
            <a:pPr marL="809217" lvl="2" indent="-342846" defTabSz="932594">
              <a:lnSpc>
                <a:spcPct val="90000"/>
              </a:lnSpc>
              <a:spcBef>
                <a:spcPct val="20000"/>
              </a:spcBef>
              <a:buSzPct val="90000"/>
              <a:buFont typeface="Arial" pitchFamily="34" charset="0"/>
              <a:buChar char="•"/>
              <a:defRPr/>
            </a:pPr>
            <a:r>
              <a:rPr lang="en-US" dirty="0">
                <a:gradFill>
                  <a:gsLst>
                    <a:gs pos="1250">
                      <a:schemeClr val="tx1"/>
                    </a:gs>
                    <a:gs pos="100000">
                      <a:schemeClr val="tx1"/>
                    </a:gs>
                  </a:gsLst>
                  <a:lin ang="5400000" scaled="0"/>
                </a:gradFill>
              </a:rPr>
              <a:t>ISV not interested in rewriting app for modern paradigms</a:t>
            </a:r>
          </a:p>
        </p:txBody>
      </p:sp>
      <p:grpSp>
        <p:nvGrpSpPr>
          <p:cNvPr id="52" name="Group 51"/>
          <p:cNvGrpSpPr/>
          <p:nvPr/>
        </p:nvGrpSpPr>
        <p:grpSpPr>
          <a:xfrm>
            <a:off x="6616724" y="4487862"/>
            <a:ext cx="4501038" cy="1857310"/>
            <a:chOff x="6312141" y="4716290"/>
            <a:chExt cx="4501613" cy="1857547"/>
          </a:xfrm>
        </p:grpSpPr>
        <p:sp>
          <p:nvSpPr>
            <p:cNvPr id="48" name="Rectangle 47"/>
            <p:cNvSpPr/>
            <p:nvPr/>
          </p:nvSpPr>
          <p:spPr bwMode="auto">
            <a:xfrm>
              <a:off x="6312141" y="4716290"/>
              <a:ext cx="4325070" cy="1820075"/>
            </a:xfrm>
            <a:prstGeom prst="rect">
              <a:avLst/>
            </a:prstGeom>
            <a:solidFill>
              <a:schemeClr val="tx1"/>
            </a:solidFill>
            <a:ln w="3175">
              <a:solidFill>
                <a:schemeClr val="tx1"/>
              </a:solidFill>
              <a:prstDash val="dash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318"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7" name="Group 46"/>
            <p:cNvGrpSpPr/>
            <p:nvPr/>
          </p:nvGrpSpPr>
          <p:grpSpPr>
            <a:xfrm>
              <a:off x="6488685" y="4730298"/>
              <a:ext cx="4325069" cy="1843539"/>
              <a:chOff x="6928205" y="4676893"/>
              <a:chExt cx="4325681" cy="1843800"/>
            </a:xfrm>
          </p:grpSpPr>
          <p:grpSp>
            <p:nvGrpSpPr>
              <p:cNvPr id="42" name="Group 41"/>
              <p:cNvGrpSpPr/>
              <p:nvPr/>
            </p:nvGrpSpPr>
            <p:grpSpPr>
              <a:xfrm>
                <a:off x="6928205" y="5091909"/>
                <a:ext cx="1147886" cy="1060241"/>
                <a:chOff x="7132637" y="4337103"/>
                <a:chExt cx="1147886" cy="1060241"/>
              </a:xfrm>
            </p:grpSpPr>
            <p:sp>
              <p:nvSpPr>
                <p:cNvPr id="38" name="Rectangle 37"/>
                <p:cNvSpPr/>
                <p:nvPr/>
              </p:nvSpPr>
              <p:spPr>
                <a:xfrm>
                  <a:off x="7364483" y="5258825"/>
                  <a:ext cx="867064" cy="138519"/>
                </a:xfrm>
                <a:prstGeom prst="rect">
                  <a:avLst/>
                </a:prstGeom>
                <a:ln>
                  <a:noFill/>
                </a:ln>
              </p:spPr>
              <p:txBody>
                <a:bodyPr wrap="square" lIns="0" tIns="0" rIns="0" bIns="0" anchor="ctr">
                  <a:spAutoFit/>
                </a:bodyPr>
                <a:lstStyle/>
                <a:p>
                  <a:pPr algn="ctr" defTabSz="822308" fontAlgn="base">
                    <a:spcBef>
                      <a:spcPts val="1080"/>
                    </a:spcBef>
                    <a:spcAft>
                      <a:spcPct val="0"/>
                    </a:spcAft>
                    <a:defRPr/>
                  </a:pPr>
                  <a:r>
                    <a:rPr lang="en-US" sz="900" kern="0" dirty="0">
                      <a:ln>
                        <a:solidFill>
                          <a:srgbClr val="FFFFFF">
                            <a:alpha val="0"/>
                          </a:srgbClr>
                        </a:solidFill>
                      </a:ln>
                      <a:solidFill>
                        <a:srgbClr val="FFFFFF"/>
                      </a:solidFill>
                      <a:ea typeface="ＭＳ Ｐゴシック" charset="0"/>
                    </a:rPr>
                    <a:t>Active Directory</a:t>
                  </a:r>
                </a:p>
              </p:txBody>
            </p:sp>
            <p:pic>
              <p:nvPicPr>
                <p:cNvPr id="39" name="Picture 3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59969" y="4337103"/>
                  <a:ext cx="1120554" cy="741463"/>
                </a:xfrm>
                <a:prstGeom prst="rect">
                  <a:avLst/>
                </a:prstGeom>
              </p:spPr>
            </p:pic>
            <p:pic>
              <p:nvPicPr>
                <p:cNvPr id="40" name="Picture 3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32637" y="5068525"/>
                  <a:ext cx="1104260" cy="259560"/>
                </a:xfrm>
                <a:prstGeom prst="rect">
                  <a:avLst/>
                </a:prstGeom>
              </p:spPr>
            </p:pic>
          </p:grpSp>
          <p:sp>
            <p:nvSpPr>
              <p:cNvPr id="43" name="TextBox 42"/>
              <p:cNvSpPr txBox="1"/>
              <p:nvPr/>
            </p:nvSpPr>
            <p:spPr>
              <a:xfrm>
                <a:off x="8562362" y="4676893"/>
                <a:ext cx="2691524" cy="1843800"/>
              </a:xfrm>
              <a:prstGeom prst="rect">
                <a:avLst/>
              </a:prstGeom>
              <a:noFill/>
            </p:spPr>
            <p:txBody>
              <a:bodyPr wrap="square" lIns="182831" tIns="146264" rIns="182831" bIns="146264" rtlCol="0">
                <a:spAutoFit/>
              </a:bodyPr>
              <a:lstStyle/>
              <a:p>
                <a:pPr defTabSz="914309">
                  <a:lnSpc>
                    <a:spcPct val="90000"/>
                  </a:lnSpc>
                  <a:spcAft>
                    <a:spcPts val="600"/>
                  </a:spcAft>
                  <a:defRPr/>
                </a:pPr>
                <a:r>
                  <a:rPr lang="en-US" sz="1400" kern="0" baseline="30000" dirty="0">
                    <a:solidFill>
                      <a:schemeClr val="bg1"/>
                    </a:solidFill>
                    <a:latin typeface="+mj-lt"/>
                  </a:rPr>
                  <a:t>1</a:t>
                </a:r>
                <a:r>
                  <a:rPr lang="en-US" sz="1400" kern="0" dirty="0">
                    <a:solidFill>
                      <a:schemeClr val="bg1"/>
                    </a:solidFill>
                    <a:latin typeface="+mj-lt"/>
                  </a:rPr>
                  <a:t> AD Domain Services</a:t>
                </a:r>
              </a:p>
              <a:p>
                <a:pPr marL="171422" indent="-171422" defTabSz="914309">
                  <a:lnSpc>
                    <a:spcPct val="90000"/>
                  </a:lnSpc>
                  <a:spcAft>
                    <a:spcPts val="600"/>
                  </a:spcAft>
                  <a:buFont typeface="Arial" panose="020B0604020202020204" pitchFamily="34" charset="0"/>
                  <a:buChar char="•"/>
                  <a:defRPr/>
                </a:pPr>
                <a:r>
                  <a:rPr lang="en-US" sz="1400" kern="0" dirty="0">
                    <a:solidFill>
                      <a:schemeClr val="bg1"/>
                    </a:solidFill>
                    <a:latin typeface="+mj-lt"/>
                  </a:rPr>
                  <a:t>Domain join </a:t>
                </a:r>
              </a:p>
              <a:p>
                <a:pPr marL="171422" indent="-171422" defTabSz="914309">
                  <a:lnSpc>
                    <a:spcPct val="90000"/>
                  </a:lnSpc>
                  <a:spcAft>
                    <a:spcPts val="600"/>
                  </a:spcAft>
                  <a:buFont typeface="Arial" panose="020B0604020202020204" pitchFamily="34" charset="0"/>
                  <a:buChar char="•"/>
                  <a:defRPr/>
                </a:pPr>
                <a:r>
                  <a:rPr lang="en-US" sz="1400" kern="0" dirty="0">
                    <a:solidFill>
                      <a:schemeClr val="bg1"/>
                    </a:solidFill>
                    <a:latin typeface="+mj-lt"/>
                  </a:rPr>
                  <a:t>Group policy</a:t>
                </a:r>
              </a:p>
              <a:p>
                <a:pPr marL="171422" indent="-171422" defTabSz="914309">
                  <a:lnSpc>
                    <a:spcPct val="90000"/>
                  </a:lnSpc>
                  <a:spcAft>
                    <a:spcPts val="600"/>
                  </a:spcAft>
                  <a:buFont typeface="Arial" panose="020B0604020202020204" pitchFamily="34" charset="0"/>
                  <a:buChar char="•"/>
                  <a:defRPr/>
                </a:pPr>
                <a:r>
                  <a:rPr lang="en-US" sz="1400" kern="0" dirty="0">
                    <a:solidFill>
                      <a:schemeClr val="bg1"/>
                    </a:solidFill>
                    <a:latin typeface="+mj-lt"/>
                  </a:rPr>
                  <a:t>LDAP bind/authentication</a:t>
                </a:r>
              </a:p>
              <a:p>
                <a:pPr marL="171422" indent="-171422" defTabSz="914309">
                  <a:lnSpc>
                    <a:spcPct val="90000"/>
                  </a:lnSpc>
                  <a:spcAft>
                    <a:spcPts val="600"/>
                  </a:spcAft>
                  <a:buFont typeface="Arial" panose="020B0604020202020204" pitchFamily="34" charset="0"/>
                  <a:buChar char="•"/>
                  <a:defRPr/>
                </a:pPr>
                <a:r>
                  <a:rPr lang="en-US" sz="1400" kern="0" dirty="0">
                    <a:solidFill>
                      <a:schemeClr val="bg1"/>
                    </a:solidFill>
                    <a:latin typeface="+mj-lt"/>
                  </a:rPr>
                  <a:t>Kerberos, NTLM</a:t>
                </a:r>
              </a:p>
              <a:p>
                <a:pPr marL="171422" indent="-171422" defTabSz="914309">
                  <a:lnSpc>
                    <a:spcPct val="90000"/>
                  </a:lnSpc>
                  <a:spcAft>
                    <a:spcPts val="600"/>
                  </a:spcAft>
                  <a:buFont typeface="Arial" panose="020B0604020202020204" pitchFamily="34" charset="0"/>
                  <a:buChar char="•"/>
                  <a:defRPr/>
                </a:pPr>
                <a:r>
                  <a:rPr lang="en-US" sz="1400" kern="0" dirty="0">
                    <a:solidFill>
                      <a:schemeClr val="bg1"/>
                    </a:solidFill>
                    <a:latin typeface="+mj-lt"/>
                  </a:rPr>
                  <a:t>LDAP read/write</a:t>
                </a:r>
                <a:endParaRPr lang="en-US" sz="1600" kern="0" dirty="0">
                  <a:solidFill>
                    <a:schemeClr val="bg1"/>
                  </a:solidFill>
                  <a:latin typeface="+mj-lt"/>
                </a:endParaRPr>
              </a:p>
            </p:txBody>
          </p:sp>
          <p:sp>
            <p:nvSpPr>
              <p:cNvPr id="46" name="Right Arrow 45"/>
              <p:cNvSpPr/>
              <p:nvPr/>
            </p:nvSpPr>
            <p:spPr bwMode="auto">
              <a:xfrm>
                <a:off x="8428037" y="5516502"/>
                <a:ext cx="184281" cy="201855"/>
              </a:xfrm>
              <a:prstGeom prst="rightArrow">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318"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grpSp>
      <p:cxnSp>
        <p:nvCxnSpPr>
          <p:cNvPr id="51" name="Straight Connector 50"/>
          <p:cNvCxnSpPr/>
          <p:nvPr/>
        </p:nvCxnSpPr>
        <p:spPr>
          <a:xfrm>
            <a:off x="2906180" y="2349780"/>
            <a:ext cx="218244" cy="245004"/>
          </a:xfrm>
          <a:prstGeom prst="line">
            <a:avLst/>
          </a:prstGeom>
          <a:noFill/>
          <a:ln w="19050" cap="rnd" cmpd="sng" algn="ctr">
            <a:solidFill>
              <a:schemeClr val="tx1"/>
            </a:solidFill>
            <a:prstDash val="solid"/>
          </a:ln>
          <a:effectLst/>
        </p:spPr>
      </p:cxnSp>
      <p:cxnSp>
        <p:nvCxnSpPr>
          <p:cNvPr id="53" name="Straight Connector 52"/>
          <p:cNvCxnSpPr/>
          <p:nvPr/>
        </p:nvCxnSpPr>
        <p:spPr>
          <a:xfrm flipH="1">
            <a:off x="3456460" y="2332191"/>
            <a:ext cx="224310" cy="262591"/>
          </a:xfrm>
          <a:prstGeom prst="line">
            <a:avLst/>
          </a:prstGeom>
          <a:noFill/>
          <a:ln w="19050" cap="rnd" cmpd="sng" algn="ctr">
            <a:solidFill>
              <a:schemeClr val="tx1"/>
            </a:solidFill>
            <a:prstDash val="solid"/>
          </a:ln>
          <a:effectLst/>
        </p:spPr>
      </p:cxnSp>
      <p:sp>
        <p:nvSpPr>
          <p:cNvPr id="44" name="Rectangle 43"/>
          <p:cNvSpPr/>
          <p:nvPr/>
        </p:nvSpPr>
        <p:spPr>
          <a:xfrm>
            <a:off x="569039" y="2698662"/>
            <a:ext cx="1032331" cy="215416"/>
          </a:xfrm>
          <a:prstGeom prst="rect">
            <a:avLst/>
          </a:prstGeom>
        </p:spPr>
        <p:txBody>
          <a:bodyPr wrap="none" lIns="0" tIns="0" rIns="0" bIns="0" anchor="b">
            <a:spAutoFit/>
          </a:bodyPr>
          <a:lstStyle/>
          <a:p>
            <a:pPr algn="ctr" defTabSz="822062" fontAlgn="base">
              <a:spcBef>
                <a:spcPct val="0"/>
              </a:spcBef>
              <a:spcAft>
                <a:spcPct val="0"/>
              </a:spcAft>
              <a:defRPr/>
            </a:pPr>
            <a:r>
              <a:rPr lang="en-US" sz="1400" kern="0" dirty="0">
                <a:ln>
                  <a:solidFill>
                    <a:srgbClr val="FFFFFF">
                      <a:alpha val="0"/>
                    </a:srgbClr>
                  </a:solidFill>
                </a:ln>
                <a:solidFill>
                  <a:sysClr val="windowText" lastClr="000000"/>
                </a:solidFill>
                <a:ea typeface="ＭＳ Ｐゴシック" charset="0"/>
              </a:rPr>
              <a:t>Lift-and-shift</a:t>
            </a:r>
          </a:p>
        </p:txBody>
      </p:sp>
      <p:sp>
        <p:nvSpPr>
          <p:cNvPr id="50" name="Rectangle 49"/>
          <p:cNvSpPr/>
          <p:nvPr/>
        </p:nvSpPr>
        <p:spPr>
          <a:xfrm>
            <a:off x="3631443" y="3128757"/>
            <a:ext cx="1032331" cy="215416"/>
          </a:xfrm>
          <a:prstGeom prst="rect">
            <a:avLst/>
          </a:prstGeom>
        </p:spPr>
        <p:txBody>
          <a:bodyPr wrap="none" lIns="0" tIns="0" rIns="0" bIns="0" anchor="b">
            <a:spAutoFit/>
          </a:bodyPr>
          <a:lstStyle/>
          <a:p>
            <a:pPr algn="ctr" defTabSz="822062" fontAlgn="base">
              <a:spcBef>
                <a:spcPct val="0"/>
              </a:spcBef>
              <a:spcAft>
                <a:spcPct val="0"/>
              </a:spcAft>
              <a:defRPr/>
            </a:pPr>
            <a:r>
              <a:rPr lang="en-US" sz="1400" kern="0" dirty="0">
                <a:ln>
                  <a:solidFill>
                    <a:srgbClr val="FFFFFF">
                      <a:alpha val="0"/>
                    </a:srgbClr>
                  </a:solidFill>
                </a:ln>
                <a:solidFill>
                  <a:sysClr val="windowText" lastClr="000000"/>
                </a:solidFill>
                <a:ea typeface="ＭＳ Ｐゴシック" charset="0"/>
              </a:rPr>
              <a:t>Lift-and-shift</a:t>
            </a:r>
          </a:p>
        </p:txBody>
      </p:sp>
    </p:spTree>
    <p:extLst>
      <p:ext uri="{BB962C8B-B14F-4D97-AF65-F5344CB8AC3E}">
        <p14:creationId xmlns:p14="http://schemas.microsoft.com/office/powerpoint/2010/main" val="2250842063"/>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 widely-used options today…</a:t>
            </a:r>
          </a:p>
        </p:txBody>
      </p:sp>
      <p:pic>
        <p:nvPicPr>
          <p:cNvPr id="5" name="Picture 122">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9611" y="1386503"/>
            <a:ext cx="10818034" cy="5243140"/>
          </a:xfrm>
          <a:prstGeom prst="rect">
            <a:avLst/>
          </a:prstGeom>
          <a:noFill/>
          <a:ln cap="flat">
            <a:noFill/>
          </a:ln>
        </p:spPr>
      </p:pic>
      <p:sp>
        <p:nvSpPr>
          <p:cNvPr id="6" name="Rounded Rectangular Callout 5"/>
          <p:cNvSpPr/>
          <p:nvPr/>
        </p:nvSpPr>
        <p:spPr bwMode="auto">
          <a:xfrm>
            <a:off x="9798387" y="3116310"/>
            <a:ext cx="1599996" cy="457142"/>
          </a:xfrm>
          <a:prstGeom prst="wedgeRoundRectCallout">
            <a:avLst>
              <a:gd name="adj1" fmla="val -45238"/>
              <a:gd name="adj2" fmla="val -122917"/>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r>
              <a:rPr lang="en-US" sz="1400" kern="0" dirty="0">
                <a:solidFill>
                  <a:srgbClr val="505050"/>
                </a:solidFill>
              </a:rPr>
              <a:t>Connect app to DC VM in Azure</a:t>
            </a:r>
          </a:p>
        </p:txBody>
      </p:sp>
      <p:sp>
        <p:nvSpPr>
          <p:cNvPr id="7" name="Rounded Rectangular Callout 6"/>
          <p:cNvSpPr/>
          <p:nvPr/>
        </p:nvSpPr>
        <p:spPr bwMode="auto">
          <a:xfrm>
            <a:off x="3246023" y="4182974"/>
            <a:ext cx="1599996" cy="457142"/>
          </a:xfrm>
          <a:prstGeom prst="wedgeRoundRectCallout">
            <a:avLst>
              <a:gd name="adj1" fmla="val -66666"/>
              <a:gd name="adj2" fmla="val 106250"/>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r>
              <a:rPr lang="en-US" sz="1400" kern="0" dirty="0">
                <a:solidFill>
                  <a:srgbClr val="505050"/>
                </a:solidFill>
              </a:rPr>
              <a:t>Connect app to on-premises DC</a:t>
            </a:r>
          </a:p>
        </p:txBody>
      </p:sp>
    </p:spTree>
    <p:extLst>
      <p:ext uri="{BB962C8B-B14F-4D97-AF65-F5344CB8AC3E}">
        <p14:creationId xmlns:p14="http://schemas.microsoft.com/office/powerpoint/2010/main" val="676530704"/>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agine a simpler alternative</a:t>
            </a:r>
          </a:p>
        </p:txBody>
      </p:sp>
      <p:sp>
        <p:nvSpPr>
          <p:cNvPr id="3" name="TextBox 2"/>
          <p:cNvSpPr txBox="1"/>
          <p:nvPr/>
        </p:nvSpPr>
        <p:spPr>
          <a:xfrm>
            <a:off x="274603" y="2049647"/>
            <a:ext cx="4571416" cy="3582481"/>
          </a:xfrm>
          <a:prstGeom prst="rect">
            <a:avLst/>
          </a:prstGeom>
          <a:noFill/>
        </p:spPr>
        <p:txBody>
          <a:bodyPr wrap="square" lIns="182857" tIns="146285" rIns="182857" bIns="146285" rtlCol="0" anchor="t" anchorCtr="0">
            <a:noAutofit/>
          </a:bodyPr>
          <a:lstStyle/>
          <a:p>
            <a:pPr defTabSz="914309">
              <a:lnSpc>
                <a:spcPct val="90000"/>
              </a:lnSpc>
              <a:spcAft>
                <a:spcPts val="600"/>
              </a:spcAft>
              <a:defRPr/>
            </a:pPr>
            <a:r>
              <a:rPr lang="en-US" sz="3200" kern="0" dirty="0">
                <a:solidFill>
                  <a:schemeClr val="tx2"/>
                </a:solidFill>
                <a:latin typeface="+mj-lt"/>
              </a:rPr>
              <a:t>Simple </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No domain controller deployment</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Forget about patching DCs</a:t>
            </a:r>
          </a:p>
          <a:p>
            <a:pPr defTabSz="914309">
              <a:lnSpc>
                <a:spcPct val="90000"/>
              </a:lnSpc>
              <a:spcAft>
                <a:spcPts val="600"/>
              </a:spcAft>
              <a:defRPr/>
            </a:pPr>
            <a:endParaRPr lang="en-US" sz="2000" kern="0" dirty="0">
              <a:gradFill>
                <a:gsLst>
                  <a:gs pos="2917">
                    <a:schemeClr val="tx1"/>
                  </a:gs>
                  <a:gs pos="30000">
                    <a:schemeClr val="tx1"/>
                  </a:gs>
                </a:gsLst>
                <a:lin ang="5400000" scaled="0"/>
              </a:gradFill>
              <a:latin typeface="+mj-lt"/>
            </a:endParaRPr>
          </a:p>
          <a:p>
            <a:pPr defTabSz="914309">
              <a:lnSpc>
                <a:spcPct val="90000"/>
              </a:lnSpc>
              <a:spcAft>
                <a:spcPts val="600"/>
              </a:spcAft>
              <a:defRPr/>
            </a:pPr>
            <a:r>
              <a:rPr lang="en-US" sz="3200" kern="0" dirty="0">
                <a:solidFill>
                  <a:schemeClr val="tx2"/>
                </a:solidFill>
                <a:latin typeface="+mj-lt"/>
              </a:rPr>
              <a:t>Compatible</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Fully compatible with Windows Server AD</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Your apps just keep working in         the cloud</a:t>
            </a:r>
          </a:p>
        </p:txBody>
      </p:sp>
      <p:sp>
        <p:nvSpPr>
          <p:cNvPr id="13" name="TextBox 12"/>
          <p:cNvSpPr txBox="1"/>
          <p:nvPr/>
        </p:nvSpPr>
        <p:spPr>
          <a:xfrm>
            <a:off x="8046010" y="2049647"/>
            <a:ext cx="4192829" cy="4013368"/>
          </a:xfrm>
          <a:prstGeom prst="rect">
            <a:avLst/>
          </a:prstGeom>
          <a:noFill/>
        </p:spPr>
        <p:txBody>
          <a:bodyPr wrap="square" lIns="182857" tIns="146285" rIns="182857" bIns="146285" rtlCol="0" anchor="t" anchorCtr="0">
            <a:noAutofit/>
          </a:bodyPr>
          <a:lstStyle>
            <a:defPPr>
              <a:defRPr lang="en-US"/>
            </a:defPPr>
            <a:lvl1pPr>
              <a:lnSpc>
                <a:spcPct val="90000"/>
              </a:lnSpc>
              <a:spcAft>
                <a:spcPts val="600"/>
              </a:spcAft>
              <a:defRPr sz="2000" b="1">
                <a:gradFill>
                  <a:gsLst>
                    <a:gs pos="2917">
                      <a:schemeClr val="tx1"/>
                    </a:gs>
                    <a:gs pos="30000">
                      <a:schemeClr val="tx1"/>
                    </a:gs>
                  </a:gsLst>
                  <a:lin ang="5400000" scaled="0"/>
                </a:gradFill>
                <a:latin typeface="+mj-lt"/>
              </a:defRPr>
            </a:lvl1pPr>
          </a:lstStyle>
          <a:p>
            <a:pPr defTabSz="914309">
              <a:defRPr/>
            </a:pPr>
            <a:r>
              <a:rPr lang="en-US" sz="3200" b="0" kern="0" dirty="0">
                <a:solidFill>
                  <a:schemeClr val="tx2"/>
                </a:solidFill>
              </a:rPr>
              <a:t>Available </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Highly available domain</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Auto-remediation</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Automatic backups</a:t>
            </a:r>
          </a:p>
          <a:p>
            <a:pPr defTabSz="914309">
              <a:defRPr/>
            </a:pPr>
            <a:endParaRPr lang="en-US" b="0" kern="0" dirty="0"/>
          </a:p>
          <a:p>
            <a:pPr defTabSz="914309">
              <a:defRPr/>
            </a:pPr>
            <a:r>
              <a:rPr lang="en-US" sz="3200" b="0" kern="0" dirty="0">
                <a:solidFill>
                  <a:schemeClr val="tx2"/>
                </a:solidFill>
              </a:rPr>
              <a:t>Cost-effective</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Pay-as-you-go</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No need for complicated networking (VPN/ExpressRoute)</a:t>
            </a:r>
          </a:p>
          <a:p>
            <a:pPr defTabSz="914309">
              <a:defRPr/>
            </a:pPr>
            <a:endParaRPr lang="en-US" kern="0" dirty="0"/>
          </a:p>
        </p:txBody>
      </p:sp>
      <p:grpSp>
        <p:nvGrpSpPr>
          <p:cNvPr id="8" name="Group 7"/>
          <p:cNvGrpSpPr/>
          <p:nvPr/>
        </p:nvGrpSpPr>
        <p:grpSpPr>
          <a:xfrm>
            <a:off x="4846139" y="2506788"/>
            <a:ext cx="2742850" cy="2145030"/>
            <a:chOff x="4846139" y="2506788"/>
            <a:chExt cx="2742850" cy="2145030"/>
          </a:xfrm>
        </p:grpSpPr>
        <p:sp>
          <p:nvSpPr>
            <p:cNvPr id="5" name="Cloud 4"/>
            <p:cNvSpPr/>
            <p:nvPr/>
          </p:nvSpPr>
          <p:spPr bwMode="auto">
            <a:xfrm>
              <a:off x="4846139" y="3128013"/>
              <a:ext cx="2742850" cy="1523805"/>
            </a:xfrm>
            <a:prstGeom prst="cloud">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pic>
          <p:nvPicPr>
            <p:cNvPr id="12" name="Picture 1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74590" y="2506788"/>
              <a:ext cx="2285949" cy="1512597"/>
            </a:xfrm>
            <a:prstGeom prst="rect">
              <a:avLst/>
            </a:prstGeom>
          </p:spPr>
        </p:pic>
      </p:grpSp>
    </p:spTree>
    <p:extLst>
      <p:ext uri="{BB962C8B-B14F-4D97-AF65-F5344CB8AC3E}">
        <p14:creationId xmlns:p14="http://schemas.microsoft.com/office/powerpoint/2010/main" val="3072153960"/>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0" name="Group 29"/>
          <p:cNvGrpSpPr/>
          <p:nvPr/>
        </p:nvGrpSpPr>
        <p:grpSpPr>
          <a:xfrm>
            <a:off x="532425" y="2023658"/>
            <a:ext cx="11400066" cy="2464204"/>
            <a:chOff x="865495" y="1489943"/>
            <a:chExt cx="11401521" cy="2464519"/>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80637" y="1744662"/>
              <a:ext cx="1663724" cy="1100877"/>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65837" y="1489943"/>
              <a:ext cx="1610314" cy="1610314"/>
            </a:xfrm>
            <a:prstGeom prst="rect">
              <a:avLst/>
            </a:prstGeom>
          </p:spPr>
        </p:pic>
        <p:sp>
          <p:nvSpPr>
            <p:cNvPr id="8" name="Rectangle 7"/>
            <p:cNvSpPr/>
            <p:nvPr/>
          </p:nvSpPr>
          <p:spPr bwMode="auto">
            <a:xfrm>
              <a:off x="977643" y="2049462"/>
              <a:ext cx="1646516" cy="1371600"/>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grpSp>
          <p:nvGrpSpPr>
            <p:cNvPr id="13" name="Group 12"/>
            <p:cNvGrpSpPr/>
            <p:nvPr/>
          </p:nvGrpSpPr>
          <p:grpSpPr>
            <a:xfrm>
              <a:off x="2086108" y="2735262"/>
              <a:ext cx="458002" cy="468411"/>
              <a:chOff x="2086108" y="3113989"/>
              <a:chExt cx="458002" cy="468411"/>
            </a:xfrm>
          </p:grpSpPr>
          <p:sp>
            <p:nvSpPr>
              <p:cNvPr id="9" name="Hexagon 8"/>
              <p:cNvSpPr/>
              <p:nvPr/>
            </p:nvSpPr>
            <p:spPr bwMode="auto">
              <a:xfrm>
                <a:off x="2086108" y="3181649"/>
                <a:ext cx="458002" cy="343501"/>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sp useBgFill="1">
            <p:nvSpPr>
              <p:cNvPr id="10" name="Rectangle 9"/>
              <p:cNvSpPr/>
              <p:nvPr/>
            </p:nvSpPr>
            <p:spPr bwMode="auto">
              <a:xfrm>
                <a:off x="2183664" y="3113989"/>
                <a:ext cx="267414" cy="4684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r>
                  <a:rPr lang="en-US" sz="2800" b="1" kern="0" dirty="0">
                    <a:solidFill>
                      <a:srgbClr val="00B0F0"/>
                    </a:solidFill>
                  </a:rPr>
                  <a:t>…</a:t>
                </a:r>
              </a:p>
              <a:p>
                <a:pPr algn="ctr" defTabSz="932379" fontAlgn="base">
                  <a:spcBef>
                    <a:spcPct val="0"/>
                  </a:spcBef>
                  <a:spcAft>
                    <a:spcPct val="0"/>
                  </a:spcAft>
                  <a:defRPr/>
                </a:pPr>
                <a:endParaRPr lang="en-US" sz="1000" b="1" kern="0" dirty="0">
                  <a:solidFill>
                    <a:srgbClr val="00B0F0"/>
                  </a:solidFill>
                </a:endParaRPr>
              </a:p>
            </p:txBody>
          </p:sp>
        </p:gr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79637" y="2049462"/>
              <a:ext cx="889046" cy="588277"/>
            </a:xfrm>
            <a:prstGeom prst="rect">
              <a:avLst/>
            </a:prstGeom>
          </p:spPr>
        </p:pic>
        <p:sp>
          <p:nvSpPr>
            <p:cNvPr id="12" name="TextBox 11"/>
            <p:cNvSpPr txBox="1"/>
            <p:nvPr/>
          </p:nvSpPr>
          <p:spPr>
            <a:xfrm>
              <a:off x="1263953" y="3040062"/>
              <a:ext cx="1518065" cy="489365"/>
            </a:xfrm>
            <a:prstGeom prst="rect">
              <a:avLst/>
            </a:prstGeom>
            <a:noFill/>
          </p:spPr>
          <p:txBody>
            <a:bodyPr wrap="square" lIns="182857" tIns="146285" rIns="182857" bIns="146285" rtlCol="0">
              <a:spAutoFit/>
            </a:bodyPr>
            <a:lstStyle/>
            <a:p>
              <a:pPr defTabSz="914309">
                <a:lnSpc>
                  <a:spcPct val="90000"/>
                </a:lnSpc>
                <a:spcAft>
                  <a:spcPts val="600"/>
                </a:spcAft>
                <a:defRPr/>
              </a:pPr>
              <a:r>
                <a:rPr lang="en-US" sz="1400" i="1" kern="0" dirty="0">
                  <a:gradFill>
                    <a:gsLst>
                      <a:gs pos="2917">
                        <a:schemeClr val="tx1"/>
                      </a:gs>
                      <a:gs pos="30000">
                        <a:schemeClr val="tx1"/>
                      </a:gs>
                    </a:gsLst>
                    <a:lin ang="5400000" scaled="0"/>
                  </a:gradFill>
                  <a:latin typeface="+mj-lt"/>
                </a:rPr>
                <a:t>Virtual Network</a:t>
              </a:r>
            </a:p>
          </p:txBody>
        </p:sp>
        <p:sp>
          <p:nvSpPr>
            <p:cNvPr id="15" name="TextBox 14"/>
            <p:cNvSpPr txBox="1"/>
            <p:nvPr/>
          </p:nvSpPr>
          <p:spPr>
            <a:xfrm>
              <a:off x="8135915" y="2439151"/>
              <a:ext cx="1587522" cy="683264"/>
            </a:xfrm>
            <a:prstGeom prst="rect">
              <a:avLst/>
            </a:prstGeom>
            <a:noFill/>
          </p:spPr>
          <p:txBody>
            <a:bodyPr wrap="square" lIns="182857" tIns="146285" rIns="182857" bIns="146285" rtlCol="0">
              <a:spAutoFit/>
            </a:bodyPr>
            <a:lstStyle/>
            <a:p>
              <a:pPr algn="ctr" defTabSz="914309">
                <a:lnSpc>
                  <a:spcPct val="90000"/>
                </a:lnSpc>
                <a:spcAft>
                  <a:spcPts val="600"/>
                </a:spcAft>
                <a:defRPr/>
              </a:pPr>
              <a:r>
                <a:rPr lang="en-US" sz="1400" i="1" kern="0" dirty="0">
                  <a:gradFill>
                    <a:gsLst>
                      <a:gs pos="2917">
                        <a:schemeClr val="tx1"/>
                      </a:gs>
                      <a:gs pos="30000">
                        <a:schemeClr val="tx1"/>
                      </a:gs>
                    </a:gsLst>
                    <a:lin ang="5400000" scaled="0"/>
                  </a:gradFill>
                  <a:latin typeface="+mj-lt"/>
                </a:rPr>
                <a:t>Azure AD Connect Sync</a:t>
              </a:r>
            </a:p>
          </p:txBody>
        </p:sp>
        <p:sp>
          <p:nvSpPr>
            <p:cNvPr id="16" name="TextBox 15"/>
            <p:cNvSpPr txBox="1"/>
            <p:nvPr/>
          </p:nvSpPr>
          <p:spPr>
            <a:xfrm>
              <a:off x="5713504" y="3437397"/>
              <a:ext cx="2314979" cy="517065"/>
            </a:xfrm>
            <a:prstGeom prst="rect">
              <a:avLst/>
            </a:prstGeom>
            <a:noFill/>
          </p:spPr>
          <p:txBody>
            <a:bodyPr wrap="square" lIns="182857" tIns="146285" rIns="182857" bIns="146285" rtlCol="0">
              <a:spAutoFit/>
            </a:bodyPr>
            <a:lstStyle/>
            <a:p>
              <a:pPr algn="ctr" defTabSz="914309">
                <a:lnSpc>
                  <a:spcPct val="90000"/>
                </a:lnSpc>
                <a:spcAft>
                  <a:spcPts val="600"/>
                </a:spcAft>
                <a:defRPr/>
              </a:pPr>
              <a:r>
                <a:rPr lang="en-US" sz="1600" kern="0" dirty="0">
                  <a:gradFill>
                    <a:gsLst>
                      <a:gs pos="2917">
                        <a:schemeClr val="tx1"/>
                      </a:gs>
                      <a:gs pos="30000">
                        <a:schemeClr val="tx1"/>
                      </a:gs>
                    </a:gsLst>
                    <a:lin ang="5400000" scaled="0"/>
                  </a:gradFill>
                  <a:latin typeface="+mj-lt"/>
                </a:rPr>
                <a:t>Azure AD tenant</a:t>
              </a:r>
            </a:p>
          </p:txBody>
        </p:sp>
        <p:sp>
          <p:nvSpPr>
            <p:cNvPr id="17" name="TextBox 16"/>
            <p:cNvSpPr txBox="1"/>
            <p:nvPr/>
          </p:nvSpPr>
          <p:spPr>
            <a:xfrm>
              <a:off x="9952037" y="3421062"/>
              <a:ext cx="2314979" cy="517065"/>
            </a:xfrm>
            <a:prstGeom prst="rect">
              <a:avLst/>
            </a:prstGeom>
            <a:noFill/>
          </p:spPr>
          <p:txBody>
            <a:bodyPr wrap="square" lIns="182857" tIns="146285" rIns="182857" bIns="146285" rtlCol="0">
              <a:spAutoFit/>
            </a:bodyPr>
            <a:lstStyle/>
            <a:p>
              <a:pPr algn="ctr" defTabSz="914309">
                <a:lnSpc>
                  <a:spcPct val="90000"/>
                </a:lnSpc>
                <a:spcAft>
                  <a:spcPts val="600"/>
                </a:spcAft>
                <a:defRPr/>
              </a:pPr>
              <a:r>
                <a:rPr lang="en-US" sz="1600" kern="0" dirty="0">
                  <a:gradFill>
                    <a:gsLst>
                      <a:gs pos="2917">
                        <a:schemeClr val="tx1"/>
                      </a:gs>
                      <a:gs pos="30000">
                        <a:schemeClr val="tx1"/>
                      </a:gs>
                    </a:gsLst>
                    <a:lin ang="5400000" scaled="0"/>
                  </a:gradFill>
                  <a:latin typeface="+mj-lt"/>
                </a:rPr>
                <a:t>On-premises AD</a:t>
              </a:r>
            </a:p>
          </p:txBody>
        </p:sp>
        <p:sp>
          <p:nvSpPr>
            <p:cNvPr id="18" name="TextBox 17"/>
            <p:cNvSpPr txBox="1"/>
            <p:nvPr/>
          </p:nvSpPr>
          <p:spPr>
            <a:xfrm>
              <a:off x="865495" y="3425797"/>
              <a:ext cx="2314979" cy="517065"/>
            </a:xfrm>
            <a:prstGeom prst="rect">
              <a:avLst/>
            </a:prstGeom>
            <a:noFill/>
          </p:spPr>
          <p:txBody>
            <a:bodyPr wrap="square" lIns="182857" tIns="146285" rIns="182857" bIns="146285" rtlCol="0">
              <a:spAutoFit/>
            </a:bodyPr>
            <a:lstStyle/>
            <a:p>
              <a:pPr algn="ctr" defTabSz="914309">
                <a:lnSpc>
                  <a:spcPct val="90000"/>
                </a:lnSpc>
                <a:spcAft>
                  <a:spcPts val="600"/>
                </a:spcAft>
                <a:defRPr/>
              </a:pPr>
              <a:r>
                <a:rPr lang="en-US" sz="1600" kern="0" dirty="0">
                  <a:gradFill>
                    <a:gsLst>
                      <a:gs pos="2917">
                        <a:schemeClr val="tx1"/>
                      </a:gs>
                      <a:gs pos="30000">
                        <a:schemeClr val="tx1"/>
                      </a:gs>
                    </a:gsLst>
                    <a:lin ang="5400000" scaled="0"/>
                  </a:gradFill>
                  <a:latin typeface="+mj-lt"/>
                </a:rPr>
                <a:t>Managed domain</a:t>
              </a:r>
            </a:p>
          </p:txBody>
        </p:sp>
        <p:grpSp>
          <p:nvGrpSpPr>
            <p:cNvPr id="24" name="Group 23"/>
            <p:cNvGrpSpPr/>
            <p:nvPr/>
          </p:nvGrpSpPr>
          <p:grpSpPr>
            <a:xfrm>
              <a:off x="8354111" y="1932021"/>
              <a:ext cx="956437" cy="250408"/>
              <a:chOff x="8354111" y="1932021"/>
              <a:chExt cx="956437" cy="250408"/>
            </a:xfrm>
          </p:grpSpPr>
          <p:sp>
            <p:nvSpPr>
              <p:cNvPr id="21" name="Freeform 20"/>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22" name="Freeform 21"/>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23" name="Freeform 22"/>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grpSp>
        <p:grpSp>
          <p:nvGrpSpPr>
            <p:cNvPr id="25" name="Group 24"/>
            <p:cNvGrpSpPr/>
            <p:nvPr/>
          </p:nvGrpSpPr>
          <p:grpSpPr>
            <a:xfrm>
              <a:off x="4134280" y="1941343"/>
              <a:ext cx="956437" cy="250408"/>
              <a:chOff x="8354111" y="1932021"/>
              <a:chExt cx="956437" cy="250408"/>
            </a:xfrm>
          </p:grpSpPr>
          <p:sp>
            <p:nvSpPr>
              <p:cNvPr id="26" name="Freeform 25"/>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27" name="Freeform 26"/>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28" name="Freeform 27"/>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grpSp>
      </p:grpSp>
      <p:sp>
        <p:nvSpPr>
          <p:cNvPr id="29" name="TextBox 28"/>
          <p:cNvSpPr txBox="1"/>
          <p:nvPr/>
        </p:nvSpPr>
        <p:spPr>
          <a:xfrm>
            <a:off x="550389" y="4751707"/>
            <a:ext cx="11884499" cy="1763521"/>
          </a:xfrm>
          <a:prstGeom prst="rect">
            <a:avLst/>
          </a:prstGeom>
          <a:noFill/>
        </p:spPr>
        <p:txBody>
          <a:bodyPr wrap="square" lIns="182857" tIns="146285" rIns="182857" bIns="146285" rtlCol="0">
            <a:spAutoFit/>
          </a:bodyPr>
          <a:lstStyle/>
          <a:p>
            <a:pPr defTabSz="914309">
              <a:lnSpc>
                <a:spcPct val="90000"/>
              </a:lnSpc>
              <a:spcAft>
                <a:spcPts val="600"/>
              </a:spcAft>
              <a:defRPr/>
            </a:pPr>
            <a:r>
              <a:rPr lang="en-US" sz="2600" kern="0" dirty="0">
                <a:solidFill>
                  <a:schemeClr val="tx2"/>
                </a:solidFill>
                <a:latin typeface="+mj-lt"/>
              </a:rPr>
              <a:t>Users, group memberships, and passwords are synced from your Azure AD tenant.</a:t>
            </a:r>
          </a:p>
          <a:p>
            <a:pPr defTabSz="914309">
              <a:lnSpc>
                <a:spcPct val="90000"/>
              </a:lnSpc>
              <a:spcAft>
                <a:spcPts val="600"/>
              </a:spcAft>
              <a:defRPr/>
            </a:pPr>
            <a:r>
              <a:rPr lang="en-US" sz="2000" kern="0" dirty="0">
                <a:gradFill>
                  <a:gsLst>
                    <a:gs pos="2917">
                      <a:schemeClr val="tx1"/>
                    </a:gs>
                    <a:gs pos="30000">
                      <a:schemeClr val="tx1"/>
                    </a:gs>
                  </a:gsLst>
                  <a:lin ang="5400000" scaled="0"/>
                </a:gradFill>
                <a:cs typeface="Segoe UI Semibold" panose="020B0702040204020203" pitchFamily="34" charset="0"/>
              </a:rPr>
              <a:t>Simple to deploy</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Cloud-only directories – no additional sync/replication software needed!</a:t>
            </a:r>
          </a:p>
          <a:p>
            <a:pPr marL="342846" lvl="1" indent="-342846" defTabSz="932594">
              <a:lnSpc>
                <a:spcPct val="90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Federated/synced directories – simply leverage your existing Azure AD Connect deployment</a:t>
            </a:r>
          </a:p>
        </p:txBody>
      </p:sp>
      <p:cxnSp>
        <p:nvCxnSpPr>
          <p:cNvPr id="34" name="Straight Arrow Connector 33"/>
          <p:cNvCxnSpPr/>
          <p:nvPr/>
        </p:nvCxnSpPr>
        <p:spPr>
          <a:xfrm flipH="1">
            <a:off x="2941262" y="2949411"/>
            <a:ext cx="2666660" cy="0"/>
          </a:xfrm>
          <a:prstGeom prst="straightConnector1">
            <a:avLst/>
          </a:prstGeom>
          <a:ln w="2857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7450342" y="2970046"/>
            <a:ext cx="2424236" cy="0"/>
          </a:xfrm>
          <a:prstGeom prst="straightConnector1">
            <a:avLst/>
          </a:prstGeom>
          <a:ln w="28575">
            <a:solidFill>
              <a:schemeClr val="tx1"/>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ounded Rectangular Callout 31"/>
          <p:cNvSpPr/>
          <p:nvPr/>
        </p:nvSpPr>
        <p:spPr bwMode="auto">
          <a:xfrm>
            <a:off x="3245516" y="3417948"/>
            <a:ext cx="2285708" cy="616488"/>
          </a:xfrm>
          <a:prstGeom prst="wedgeRoundRectCallout">
            <a:avLst>
              <a:gd name="adj1" fmla="val -35514"/>
              <a:gd name="adj2" fmla="val -80903"/>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r>
              <a:rPr lang="en-US" sz="1400" kern="0" dirty="0">
                <a:solidFill>
                  <a:srgbClr val="505050"/>
                </a:solidFill>
              </a:rPr>
              <a:t>Automatic background sync to your managed domain</a:t>
            </a:r>
          </a:p>
        </p:txBody>
      </p:sp>
      <p:sp>
        <p:nvSpPr>
          <p:cNvPr id="33" name="Rounded Rectangular Callout 32"/>
          <p:cNvSpPr/>
          <p:nvPr/>
        </p:nvSpPr>
        <p:spPr bwMode="auto">
          <a:xfrm>
            <a:off x="9096063" y="1261278"/>
            <a:ext cx="2413826" cy="616488"/>
          </a:xfrm>
          <a:prstGeom prst="wedgeRoundRectCallout">
            <a:avLst>
              <a:gd name="adj1" fmla="val -60992"/>
              <a:gd name="adj2" fmla="val 136488"/>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r>
              <a:rPr lang="en-US" sz="1400" kern="0" dirty="0">
                <a:solidFill>
                  <a:srgbClr val="505050"/>
                </a:solidFill>
              </a:rPr>
              <a:t>Sync users, groups, passwords, SIDs to Azure AD</a:t>
            </a:r>
          </a:p>
        </p:txBody>
      </p:sp>
      <p:sp>
        <p:nvSpPr>
          <p:cNvPr id="14" name="Title 13"/>
          <p:cNvSpPr>
            <a:spLocks noGrp="1"/>
          </p:cNvSpPr>
          <p:nvPr>
            <p:ph type="title"/>
          </p:nvPr>
        </p:nvSpPr>
        <p:spPr/>
        <p:txBody>
          <a:bodyPr/>
          <a:lstStyle/>
          <a:p>
            <a:r>
              <a:rPr lang="en-US" dirty="0"/>
              <a:t>Your managed domain is kept in-sync</a:t>
            </a:r>
            <a:br>
              <a:rPr lang="en-US" dirty="0"/>
            </a:br>
            <a:endParaRPr lang="en-US" dirty="0"/>
          </a:p>
        </p:txBody>
      </p:sp>
    </p:spTree>
    <p:extLst>
      <p:ext uri="{BB962C8B-B14F-4D97-AF65-F5344CB8AC3E}">
        <p14:creationId xmlns:p14="http://schemas.microsoft.com/office/powerpoint/2010/main" val="4045026133"/>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69733" y="924431"/>
            <a:ext cx="8190033" cy="4243088"/>
          </a:xfrm>
          <a:prstGeom prst="rect">
            <a:avLst/>
          </a:prstGeom>
        </p:spPr>
      </p:pic>
      <p:sp>
        <p:nvSpPr>
          <p:cNvPr id="3" name="Isosceles Triangle 2"/>
          <p:cNvSpPr/>
          <p:nvPr/>
        </p:nvSpPr>
        <p:spPr bwMode="auto">
          <a:xfrm>
            <a:off x="7741250" y="4042974"/>
            <a:ext cx="4723797" cy="2959041"/>
          </a:xfrm>
          <a:prstGeom prst="triangle">
            <a:avLst>
              <a:gd name="adj" fmla="val 100000"/>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sp>
        <p:nvSpPr>
          <p:cNvPr id="2" name="Title 1"/>
          <p:cNvSpPr>
            <a:spLocks noGrp="1"/>
          </p:cNvSpPr>
          <p:nvPr>
            <p:ph type="title"/>
          </p:nvPr>
        </p:nvSpPr>
        <p:spPr/>
        <p:txBody>
          <a:bodyPr/>
          <a:lstStyle/>
          <a:p>
            <a:r>
              <a:rPr lang="en-US" dirty="0"/>
              <a:t>Synced tenants</a:t>
            </a:r>
          </a:p>
        </p:txBody>
      </p:sp>
      <p:cxnSp>
        <p:nvCxnSpPr>
          <p:cNvPr id="176" name="Straight Arrow Connector 175"/>
          <p:cNvCxnSpPr/>
          <p:nvPr/>
        </p:nvCxnSpPr>
        <p:spPr>
          <a:xfrm flipH="1" flipV="1">
            <a:off x="9549991" y="4594008"/>
            <a:ext cx="567299" cy="1030188"/>
          </a:xfrm>
          <a:prstGeom prst="straightConnector1">
            <a:avLst/>
          </a:prstGeom>
          <a:noFill/>
          <a:ln w="28575" cap="flat" cmpd="sng" algn="ctr">
            <a:solidFill>
              <a:srgbClr val="92D050"/>
            </a:solidFill>
            <a:prstDash val="solid"/>
            <a:headEnd type="triangle"/>
            <a:tailEnd type="triangle" w="med" len="med"/>
          </a:ln>
          <a:effectLst/>
        </p:spPr>
      </p:cxnSp>
      <p:sp>
        <p:nvSpPr>
          <p:cNvPr id="180" name="Rectangle 179"/>
          <p:cNvSpPr/>
          <p:nvPr/>
        </p:nvSpPr>
        <p:spPr>
          <a:xfrm>
            <a:off x="9420165" y="6377106"/>
            <a:ext cx="1597267" cy="215416"/>
          </a:xfrm>
          <a:prstGeom prst="rect">
            <a:avLst/>
          </a:prstGeom>
          <a:ln>
            <a:noFill/>
          </a:ln>
        </p:spPr>
        <p:txBody>
          <a:bodyPr wrap="square" lIns="0" tIns="0" rIns="0" bIns="0" anchor="ctr">
            <a:spAutoFit/>
          </a:bodyPr>
          <a:lstStyle/>
          <a:p>
            <a:pPr algn="ctr" defTabSz="604683" fontAlgn="base">
              <a:spcBef>
                <a:spcPts val="794"/>
              </a:spcBef>
              <a:spcAft>
                <a:spcPct val="0"/>
              </a:spcAft>
              <a:defRPr/>
            </a:pPr>
            <a:r>
              <a:rPr lang="en-US" sz="1400" b="1" kern="0" dirty="0">
                <a:ln>
                  <a:solidFill>
                    <a:srgbClr val="FFFFFF">
                      <a:alpha val="0"/>
                    </a:srgbClr>
                  </a:solidFill>
                </a:ln>
                <a:solidFill>
                  <a:sysClr val="windowText" lastClr="000000"/>
                </a:solidFill>
                <a:ea typeface="ＭＳ Ｐゴシック" charset="0"/>
              </a:rPr>
              <a:t>Active Directory</a:t>
            </a:r>
          </a:p>
        </p:txBody>
      </p:sp>
      <p:pic>
        <p:nvPicPr>
          <p:cNvPr id="181" name="Picture 18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800926" y="5528924"/>
            <a:ext cx="906168" cy="599605"/>
          </a:xfrm>
          <a:prstGeom prst="rect">
            <a:avLst/>
          </a:prstGeom>
        </p:spPr>
      </p:pic>
      <p:pic>
        <p:nvPicPr>
          <p:cNvPr id="179" name="Picture 17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65055" y="6046290"/>
            <a:ext cx="1796999" cy="422393"/>
          </a:xfrm>
          <a:prstGeom prst="rect">
            <a:avLst/>
          </a:prstGeom>
        </p:spPr>
      </p:pic>
      <p:grpSp>
        <p:nvGrpSpPr>
          <p:cNvPr id="182" name="Group 181"/>
          <p:cNvGrpSpPr/>
          <p:nvPr/>
        </p:nvGrpSpPr>
        <p:grpSpPr>
          <a:xfrm>
            <a:off x="8781779" y="5005508"/>
            <a:ext cx="1092161" cy="839099"/>
            <a:chOff x="7260634" y="3622030"/>
            <a:chExt cx="1485603" cy="1141379"/>
          </a:xfrm>
        </p:grpSpPr>
        <p:sp>
          <p:nvSpPr>
            <p:cNvPr id="183" name="TextBox 182"/>
            <p:cNvSpPr txBox="1"/>
            <p:nvPr/>
          </p:nvSpPr>
          <p:spPr>
            <a:xfrm>
              <a:off x="7260634" y="3940511"/>
              <a:ext cx="1485603" cy="822898"/>
            </a:xfrm>
            <a:prstGeom prst="rect">
              <a:avLst/>
            </a:prstGeom>
            <a:noFill/>
          </p:spPr>
          <p:txBody>
            <a:bodyPr wrap="square" lIns="134447" tIns="107557" rIns="134447" bIns="107557" rtlCol="0">
              <a:spAutoFit/>
            </a:bodyPr>
            <a:lstStyle/>
            <a:p>
              <a:pPr algn="ctr" defTabSz="914309">
                <a:lnSpc>
                  <a:spcPct val="90000"/>
                </a:lnSpc>
                <a:spcAft>
                  <a:spcPts val="441"/>
                </a:spcAft>
                <a:defRPr/>
              </a:pPr>
              <a:r>
                <a:rPr lang="en-US" sz="1400" b="1" kern="0" dirty="0">
                  <a:solidFill>
                    <a:sysClr val="windowText" lastClr="000000"/>
                  </a:solidFill>
                </a:rPr>
                <a:t>Azure AD Connect</a:t>
              </a:r>
            </a:p>
          </p:txBody>
        </p:sp>
        <p:pic>
          <p:nvPicPr>
            <p:cNvPr id="184" name="Picture 183" descr="Adressbook 512x512.png"/>
            <p:cNvPicPr>
              <a:picLocks noChangeAspect="1"/>
            </p:cNvPicPr>
            <p:nvPr/>
          </p:nvPicPr>
          <p:blipFill>
            <a:blip r:embed="rId6" cstate="screen">
              <a:duotone>
                <a:prstClr val="black"/>
                <a:schemeClr val="tx1">
                  <a:tint val="45000"/>
                  <a:satMod val="400000"/>
                </a:schemeClr>
              </a:duotone>
              <a:extLst>
                <a:ext uri="{28A0092B-C50C-407E-A947-70E740481C1C}">
                  <a14:useLocalDpi xmlns:a14="http://schemas.microsoft.com/office/drawing/2010/main"/>
                </a:ext>
              </a:extLst>
            </a:blip>
            <a:srcRect/>
            <a:stretch>
              <a:fillRect/>
            </a:stretch>
          </p:blipFill>
          <p:spPr bwMode="auto">
            <a:xfrm>
              <a:off x="7850111" y="3622030"/>
              <a:ext cx="385592" cy="3855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187" name="Freeform 186"/>
          <p:cNvSpPr>
            <a:spLocks noEditPoints="1"/>
          </p:cNvSpPr>
          <p:nvPr/>
        </p:nvSpPr>
        <p:spPr bwMode="auto">
          <a:xfrm>
            <a:off x="10085455" y="5029226"/>
            <a:ext cx="327412" cy="220413"/>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191" name="Freeform 190"/>
          <p:cNvSpPr>
            <a:spLocks noEditPoints="1"/>
          </p:cNvSpPr>
          <p:nvPr/>
        </p:nvSpPr>
        <p:spPr bwMode="auto">
          <a:xfrm>
            <a:off x="9990104" y="4616945"/>
            <a:ext cx="279907" cy="23132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203" name="Freeform 202"/>
          <p:cNvSpPr>
            <a:spLocks noEditPoints="1"/>
          </p:cNvSpPr>
          <p:nvPr/>
        </p:nvSpPr>
        <p:spPr bwMode="auto">
          <a:xfrm>
            <a:off x="10361864" y="4618888"/>
            <a:ext cx="165289" cy="248433"/>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200" name="Rounded Rectangle 199"/>
          <p:cNvSpPr/>
          <p:nvPr/>
        </p:nvSpPr>
        <p:spPr bwMode="auto">
          <a:xfrm>
            <a:off x="9763437" y="6786768"/>
            <a:ext cx="2638930" cy="199628"/>
          </a:xfrm>
          <a:prstGeom prst="round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6" rIns="0" bIns="34286" numCol="1" rtlCol="0" anchor="ctr" anchorCtr="0" compatLnSpc="1">
            <a:prstTxWarp prst="textNoShape">
              <a:avLst/>
            </a:prstTxWarp>
          </a:bodyPr>
          <a:lstStyle/>
          <a:p>
            <a:pPr algn="ctr" defTabSz="685578" fontAlgn="base">
              <a:spcBef>
                <a:spcPct val="0"/>
              </a:spcBef>
              <a:spcAft>
                <a:spcPct val="0"/>
              </a:spcAft>
              <a:defRPr/>
            </a:pPr>
            <a:endParaRPr lang="en-US" sz="1471" kern="0" dirty="0">
              <a:gradFill>
                <a:gsLst>
                  <a:gs pos="0">
                    <a:srgbClr val="FFFFFF"/>
                  </a:gs>
                  <a:gs pos="100000">
                    <a:srgbClr val="FFFFFF"/>
                  </a:gs>
                </a:gsLst>
                <a:lin ang="5400000" scaled="0"/>
              </a:gradFill>
            </a:endParaRPr>
          </a:p>
        </p:txBody>
      </p:sp>
      <p:pic>
        <p:nvPicPr>
          <p:cNvPr id="201" name="Picture 200"/>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1702086" y="5309832"/>
            <a:ext cx="635331" cy="1612763"/>
          </a:xfrm>
          <a:prstGeom prst="rect">
            <a:avLst/>
          </a:prstGeom>
        </p:spPr>
      </p:pic>
      <p:pic>
        <p:nvPicPr>
          <p:cNvPr id="202" name="Picture 201"/>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780246" y="5029226"/>
            <a:ext cx="839155" cy="1899971"/>
          </a:xfrm>
          <a:prstGeom prst="rect">
            <a:avLst/>
          </a:prstGeom>
        </p:spPr>
      </p:pic>
    </p:spTree>
    <p:extLst>
      <p:ext uri="{BB962C8B-B14F-4D97-AF65-F5344CB8AC3E}">
        <p14:creationId xmlns:p14="http://schemas.microsoft.com/office/powerpoint/2010/main" val="83606529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5590555" cy="5173339"/>
          </a:xfrm>
        </p:spPr>
        <p:txBody>
          <a:bodyPr/>
          <a:lstStyle/>
          <a:p>
            <a:r>
              <a:rPr lang="en-US" sz="3200" dirty="0"/>
              <a:t>The Challenge</a:t>
            </a:r>
          </a:p>
          <a:p>
            <a:pPr marL="285750" lvl="1" indent="-285750">
              <a:lnSpc>
                <a:spcPct val="114000"/>
              </a:lnSpc>
              <a:buFont typeface="Arial" pitchFamily="34" charset="0"/>
              <a:buChar char="•"/>
            </a:pPr>
            <a:r>
              <a:rPr lang="en-US" sz="1600" dirty="0"/>
              <a:t>Applications need secure access to credentials</a:t>
            </a:r>
          </a:p>
          <a:p>
            <a:pPr marL="285750" lvl="1" indent="-285750">
              <a:lnSpc>
                <a:spcPct val="114000"/>
              </a:lnSpc>
              <a:buFont typeface="Arial" pitchFamily="34" charset="0"/>
              <a:buChar char="•"/>
            </a:pPr>
            <a:r>
              <a:rPr lang="en-US" sz="1600" dirty="0"/>
              <a:t>How to manage them without going into </a:t>
            </a:r>
            <a:r>
              <a:rPr lang="en-US" sz="1600" dirty="0" err="1"/>
              <a:t>KeyVault</a:t>
            </a:r>
            <a:endParaRPr lang="en-US" sz="1600" dirty="0"/>
          </a:p>
          <a:p>
            <a:r>
              <a:rPr lang="en-US" sz="3200" dirty="0"/>
              <a:t>Solution</a:t>
            </a:r>
          </a:p>
          <a:p>
            <a:pPr marL="285750" lvl="1" indent="-285750">
              <a:lnSpc>
                <a:spcPct val="114000"/>
              </a:lnSpc>
              <a:buFont typeface="Arial" pitchFamily="34" charset="0"/>
              <a:buChar char="•"/>
            </a:pPr>
            <a:r>
              <a:rPr lang="en-US" sz="1600" dirty="0"/>
              <a:t>A managed identity in Azure AD for Azure Services</a:t>
            </a:r>
          </a:p>
          <a:p>
            <a:pPr marL="285750" lvl="1" indent="-285750">
              <a:lnSpc>
                <a:spcPct val="114000"/>
              </a:lnSpc>
              <a:buFont typeface="Arial" pitchFamily="34" charset="0"/>
              <a:buChar char="•"/>
            </a:pPr>
            <a:r>
              <a:rPr lang="en-US" sz="1600" dirty="0"/>
              <a:t>Authenticate to any service that supports Azure AD Authentication</a:t>
            </a:r>
          </a:p>
          <a:p>
            <a:pPr marL="285750" lvl="1" indent="-285750">
              <a:lnSpc>
                <a:spcPct val="114000"/>
              </a:lnSpc>
              <a:buFont typeface="Arial" pitchFamily="34" charset="0"/>
              <a:buChar char="•"/>
            </a:pPr>
            <a:r>
              <a:rPr lang="en-US" sz="1600" dirty="0"/>
              <a:t>No credentials in code required and its FREE</a:t>
            </a:r>
          </a:p>
          <a:p>
            <a:r>
              <a:rPr lang="en-US" sz="3200" dirty="0"/>
              <a:t>How it works</a:t>
            </a:r>
          </a:p>
          <a:p>
            <a:pPr marL="285750" lvl="1" indent="-285750">
              <a:lnSpc>
                <a:spcPct val="114000"/>
              </a:lnSpc>
              <a:buFont typeface="Arial" pitchFamily="34" charset="0"/>
              <a:buChar char="•"/>
            </a:pPr>
            <a:r>
              <a:rPr lang="en-US" sz="1600" dirty="0"/>
              <a:t>Credentials automatically rolled</a:t>
            </a:r>
          </a:p>
          <a:p>
            <a:pPr marL="285750" lvl="1" indent="-285750">
              <a:lnSpc>
                <a:spcPct val="114000"/>
              </a:lnSpc>
              <a:buFont typeface="Arial" pitchFamily="34" charset="0"/>
              <a:buChar char="•"/>
            </a:pPr>
            <a:r>
              <a:rPr lang="en-US" sz="1600" dirty="0"/>
              <a:t>If service is deleted, so are credentials</a:t>
            </a:r>
            <a:endParaRPr lang="en-US" sz="1400" dirty="0"/>
          </a:p>
          <a:p>
            <a:r>
              <a:rPr lang="en-US" sz="3200" dirty="0"/>
              <a:t>Supported services </a:t>
            </a:r>
            <a:r>
              <a:rPr lang="en-US" sz="2000" dirty="0"/>
              <a:t>(as of Dec 2017)</a:t>
            </a:r>
            <a:endParaRPr lang="en-US" sz="3200" dirty="0"/>
          </a:p>
          <a:p>
            <a:pPr marL="285750" lvl="1" indent="-285750">
              <a:lnSpc>
                <a:spcPct val="114000"/>
              </a:lnSpc>
              <a:buFont typeface="Arial" pitchFamily="34" charset="0"/>
              <a:buChar char="•"/>
            </a:pPr>
            <a:r>
              <a:rPr lang="en-US" sz="1600" dirty="0"/>
              <a:t>VMs, App Service, Azure Functions </a:t>
            </a:r>
          </a:p>
        </p:txBody>
      </p:sp>
      <p:sp>
        <p:nvSpPr>
          <p:cNvPr id="2" name="Title 1"/>
          <p:cNvSpPr>
            <a:spLocks noGrp="1"/>
          </p:cNvSpPr>
          <p:nvPr>
            <p:ph type="title"/>
          </p:nvPr>
        </p:nvSpPr>
        <p:spPr/>
        <p:txBody>
          <a:bodyPr/>
          <a:lstStyle/>
          <a:p>
            <a:r>
              <a:rPr lang="en-US" dirty="0"/>
              <a:t>Managed Service Identity </a:t>
            </a:r>
            <a:r>
              <a:rPr lang="en-US" sz="2400" dirty="0"/>
              <a:t>(preview as of Dec 2017)</a:t>
            </a:r>
            <a:endParaRPr lang="en-US" dirty="0"/>
          </a:p>
        </p:txBody>
      </p:sp>
      <p:sp>
        <p:nvSpPr>
          <p:cNvPr id="13" name="Rectangle 12">
            <a:extLst>
              <a:ext uri="{FF2B5EF4-FFF2-40B4-BE49-F238E27FC236}">
                <a16:creationId xmlns:a16="http://schemas.microsoft.com/office/drawing/2014/main" id="{07455FAB-3145-4449-BA5C-067DBDF448AE}"/>
              </a:ext>
            </a:extLst>
          </p:cNvPr>
          <p:cNvSpPr/>
          <p:nvPr/>
        </p:nvSpPr>
        <p:spPr>
          <a:xfrm>
            <a:off x="273844" y="6469062"/>
            <a:ext cx="7162800" cy="369332"/>
          </a:xfrm>
          <a:prstGeom prst="rect">
            <a:avLst/>
          </a:prstGeom>
        </p:spPr>
        <p:txBody>
          <a:bodyPr wrap="square">
            <a:spAutoFit/>
          </a:bodyPr>
          <a:lstStyle/>
          <a:p>
            <a:r>
              <a:rPr lang="en-US" u="sng" dirty="0">
                <a:hlinkClick r:id="rId3"/>
              </a:rPr>
              <a:t>aka.ms/Azure/MSI</a:t>
            </a:r>
            <a:r>
              <a:rPr lang="en-US" u="sng" dirty="0"/>
              <a:t>  </a:t>
            </a:r>
          </a:p>
        </p:txBody>
      </p:sp>
      <p:pic>
        <p:nvPicPr>
          <p:cNvPr id="5" name="Picture 4">
            <a:extLst>
              <a:ext uri="{FF2B5EF4-FFF2-40B4-BE49-F238E27FC236}">
                <a16:creationId xmlns:a16="http://schemas.microsoft.com/office/drawing/2014/main" id="{55F18B4C-5A8E-4767-800A-3C63CB35F641}"/>
              </a:ext>
            </a:extLst>
          </p:cNvPr>
          <p:cNvPicPr>
            <a:picLocks noChangeAspect="1"/>
          </p:cNvPicPr>
          <p:nvPr/>
        </p:nvPicPr>
        <p:blipFill>
          <a:blip r:embed="rId4"/>
          <a:stretch>
            <a:fillRect/>
          </a:stretch>
        </p:blipFill>
        <p:spPr>
          <a:xfrm>
            <a:off x="5684044" y="1695420"/>
            <a:ext cx="6457997" cy="4086255"/>
          </a:xfrm>
          <a:prstGeom prst="rect">
            <a:avLst/>
          </a:prstGeom>
        </p:spPr>
      </p:pic>
    </p:spTree>
    <p:extLst>
      <p:ext uri="{BB962C8B-B14F-4D97-AF65-F5344CB8AC3E}">
        <p14:creationId xmlns:p14="http://schemas.microsoft.com/office/powerpoint/2010/main" val="4039897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par>
                          <p:cTn id="31" fill="hold">
                            <p:stCondLst>
                              <p:cond delay="0"/>
                            </p:stCondLst>
                            <p:childTnLst>
                              <p:par>
                                <p:cTn id="32" presetID="22" presetClass="entr" presetSubtype="8" fill="hold" nodeType="afterEffect">
                                  <p:stCondLst>
                                    <p:cond delay="0"/>
                                  </p:stCondLst>
                                  <p:childTnLst>
                                    <p:set>
                                      <p:cBhvr>
                                        <p:cTn id="33" dur="1" fill="hold">
                                          <p:stCondLst>
                                            <p:cond delay="0"/>
                                          </p:stCondLst>
                                        </p:cTn>
                                        <p:tgtEl>
                                          <p:spTgt spid="3">
                                            <p:txEl>
                                              <p:pRg st="8" end="8"/>
                                            </p:txEl>
                                          </p:spTgt>
                                        </p:tgtEl>
                                        <p:attrNameLst>
                                          <p:attrName>style.visibility</p:attrName>
                                        </p:attrNameLst>
                                      </p:cBhvr>
                                      <p:to>
                                        <p:strVal val="visible"/>
                                      </p:to>
                                    </p:set>
                                    <p:animEffect transition="in" filter="wipe(left)">
                                      <p:cBhvr>
                                        <p:cTn id="34" dur="500"/>
                                        <p:tgtEl>
                                          <p:spTgt spid="3">
                                            <p:txEl>
                                              <p:pRg st="8" end="8"/>
                                            </p:txEl>
                                          </p:spTgt>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wipe(left)">
                                      <p:cBhvr>
                                        <p:cTn id="38" dur="500"/>
                                        <p:tgtEl>
                                          <p:spTgt spid="3">
                                            <p:txEl>
                                              <p:pRg st="9" end="9"/>
                                            </p:txEl>
                                          </p:spTgt>
                                        </p:tgtEl>
                                      </p:cBhvr>
                                    </p:animEffect>
                                  </p:childTnLst>
                                </p:cTn>
                              </p:par>
                            </p:childTnLst>
                          </p:cTn>
                        </p:par>
                        <p:par>
                          <p:cTn id="39" fill="hold">
                            <p:stCondLst>
                              <p:cond delay="1000"/>
                            </p:stCondLst>
                            <p:childTnLst>
                              <p:par>
                                <p:cTn id="40" presetID="22" presetClass="entr" presetSubtype="8" fill="hold" nodeType="afterEffect">
                                  <p:stCondLst>
                                    <p:cond delay="0"/>
                                  </p:stCondLst>
                                  <p:childTnLst>
                                    <p:set>
                                      <p:cBhvr>
                                        <p:cTn id="41" dur="1" fill="hold">
                                          <p:stCondLst>
                                            <p:cond delay="0"/>
                                          </p:stCondLst>
                                        </p:cTn>
                                        <p:tgtEl>
                                          <p:spTgt spid="3">
                                            <p:txEl>
                                              <p:pRg st="10" end="10"/>
                                            </p:txEl>
                                          </p:spTgt>
                                        </p:tgtEl>
                                        <p:attrNameLst>
                                          <p:attrName>style.visibility</p:attrName>
                                        </p:attrNameLst>
                                      </p:cBhvr>
                                      <p:to>
                                        <p:strVal val="visible"/>
                                      </p:to>
                                    </p:set>
                                    <p:animEffect transition="in" filter="wipe(left)">
                                      <p:cBhvr>
                                        <p:cTn id="42" dur="500"/>
                                        <p:tgtEl>
                                          <p:spTgt spid="3">
                                            <p:txEl>
                                              <p:pRg st="10" end="10"/>
                                            </p:txEl>
                                          </p:spTgt>
                                        </p:tgtEl>
                                      </p:cBhvr>
                                    </p:animEffect>
                                  </p:childTnLst>
                                </p:cTn>
                              </p:par>
                            </p:childTnLst>
                          </p:cTn>
                        </p:par>
                        <p:par>
                          <p:cTn id="43" fill="hold">
                            <p:stCondLst>
                              <p:cond delay="1500"/>
                            </p:stCondLst>
                            <p:childTnLst>
                              <p:par>
                                <p:cTn id="44" presetID="22" presetClass="entr" presetSubtype="8" fill="hold" nodeType="afterEffect">
                                  <p:stCondLst>
                                    <p:cond delay="0"/>
                                  </p:stCondLst>
                                  <p:childTnLst>
                                    <p:set>
                                      <p:cBhvr>
                                        <p:cTn id="45" dur="1" fill="hold">
                                          <p:stCondLst>
                                            <p:cond delay="0"/>
                                          </p:stCondLst>
                                        </p:cTn>
                                        <p:tgtEl>
                                          <p:spTgt spid="3">
                                            <p:txEl>
                                              <p:pRg st="11" end="11"/>
                                            </p:txEl>
                                          </p:spTgt>
                                        </p:tgtEl>
                                        <p:attrNameLst>
                                          <p:attrName>style.visibility</p:attrName>
                                        </p:attrNameLst>
                                      </p:cBhvr>
                                      <p:to>
                                        <p:strVal val="visible"/>
                                      </p:to>
                                    </p:set>
                                    <p:animEffect transition="in" filter="wipe(left)">
                                      <p:cBhvr>
                                        <p:cTn id="46"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Graph API</a:t>
            </a:r>
          </a:p>
        </p:txBody>
      </p:sp>
      <p:sp>
        <p:nvSpPr>
          <p:cNvPr id="7" name="Rectangle 6"/>
          <p:cNvSpPr/>
          <p:nvPr/>
        </p:nvSpPr>
        <p:spPr>
          <a:xfrm>
            <a:off x="5425066" y="6556930"/>
            <a:ext cx="2727221" cy="36933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aka.ms/Azure/</a:t>
            </a:r>
            <a:r>
              <a:rPr kumimoji="0" lang="en-US" sz="1800" b="0" i="0" u="none" strike="noStrike" kern="1200" cap="none" spc="0" normalizeH="0" baseline="0" noProof="0" dirty="0" err="1">
                <a:ln>
                  <a:noFill/>
                </a:ln>
                <a:solidFill>
                  <a:srgbClr val="505050"/>
                </a:solidFill>
                <a:effectLst/>
                <a:uLnTx/>
                <a:uFillTx/>
                <a:latin typeface="Segoe UI"/>
                <a:ea typeface="+mn-ea"/>
                <a:cs typeface="+mn-cs"/>
                <a:hlinkClick r:id="rId3"/>
              </a:rPr>
              <a:t>GraphAPI</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2" name="Rectangle 1"/>
          <p:cNvSpPr/>
          <p:nvPr/>
        </p:nvSpPr>
        <p:spPr>
          <a:xfrm>
            <a:off x="9036844" y="6551375"/>
            <a:ext cx="2988510" cy="36933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panose="020F0502020204030204" pitchFamily="34" charset="0"/>
                <a:ea typeface="+mn-ea"/>
                <a:cs typeface="+mn-cs"/>
                <a:hlinkClick r:id="rId4"/>
              </a:rPr>
              <a:t>https://resources.azure.com/</a:t>
            </a:r>
            <a:r>
              <a:rPr kumimoji="0" lang="en-US" sz="1800" b="0" i="0" u="none" strike="noStrike" kern="1200" cap="none" spc="0" normalizeH="0" baseline="0" noProof="0" dirty="0">
                <a:ln>
                  <a:noFill/>
                </a:ln>
                <a:solidFill>
                  <a:srgbClr val="505050"/>
                </a:solidFill>
                <a:effectLst/>
                <a:uLnTx/>
                <a:uFillTx/>
                <a:latin typeface="Calibri" panose="020F0502020204030204" pitchFamily="34" charset="0"/>
                <a:ea typeface="+mn-ea"/>
                <a:cs typeface="+mn-cs"/>
              </a:rPr>
              <a:t> </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3" name="Picture 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45844" y="1135062"/>
            <a:ext cx="7364710" cy="5181600"/>
          </a:xfrm>
          <a:prstGeom prst="rect">
            <a:avLst/>
          </a:prstGeom>
          <a:effectLst/>
          <a:scene3d>
            <a:camera prst="orthographicFront"/>
            <a:lightRig rig="threePt" dir="t"/>
          </a:scene3d>
          <a:sp3d prstMaterial="matte"/>
        </p:spPr>
      </p:pic>
      <p:sp>
        <p:nvSpPr>
          <p:cNvPr id="8" name="Text Placeholder 3"/>
          <p:cNvSpPr txBox="1">
            <a:spLocks/>
          </p:cNvSpPr>
          <p:nvPr/>
        </p:nvSpPr>
        <p:spPr>
          <a:xfrm>
            <a:off x="366169" y="1212851"/>
            <a:ext cx="3946275" cy="5408611"/>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94" rtl="0" eaLnBrk="1" fontAlgn="auto" latinLnBrk="0" hangingPunct="1">
              <a:lnSpc>
                <a:spcPct val="114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RESTful API</a:t>
            </a:r>
          </a:p>
          <a:p>
            <a:pPr marL="285750" marR="0" lvl="0" indent="-285750" algn="l" defTabSz="932594" rtl="0" eaLnBrk="1" fontAlgn="auto" latinLnBrk="0" hangingPunct="1">
              <a:lnSpc>
                <a:spcPct val="114000"/>
              </a:lnSpc>
              <a:spcBef>
                <a:spcPct val="20000"/>
              </a:spcBef>
              <a:spcAft>
                <a:spcPts val="0"/>
              </a:spcAft>
              <a:buClrTx/>
              <a:buSzPct val="90000"/>
              <a:buFont typeface="Arial" pitchFamily="34" charset="0"/>
              <a:buChar char="•"/>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reate, read, search, update, and delete local accounts</a:t>
            </a:r>
          </a:p>
          <a:p>
            <a:pPr marL="285750" marR="0" lvl="0" indent="-285750" algn="l" defTabSz="932594" rtl="0" eaLnBrk="1" fontAlgn="auto" latinLnBrk="0" hangingPunct="1">
              <a:lnSpc>
                <a:spcPct val="114000"/>
              </a:lnSpc>
              <a:spcBef>
                <a:spcPct val="20000"/>
              </a:spcBef>
              <a:spcAft>
                <a:spcPts val="0"/>
              </a:spcAft>
              <a:buClrTx/>
              <a:buSzPct val="90000"/>
              <a:buFont typeface="Arial" pitchFamily="34" charset="0"/>
              <a:buChar char="•"/>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OData 3.0 compliant service</a:t>
            </a:r>
          </a:p>
          <a:p>
            <a:pPr marL="0" marR="0" lvl="0" indent="0" algn="l" defTabSz="932594" rtl="0" eaLnBrk="1" fontAlgn="auto" latinLnBrk="0" hangingPunct="1">
              <a:lnSpc>
                <a:spcPct val="114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Use cases</a:t>
            </a:r>
          </a:p>
          <a:p>
            <a:pPr marL="285750" marR="0" lvl="1" indent="-285750" algn="l" defTabSz="932594" rtl="0" eaLnBrk="1" fontAlgn="auto" latinLnBrk="0" hangingPunct="1">
              <a:lnSpc>
                <a:spcPct val="114000"/>
              </a:lnSpc>
              <a:spcBef>
                <a:spcPct val="20000"/>
              </a:spcBef>
              <a:spcAft>
                <a:spcPts val="0"/>
              </a:spcAft>
              <a:buClrTx/>
              <a:buSzPct val="90000"/>
              <a:buFont typeface="Arial" pitchFamily="34" charset="0"/>
              <a:buChar char="•"/>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Migration</a:t>
            </a:r>
          </a:p>
          <a:p>
            <a:pPr marL="285750" marR="0" lvl="1" indent="-285750" algn="l" defTabSz="932594" rtl="0" eaLnBrk="1" fontAlgn="auto" latinLnBrk="0" hangingPunct="1">
              <a:lnSpc>
                <a:spcPct val="114000"/>
              </a:lnSpc>
              <a:spcBef>
                <a:spcPct val="20000"/>
              </a:spcBef>
              <a:spcAft>
                <a:spcPts val="0"/>
              </a:spcAft>
              <a:buClrTx/>
              <a:buSzPct val="90000"/>
              <a:buFont typeface="Arial" pitchFamily="34" charset="0"/>
              <a:buChar char="•"/>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Profile lookup and update</a:t>
            </a:r>
          </a:p>
          <a:p>
            <a:pPr marL="285750" marR="0" lvl="1" indent="-285750" algn="l" defTabSz="932594" rtl="0" eaLnBrk="1" fontAlgn="auto" latinLnBrk="0" hangingPunct="1">
              <a:lnSpc>
                <a:spcPct val="114000"/>
              </a:lnSpc>
              <a:spcBef>
                <a:spcPct val="20000"/>
              </a:spcBef>
              <a:spcAft>
                <a:spcPts val="0"/>
              </a:spcAft>
              <a:buClrTx/>
              <a:buSzPct val="90000"/>
              <a:buFont typeface="Arial" pitchFamily="34" charset="0"/>
              <a:buChar char="•"/>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all center/back office apps</a:t>
            </a:r>
          </a:p>
          <a:p>
            <a:pPr marL="0" marR="0" lvl="0" indent="0" algn="l" defTabSz="932594" rtl="0" eaLnBrk="1" fontAlgn="auto" latinLnBrk="0" hangingPunct="1">
              <a:lnSpc>
                <a:spcPct val="114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User object model</a:t>
            </a:r>
          </a:p>
          <a:p>
            <a:pPr marL="285750" marR="0" lvl="1" indent="-285750" algn="l" defTabSz="932594" rtl="0" eaLnBrk="1" fontAlgn="auto" latinLnBrk="0" hangingPunct="1">
              <a:lnSpc>
                <a:spcPct val="114000"/>
              </a:lnSpc>
              <a:spcBef>
                <a:spcPct val="20000"/>
              </a:spcBef>
              <a:spcAft>
                <a:spcPts val="0"/>
              </a:spcAft>
              <a:buClrTx/>
              <a:buSzPct val="90000"/>
              <a:buFont typeface="Arial" pitchFamily="34" charset="0"/>
              <a:buChar char="•"/>
              <a:tabLst/>
              <a:defRPr/>
            </a:pPr>
            <a:r>
              <a:rPr kumimoji="0" lang="en-US" sz="16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userPrincipalName</a:t>
            </a:r>
            <a:endPar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285750" marR="0" lvl="1" indent="-285750" algn="l" defTabSz="932594" rtl="0" eaLnBrk="1" fontAlgn="auto" latinLnBrk="0" hangingPunct="1">
              <a:lnSpc>
                <a:spcPct val="114000"/>
              </a:lnSpc>
              <a:spcBef>
                <a:spcPct val="20000"/>
              </a:spcBef>
              <a:spcAft>
                <a:spcPts val="0"/>
              </a:spcAft>
              <a:buClrTx/>
              <a:buSzPct val="90000"/>
              <a:buFont typeface="Arial" pitchFamily="34" charset="0"/>
              <a:buChar char="•"/>
              <a:tabLst/>
              <a:defRPr/>
            </a:pPr>
            <a:r>
              <a:rPr kumimoji="0" lang="en-US" sz="16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signInNames</a:t>
            </a:r>
            <a:endPar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285750" marR="0" lvl="1" indent="-285750" algn="l" defTabSz="932594" rtl="0" eaLnBrk="1" fontAlgn="auto" latinLnBrk="0" hangingPunct="1">
              <a:lnSpc>
                <a:spcPct val="114000"/>
              </a:lnSpc>
              <a:spcBef>
                <a:spcPct val="20000"/>
              </a:spcBef>
              <a:spcAft>
                <a:spcPts val="0"/>
              </a:spcAft>
              <a:buClrTx/>
              <a:buSzPct val="90000"/>
              <a:buFont typeface="Arial" pitchFamily="34" charset="0"/>
              <a:buChar char="•"/>
              <a:tabLst/>
              <a:defRPr/>
            </a:pPr>
            <a:r>
              <a:rPr kumimoji="0" lang="en-US" sz="16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creationType</a:t>
            </a:r>
            <a:endPar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285750" marR="0" lvl="1" indent="-285750" algn="l" defTabSz="932594" rtl="0" eaLnBrk="1" fontAlgn="auto" latinLnBrk="0" hangingPunct="1">
              <a:lnSpc>
                <a:spcPct val="114000"/>
              </a:lnSpc>
              <a:spcBef>
                <a:spcPct val="20000"/>
              </a:spcBef>
              <a:spcAft>
                <a:spcPts val="0"/>
              </a:spcAft>
              <a:buClrTx/>
              <a:buSzPct val="90000"/>
              <a:buFont typeface="Arial" pitchFamily="34" charset="0"/>
              <a:buChar char="•"/>
              <a:tabLst/>
              <a:defRPr/>
            </a:pPr>
            <a:r>
              <a:rPr kumimoji="0" lang="en-US" sz="16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passwordPolicies</a:t>
            </a: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t>
            </a:r>
            <a:r>
              <a:rPr kumimoji="0" lang="en-US" sz="16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linkedAccount</a:t>
            </a: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Facebook, Facebook </a:t>
            </a:r>
            <a:r>
              <a:rPr kumimoji="0" lang="en-US" sz="16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UserID</a:t>
            </a:r>
            <a:endPar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285750" marR="0" lvl="1" indent="-285750" algn="l" defTabSz="932594" rtl="0" eaLnBrk="1" fontAlgn="auto" latinLnBrk="0" hangingPunct="1">
              <a:lnSpc>
                <a:spcPct val="114000"/>
              </a:lnSpc>
              <a:spcBef>
                <a:spcPct val="20000"/>
              </a:spcBef>
              <a:spcAft>
                <a:spcPts val="0"/>
              </a:spcAft>
              <a:buClrTx/>
              <a:buSzPct val="90000"/>
              <a:buFont typeface="Arial" pitchFamily="34" charset="0"/>
              <a:buChar char="•"/>
              <a:tabLst/>
              <a:defRPr/>
            </a:pPr>
            <a:r>
              <a:rPr kumimoji="0" lang="en-US" sz="16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OtherMails</a:t>
            </a:r>
            <a:endPar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285750" marR="0" lvl="1" indent="-285750" algn="l" defTabSz="932594" rtl="0" eaLnBrk="1" fontAlgn="auto" latinLnBrk="0" hangingPunct="1">
              <a:lnSpc>
                <a:spcPct val="114000"/>
              </a:lnSpc>
              <a:spcBef>
                <a:spcPct val="20000"/>
              </a:spcBef>
              <a:spcAft>
                <a:spcPts val="0"/>
              </a:spcAft>
              <a:buClrTx/>
              <a:buSzPct val="90000"/>
              <a:buFont typeface="Arial" pitchFamily="34" charset="0"/>
              <a:buChar char="•"/>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ustom attributes, </a:t>
            </a:r>
            <a:r>
              <a:rPr kumimoji="0" lang="en-US" sz="16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etc</a:t>
            </a:r>
            <a:endPar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0" marR="0" lvl="0" indent="0" algn="l" defTabSz="932594" rtl="0" eaLnBrk="1" fontAlgn="auto" latinLnBrk="0" hangingPunct="1">
              <a:lnSpc>
                <a:spcPct val="114000"/>
              </a:lnSpc>
              <a:spcBef>
                <a:spcPct val="2000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78D7"/>
              </a:solidFill>
              <a:effectLst/>
              <a:uLnTx/>
              <a:uFillTx/>
              <a:latin typeface="Segoe UI Light"/>
              <a:ea typeface="+mn-ea"/>
              <a:cs typeface="+mn-cs"/>
            </a:endParaRPr>
          </a:p>
        </p:txBody>
      </p:sp>
    </p:spTree>
    <p:extLst>
      <p:ext uri="{BB962C8B-B14F-4D97-AF65-F5344CB8AC3E}">
        <p14:creationId xmlns:p14="http://schemas.microsoft.com/office/powerpoint/2010/main" val="1049264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5590555" cy="5181290"/>
          </a:xfrm>
        </p:spPr>
        <p:txBody>
          <a:bodyPr/>
          <a:lstStyle/>
          <a:p>
            <a:r>
              <a:rPr lang="en-US" sz="3200" dirty="0"/>
              <a:t>Enterprise Agreement (EA)</a:t>
            </a:r>
          </a:p>
          <a:p>
            <a:pPr marL="285750" lvl="1" indent="-285750">
              <a:lnSpc>
                <a:spcPct val="114000"/>
              </a:lnSpc>
              <a:buFont typeface="Arial" pitchFamily="34" charset="0"/>
              <a:buChar char="•"/>
            </a:pPr>
            <a:r>
              <a:rPr lang="en-US" sz="1600" dirty="0"/>
              <a:t>Enterprise, Department Administrators</a:t>
            </a:r>
          </a:p>
          <a:p>
            <a:pPr marL="285750" lvl="1" indent="-285750">
              <a:lnSpc>
                <a:spcPct val="114000"/>
              </a:lnSpc>
              <a:buFont typeface="Arial" pitchFamily="34" charset="0"/>
              <a:buChar char="•"/>
            </a:pPr>
            <a:r>
              <a:rPr lang="en-US" sz="1600" dirty="0"/>
              <a:t>Account Owner and Service Administrator</a:t>
            </a:r>
          </a:p>
          <a:p>
            <a:r>
              <a:rPr lang="en-US" sz="3200" dirty="0"/>
              <a:t>Azure Active Directory</a:t>
            </a:r>
          </a:p>
          <a:p>
            <a:pPr marL="285750" lvl="1" indent="-285750">
              <a:lnSpc>
                <a:spcPct val="114000"/>
              </a:lnSpc>
              <a:buFont typeface="Arial" pitchFamily="34" charset="0"/>
              <a:buChar char="•"/>
            </a:pPr>
            <a:r>
              <a:rPr lang="en-US" sz="1600" dirty="0"/>
              <a:t>User</a:t>
            </a:r>
          </a:p>
          <a:p>
            <a:pPr marL="285750" lvl="1" indent="-285750">
              <a:lnSpc>
                <a:spcPct val="114000"/>
              </a:lnSpc>
              <a:buFont typeface="Arial" pitchFamily="34" charset="0"/>
              <a:buChar char="•"/>
            </a:pPr>
            <a:r>
              <a:rPr lang="en-US" sz="1600" dirty="0"/>
              <a:t>Global Administrator</a:t>
            </a:r>
          </a:p>
          <a:p>
            <a:pPr marL="285750" lvl="1" indent="-285750">
              <a:lnSpc>
                <a:spcPct val="114000"/>
              </a:lnSpc>
              <a:buFont typeface="Arial" pitchFamily="34" charset="0"/>
              <a:buChar char="•"/>
            </a:pPr>
            <a:r>
              <a:rPr lang="en-US" sz="1600" dirty="0"/>
              <a:t>Limited administrator  </a:t>
            </a:r>
            <a:r>
              <a:rPr lang="en-US" sz="1400" i="1" dirty="0">
                <a:hlinkClick r:id="rId3"/>
              </a:rPr>
              <a:t>read more</a:t>
            </a:r>
            <a:endParaRPr lang="en-US" sz="1600" dirty="0"/>
          </a:p>
          <a:p>
            <a:r>
              <a:rPr lang="en-US" sz="3200" dirty="0"/>
              <a:t>Role Based Access Control </a:t>
            </a:r>
          </a:p>
          <a:p>
            <a:pPr marL="285750" lvl="1" indent="-285750">
              <a:lnSpc>
                <a:spcPct val="114000"/>
              </a:lnSpc>
              <a:buFont typeface="Arial" pitchFamily="34" charset="0"/>
              <a:buChar char="•"/>
            </a:pPr>
            <a:r>
              <a:rPr lang="en-US" sz="1600" dirty="0"/>
              <a:t>Owner, Contributor, Reader</a:t>
            </a:r>
          </a:p>
          <a:p>
            <a:pPr marL="285750" lvl="1" indent="-285750">
              <a:lnSpc>
                <a:spcPct val="114000"/>
              </a:lnSpc>
              <a:buFont typeface="Arial" pitchFamily="34" charset="0"/>
              <a:buChar char="•"/>
            </a:pPr>
            <a:r>
              <a:rPr lang="en-US" sz="1600" dirty="0"/>
              <a:t>Built-in or Custom Roles</a:t>
            </a:r>
          </a:p>
          <a:p>
            <a:pPr marL="285750" lvl="1" indent="-285750">
              <a:lnSpc>
                <a:spcPct val="114000"/>
              </a:lnSpc>
              <a:buFont typeface="Arial" pitchFamily="34" charset="0"/>
              <a:buChar char="•"/>
            </a:pPr>
            <a:r>
              <a:rPr lang="en-US" sz="1600" dirty="0"/>
              <a:t>Scope | Subscription, Resource Group or resource</a:t>
            </a:r>
            <a:endParaRPr lang="en-US" sz="1400" dirty="0"/>
          </a:p>
          <a:p>
            <a:r>
              <a:rPr lang="en-US" sz="3200" dirty="0"/>
              <a:t>Active Directory</a:t>
            </a:r>
          </a:p>
          <a:p>
            <a:pPr marL="285750" lvl="1" indent="-285750">
              <a:lnSpc>
                <a:spcPct val="114000"/>
              </a:lnSpc>
              <a:buFont typeface="Arial" pitchFamily="34" charset="0"/>
              <a:buChar char="•"/>
            </a:pPr>
            <a:r>
              <a:rPr lang="en-US" sz="1600" dirty="0"/>
              <a:t>Use synched or federated users/groups</a:t>
            </a:r>
          </a:p>
        </p:txBody>
      </p:sp>
      <p:sp>
        <p:nvSpPr>
          <p:cNvPr id="2" name="Title 1"/>
          <p:cNvSpPr>
            <a:spLocks noGrp="1"/>
          </p:cNvSpPr>
          <p:nvPr>
            <p:ph type="title"/>
          </p:nvPr>
        </p:nvSpPr>
        <p:spPr/>
        <p:txBody>
          <a:bodyPr/>
          <a:lstStyle/>
          <a:p>
            <a:r>
              <a:rPr lang="en-US" dirty="0"/>
              <a:t>Administration</a:t>
            </a:r>
          </a:p>
        </p:txBody>
      </p:sp>
      <p:sp>
        <p:nvSpPr>
          <p:cNvPr id="13" name="Rectangle 12">
            <a:extLst>
              <a:ext uri="{FF2B5EF4-FFF2-40B4-BE49-F238E27FC236}">
                <a16:creationId xmlns:a16="http://schemas.microsoft.com/office/drawing/2014/main" id="{07455FAB-3145-4449-BA5C-067DBDF448AE}"/>
              </a:ext>
            </a:extLst>
          </p:cNvPr>
          <p:cNvSpPr/>
          <p:nvPr/>
        </p:nvSpPr>
        <p:spPr>
          <a:xfrm>
            <a:off x="273844" y="6469062"/>
            <a:ext cx="7162800" cy="369332"/>
          </a:xfrm>
          <a:prstGeom prst="rect">
            <a:avLst/>
          </a:prstGeom>
        </p:spPr>
        <p:txBody>
          <a:bodyPr wrap="square">
            <a:spAutoFit/>
          </a:bodyPr>
          <a:lstStyle/>
          <a:p>
            <a:r>
              <a:rPr lang="en-US" u="sng" dirty="0">
                <a:hlinkClick r:id="rId4"/>
              </a:rPr>
              <a:t>aka.ms/Azure/Administration</a:t>
            </a:r>
            <a:r>
              <a:rPr lang="en-US" dirty="0"/>
              <a:t>      </a:t>
            </a:r>
            <a:r>
              <a:rPr lang="en-US" u="sng" dirty="0">
                <a:hlinkClick r:id="rId5"/>
              </a:rPr>
              <a:t>aka.ms/Azure/RBAC</a:t>
            </a:r>
            <a:r>
              <a:rPr lang="en-US" u="sng" dirty="0"/>
              <a:t>  </a:t>
            </a:r>
          </a:p>
        </p:txBody>
      </p:sp>
      <p:pic>
        <p:nvPicPr>
          <p:cNvPr id="4" name="Picture 3">
            <a:extLst>
              <a:ext uri="{FF2B5EF4-FFF2-40B4-BE49-F238E27FC236}">
                <a16:creationId xmlns:a16="http://schemas.microsoft.com/office/drawing/2014/main" id="{103EB85C-51B4-4287-AF8C-4B1D4689D0A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12377" y="495770"/>
            <a:ext cx="5200688" cy="6157958"/>
          </a:xfrm>
          <a:prstGeom prst="rect">
            <a:avLst/>
          </a:prstGeom>
        </p:spPr>
      </p:pic>
    </p:spTree>
    <p:extLst>
      <p:ext uri="{BB962C8B-B14F-4D97-AF65-F5344CB8AC3E}">
        <p14:creationId xmlns:p14="http://schemas.microsoft.com/office/powerpoint/2010/main" val="394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par>
                          <p:cTn id="15" fill="hold">
                            <p:stCondLst>
                              <p:cond delay="0"/>
                            </p:stCondLst>
                            <p:childTnLst>
                              <p:par>
                                <p:cTn id="16" presetID="22" presetClass="entr" presetSubtype="8" fill="hold" nodeType="after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wipe(left)">
                                      <p:cBhvr>
                                        <p:cTn id="18" dur="500"/>
                                        <p:tgtEl>
                                          <p:spTgt spid="3">
                                            <p:txEl>
                                              <p:pRg st="4" end="4"/>
                                            </p:txEl>
                                          </p:spTgt>
                                        </p:tgtEl>
                                      </p:cBhvr>
                                    </p:animEffect>
                                  </p:childTnLst>
                                </p:cTn>
                              </p:par>
                            </p:childTnLst>
                          </p:cTn>
                        </p:par>
                        <p:par>
                          <p:cTn id="19" fill="hold">
                            <p:stCondLst>
                              <p:cond delay="500"/>
                            </p:stCondLst>
                            <p:childTnLst>
                              <p:par>
                                <p:cTn id="20" presetID="22" presetClass="entr" presetSubtype="8" fill="hold" nodeType="after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wipe(left)">
                                      <p:cBhvr>
                                        <p:cTn id="22" dur="500"/>
                                        <p:tgtEl>
                                          <p:spTgt spid="3">
                                            <p:txEl>
                                              <p:pRg st="5" end="5"/>
                                            </p:txEl>
                                          </p:spTgt>
                                        </p:tgtEl>
                                      </p:cBhvr>
                                    </p:animEffect>
                                  </p:childTnLst>
                                </p:cTn>
                              </p:par>
                            </p:childTnLst>
                          </p:cTn>
                        </p:par>
                        <p:par>
                          <p:cTn id="23" fill="hold">
                            <p:stCondLst>
                              <p:cond delay="1000"/>
                            </p:stCondLst>
                            <p:childTnLst>
                              <p:par>
                                <p:cTn id="24" presetID="22" presetClass="entr" presetSubtype="8" fill="hold" nodeType="afterEffect">
                                  <p:stCondLst>
                                    <p:cond delay="0"/>
                                  </p:stCondLst>
                                  <p:childTnLst>
                                    <p:set>
                                      <p:cBhvr>
                                        <p:cTn id="25" dur="1" fill="hold">
                                          <p:stCondLst>
                                            <p:cond delay="0"/>
                                          </p:stCondLst>
                                        </p:cTn>
                                        <p:tgtEl>
                                          <p:spTgt spid="3">
                                            <p:txEl>
                                              <p:pRg st="6" end="6"/>
                                            </p:txEl>
                                          </p:spTgt>
                                        </p:tgtEl>
                                        <p:attrNameLst>
                                          <p:attrName>style.visibility</p:attrName>
                                        </p:attrNameLst>
                                      </p:cBhvr>
                                      <p:to>
                                        <p:strVal val="visible"/>
                                      </p:to>
                                    </p:set>
                                    <p:animEffect transition="in" filter="wipe(left)">
                                      <p:cBhvr>
                                        <p:cTn id="26" dur="500"/>
                                        <p:tgtEl>
                                          <p:spTgt spid="3">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par>
                          <p:cTn id="31" fill="hold">
                            <p:stCondLst>
                              <p:cond delay="0"/>
                            </p:stCondLst>
                            <p:childTnLst>
                              <p:par>
                                <p:cTn id="32" presetID="22" presetClass="entr" presetSubtype="8" fill="hold" nodeType="afterEffect">
                                  <p:stCondLst>
                                    <p:cond delay="0"/>
                                  </p:stCondLst>
                                  <p:childTnLst>
                                    <p:set>
                                      <p:cBhvr>
                                        <p:cTn id="33" dur="1" fill="hold">
                                          <p:stCondLst>
                                            <p:cond delay="0"/>
                                          </p:stCondLst>
                                        </p:cTn>
                                        <p:tgtEl>
                                          <p:spTgt spid="3">
                                            <p:txEl>
                                              <p:pRg st="8" end="8"/>
                                            </p:txEl>
                                          </p:spTgt>
                                        </p:tgtEl>
                                        <p:attrNameLst>
                                          <p:attrName>style.visibility</p:attrName>
                                        </p:attrNameLst>
                                      </p:cBhvr>
                                      <p:to>
                                        <p:strVal val="visible"/>
                                      </p:to>
                                    </p:set>
                                    <p:animEffect transition="in" filter="wipe(left)">
                                      <p:cBhvr>
                                        <p:cTn id="34" dur="500"/>
                                        <p:tgtEl>
                                          <p:spTgt spid="3">
                                            <p:txEl>
                                              <p:pRg st="8" end="8"/>
                                            </p:txEl>
                                          </p:spTgt>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wipe(left)">
                                      <p:cBhvr>
                                        <p:cTn id="38" dur="500"/>
                                        <p:tgtEl>
                                          <p:spTgt spid="3">
                                            <p:txEl>
                                              <p:pRg st="9" end="9"/>
                                            </p:txEl>
                                          </p:spTgt>
                                        </p:tgtEl>
                                      </p:cBhvr>
                                    </p:animEffect>
                                  </p:childTnLst>
                                </p:cTn>
                              </p:par>
                            </p:childTnLst>
                          </p:cTn>
                        </p:par>
                        <p:par>
                          <p:cTn id="39" fill="hold">
                            <p:stCondLst>
                              <p:cond delay="1000"/>
                            </p:stCondLst>
                            <p:childTnLst>
                              <p:par>
                                <p:cTn id="40" presetID="22" presetClass="entr" presetSubtype="8" fill="hold" nodeType="afterEffect">
                                  <p:stCondLst>
                                    <p:cond delay="0"/>
                                  </p:stCondLst>
                                  <p:childTnLst>
                                    <p:set>
                                      <p:cBhvr>
                                        <p:cTn id="41" dur="1" fill="hold">
                                          <p:stCondLst>
                                            <p:cond delay="0"/>
                                          </p:stCondLst>
                                        </p:cTn>
                                        <p:tgtEl>
                                          <p:spTgt spid="3">
                                            <p:txEl>
                                              <p:pRg st="10" end="10"/>
                                            </p:txEl>
                                          </p:spTgt>
                                        </p:tgtEl>
                                        <p:attrNameLst>
                                          <p:attrName>style.visibility</p:attrName>
                                        </p:attrNameLst>
                                      </p:cBhvr>
                                      <p:to>
                                        <p:strVal val="visible"/>
                                      </p:to>
                                    </p:set>
                                    <p:animEffect transition="in" filter="wipe(left)">
                                      <p:cBhvr>
                                        <p:cTn id="42" dur="500"/>
                                        <p:tgtEl>
                                          <p:spTgt spid="3">
                                            <p:txEl>
                                              <p:pRg st="10" end="1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childTnLst>
                                </p:cTn>
                              </p:par>
                            </p:childTnLst>
                          </p:cTn>
                        </p:par>
                        <p:par>
                          <p:cTn id="47" fill="hold">
                            <p:stCondLst>
                              <p:cond delay="0"/>
                            </p:stCondLst>
                            <p:childTnLst>
                              <p:par>
                                <p:cTn id="48" presetID="22" presetClass="entr" presetSubtype="8" fill="hold" nodeType="afterEffect">
                                  <p:stCondLst>
                                    <p:cond delay="0"/>
                                  </p:stCondLst>
                                  <p:childTnLst>
                                    <p:set>
                                      <p:cBhvr>
                                        <p:cTn id="49" dur="1" fill="hold">
                                          <p:stCondLst>
                                            <p:cond delay="0"/>
                                          </p:stCondLst>
                                        </p:cTn>
                                        <p:tgtEl>
                                          <p:spTgt spid="3">
                                            <p:txEl>
                                              <p:pRg st="12" end="12"/>
                                            </p:txEl>
                                          </p:spTgt>
                                        </p:tgtEl>
                                        <p:attrNameLst>
                                          <p:attrName>style.visibility</p:attrName>
                                        </p:attrNameLst>
                                      </p:cBhvr>
                                      <p:to>
                                        <p:strVal val="visible"/>
                                      </p:to>
                                    </p:set>
                                    <p:animEffect transition="in" filter="wipe(left)">
                                      <p:cBhvr>
                                        <p:cTn id="50"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E337F-7C59-4F1B-926B-43514CC0693C}"/>
              </a:ext>
            </a:extLst>
          </p:cNvPr>
          <p:cNvSpPr>
            <a:spLocks noGrp="1"/>
          </p:cNvSpPr>
          <p:nvPr>
            <p:ph type="title"/>
          </p:nvPr>
        </p:nvSpPr>
        <p:spPr/>
        <p:txBody>
          <a:bodyPr/>
          <a:lstStyle/>
          <a:p>
            <a:r>
              <a:rPr lang="en-US" dirty="0"/>
              <a:t>Best Practices for Locking Down Access </a:t>
            </a:r>
          </a:p>
        </p:txBody>
      </p:sp>
      <p:sp>
        <p:nvSpPr>
          <p:cNvPr id="3" name="Text Placeholder 2">
            <a:extLst>
              <a:ext uri="{FF2B5EF4-FFF2-40B4-BE49-F238E27FC236}">
                <a16:creationId xmlns:a16="http://schemas.microsoft.com/office/drawing/2014/main" id="{6F63813E-9C6C-4F16-97AA-9FC37C410A52}"/>
              </a:ext>
            </a:extLst>
          </p:cNvPr>
          <p:cNvSpPr>
            <a:spLocks noGrp="1"/>
          </p:cNvSpPr>
          <p:nvPr>
            <p:ph type="body" sz="quarter" idx="10"/>
          </p:nvPr>
        </p:nvSpPr>
        <p:spPr>
          <a:xfrm>
            <a:off x="274668" y="1211579"/>
            <a:ext cx="11887269" cy="4118050"/>
          </a:xfrm>
        </p:spPr>
        <p:txBody>
          <a:bodyPr/>
          <a:lstStyle/>
          <a:p>
            <a:endParaRPr lang="en-US" sz="3200" dirty="0"/>
          </a:p>
          <a:p>
            <a:pPr marL="742876" indent="-742876">
              <a:buFont typeface="+mj-lt"/>
              <a:buAutoNum type="arabicPeriod"/>
            </a:pPr>
            <a:r>
              <a:rPr lang="en-US" sz="3200" dirty="0"/>
              <a:t>Make sure people automatically lose access when they leave</a:t>
            </a:r>
          </a:p>
          <a:p>
            <a:pPr marL="742876" indent="-742876">
              <a:buFont typeface="+mj-lt"/>
              <a:buAutoNum type="arabicPeriod"/>
            </a:pPr>
            <a:r>
              <a:rPr lang="en-US" sz="3200" dirty="0"/>
              <a:t>Use multi-factor authentication for all Azure users</a:t>
            </a:r>
          </a:p>
          <a:p>
            <a:pPr marL="1015965" lvl="1" indent="-742876"/>
            <a:r>
              <a:rPr lang="en-US" dirty="0"/>
              <a:t>Today’s #1 cyber weapon:  good grammar</a:t>
            </a:r>
            <a:endParaRPr lang="en-US" sz="1600" dirty="0"/>
          </a:p>
          <a:p>
            <a:pPr marL="742876" indent="-742876">
              <a:buFont typeface="+mj-lt"/>
              <a:buAutoNum type="arabicPeriod"/>
            </a:pPr>
            <a:r>
              <a:rPr lang="en-US" sz="3200" dirty="0"/>
              <a:t>Use “break glass” accounts for Account &amp; Service Admins</a:t>
            </a:r>
          </a:p>
          <a:p>
            <a:pPr marL="742876" indent="-742876">
              <a:buFont typeface="+mj-lt"/>
              <a:buAutoNum type="arabicPeriod"/>
            </a:pPr>
            <a:r>
              <a:rPr lang="en-US" sz="3200" dirty="0"/>
              <a:t>Give people minimum access needed for day to day work – RBAC and Azure Privileged Identity Management (PIM)</a:t>
            </a:r>
          </a:p>
          <a:p>
            <a:pPr marL="742876" indent="-742876">
              <a:buFont typeface="+mj-lt"/>
              <a:buAutoNum type="arabicPeriod"/>
            </a:pPr>
            <a:r>
              <a:rPr lang="en-US" sz="3200" dirty="0"/>
              <a:t>Use Managed Service Identity to keep credentials out of code</a:t>
            </a:r>
          </a:p>
        </p:txBody>
      </p:sp>
    </p:spTree>
    <p:extLst>
      <p:ext uri="{BB962C8B-B14F-4D97-AF65-F5344CB8AC3E}">
        <p14:creationId xmlns:p14="http://schemas.microsoft.com/office/powerpoint/2010/main" val="34827167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D4C74D6-2CCF-41EF-B563-99220320CA54}"/>
              </a:ext>
            </a:extLst>
          </p:cNvPr>
          <p:cNvSpPr>
            <a:spLocks noGrp="1"/>
          </p:cNvSpPr>
          <p:nvPr>
            <p:ph type="title"/>
          </p:nvPr>
        </p:nvSpPr>
        <p:spPr/>
        <p:txBody>
          <a:bodyPr/>
          <a:lstStyle/>
          <a:p>
            <a:r>
              <a:rPr lang="en-US" dirty="0"/>
              <a:t>Use “Break Glass” Accounts</a:t>
            </a:r>
          </a:p>
        </p:txBody>
      </p:sp>
      <p:sp>
        <p:nvSpPr>
          <p:cNvPr id="6" name="Text Placeholder 5">
            <a:extLst>
              <a:ext uri="{FF2B5EF4-FFF2-40B4-BE49-F238E27FC236}">
                <a16:creationId xmlns:a16="http://schemas.microsoft.com/office/drawing/2014/main" id="{11551247-1120-4460-AE7C-82D633C47577}"/>
              </a:ext>
            </a:extLst>
          </p:cNvPr>
          <p:cNvSpPr>
            <a:spLocks noGrp="1"/>
          </p:cNvSpPr>
          <p:nvPr>
            <p:ph type="body" sz="quarter" idx="10"/>
          </p:nvPr>
        </p:nvSpPr>
        <p:spPr>
          <a:xfrm>
            <a:off x="274668" y="1211579"/>
            <a:ext cx="7085630" cy="4726845"/>
          </a:xfrm>
        </p:spPr>
        <p:txBody>
          <a:bodyPr/>
          <a:lstStyle/>
          <a:p>
            <a:pPr lvl="1"/>
            <a:endParaRPr lang="en-US" dirty="0"/>
          </a:p>
          <a:p>
            <a:r>
              <a:rPr lang="en-US" dirty="0"/>
              <a:t>Do not use account for daily work</a:t>
            </a:r>
          </a:p>
          <a:p>
            <a:r>
              <a:rPr lang="en-US" dirty="0"/>
              <a:t>Write down strong random password and lock it away</a:t>
            </a:r>
          </a:p>
          <a:p>
            <a:r>
              <a:rPr lang="en-US" dirty="0"/>
              <a:t>Do not share password</a:t>
            </a:r>
          </a:p>
          <a:p>
            <a:r>
              <a:rPr lang="en-US" dirty="0"/>
              <a:t>Change password every time you use it and on scheduled basis</a:t>
            </a:r>
          </a:p>
          <a:p>
            <a:r>
              <a:rPr lang="en-US" dirty="0"/>
              <a:t>Enable per-user MFA</a:t>
            </a:r>
          </a:p>
        </p:txBody>
      </p:sp>
      <p:pic>
        <p:nvPicPr>
          <p:cNvPr id="3" name="Picture 2" title="Picture of a fire extinguisher with hammer to break glass">
            <a:extLst>
              <a:ext uri="{FF2B5EF4-FFF2-40B4-BE49-F238E27FC236}">
                <a16:creationId xmlns:a16="http://schemas.microsoft.com/office/drawing/2014/main" id="{B99DDB44-1C6A-4ADA-8B8E-52FFEEE35C73}"/>
              </a:ext>
            </a:extLst>
          </p:cNvPr>
          <p:cNvPicPr>
            <a:picLocks noChangeAspect="1"/>
          </p:cNvPicPr>
          <p:nvPr/>
        </p:nvPicPr>
        <p:blipFill rotWithShape="1">
          <a:blip r:embed="rId3"/>
          <a:srcRect t="14151" b="23985"/>
          <a:stretch/>
        </p:blipFill>
        <p:spPr>
          <a:xfrm>
            <a:off x="7619806" y="1897266"/>
            <a:ext cx="4542845" cy="3747148"/>
          </a:xfrm>
          <a:prstGeom prst="rect">
            <a:avLst/>
          </a:prstGeom>
        </p:spPr>
      </p:pic>
    </p:spTree>
    <p:extLst>
      <p:ext uri="{BB962C8B-B14F-4D97-AF65-F5344CB8AC3E}">
        <p14:creationId xmlns:p14="http://schemas.microsoft.com/office/powerpoint/2010/main" val="18734148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psuz="http://schemas.microsoft.com/office/powerpoint/2016/summaryzoom" Requires="psuz">
          <p:graphicFrame>
            <p:nvGraphicFramePr>
              <p:cNvPr id="5" name="Summary Zoom 4">
                <a:extLst>
                  <a:ext uri="{FF2B5EF4-FFF2-40B4-BE49-F238E27FC236}">
                    <a16:creationId xmlns:a16="http://schemas.microsoft.com/office/drawing/2014/main" id="{B5DFE973-F499-4301-AAF7-4D0B1435D1A7}"/>
                  </a:ext>
                </a:extLst>
              </p:cNvPr>
              <p:cNvGraphicFramePr>
                <a:graphicFrameLocks noChangeAspect="1"/>
              </p:cNvGraphicFramePr>
              <p:nvPr>
                <p:extLst>
                  <p:ext uri="{D42A27DB-BD31-4B8C-83A1-F6EECF244321}">
                    <p14:modId xmlns:p14="http://schemas.microsoft.com/office/powerpoint/2010/main" val="3320540898"/>
                  </p:ext>
                </p:extLst>
              </p:nvPr>
            </p:nvGraphicFramePr>
            <p:xfrm>
              <a:off x="1416844" y="601662"/>
              <a:ext cx="10144913" cy="6763275"/>
            </p:xfrm>
            <a:graphic>
              <a:graphicData uri="http://schemas.microsoft.com/office/powerpoint/2016/summaryzoom">
                <psuz:summaryZm>
                  <psuz:summaryZmObj sectionId="{1E779909-CF88-4355-941F-D59FB6C3B960}">
                    <psuz:zmPr id="{D2F2849F-8066-42CC-9923-C6078230586E}" transitionDur="1000">
                      <p166:blipFill xmlns:p166="http://schemas.microsoft.com/office/powerpoint/2016/6/main">
                        <a:blip r:embed="rId3"/>
                        <a:stretch>
                          <a:fillRect/>
                        </a:stretch>
                      </p166:blipFill>
                      <p166:spPr xmlns:p166="http://schemas.microsoft.com/office/powerpoint/2016/6/main">
                        <a:xfrm>
                          <a:off x="378853" y="685350"/>
                          <a:ext cx="2282605" cy="1283947"/>
                        </a:xfrm>
                        <a:prstGeom prst="rect">
                          <a:avLst/>
                        </a:prstGeom>
                        <a:ln w="3175">
                          <a:solidFill>
                            <a:prstClr val="ltGray"/>
                          </a:solidFill>
                        </a:ln>
                      </p166:spPr>
                    </psuz:zmPr>
                  </psuz:summaryZmObj>
                  <psuz:summaryZmObj sectionId="{A38BF887-8411-410A-A55E-3E20BBAE42E1}">
                    <psuz:zmPr id="{BA9C5C96-C3C9-4E8C-8C84-49D57D0C1911}" transitionDur="1000">
                      <p166:blipFill xmlns:p166="http://schemas.microsoft.com/office/powerpoint/2016/6/main">
                        <a:blip r:embed="rId4"/>
                        <a:stretch>
                          <a:fillRect/>
                        </a:stretch>
                      </p166:blipFill>
                      <p166:spPr xmlns:p166="http://schemas.microsoft.com/office/powerpoint/2016/6/main">
                        <a:xfrm>
                          <a:off x="2747054" y="685350"/>
                          <a:ext cx="2282605" cy="1283947"/>
                        </a:xfrm>
                        <a:prstGeom prst="rect">
                          <a:avLst/>
                        </a:prstGeom>
                        <a:ln w="3175">
                          <a:solidFill>
                            <a:prstClr val="ltGray"/>
                          </a:solidFill>
                        </a:ln>
                      </p166:spPr>
                    </psuz:zmPr>
                  </psuz:summaryZmObj>
                  <psuz:summaryZmObj sectionId="{7BEFEDA1-D81D-4E32-8E2C-2CD9595BD1EC}">
                    <psuz:zmPr id="{965D7989-681C-4C34-96ED-64BD3114CD1B}" transitionDur="1000">
                      <p166:blipFill xmlns:p166="http://schemas.microsoft.com/office/powerpoint/2016/6/main">
                        <a:blip r:embed="rId5"/>
                        <a:stretch>
                          <a:fillRect/>
                        </a:stretch>
                      </p166:blipFill>
                      <p166:spPr xmlns:p166="http://schemas.microsoft.com/office/powerpoint/2016/6/main">
                        <a:xfrm>
                          <a:off x="5115255" y="685350"/>
                          <a:ext cx="2282605" cy="1283947"/>
                        </a:xfrm>
                        <a:prstGeom prst="rect">
                          <a:avLst/>
                        </a:prstGeom>
                        <a:ln w="3175">
                          <a:solidFill>
                            <a:prstClr val="ltGray"/>
                          </a:solidFill>
                        </a:ln>
                      </p166:spPr>
                    </psuz:zmPr>
                  </psuz:summaryZmObj>
                  <psuz:summaryZmObj sectionId="{4BC918BD-DF3C-4A87-BAB5-0E6A59A7AED7}">
                    <psuz:zmPr id="{6BCEF542-10E2-4B7E-8BEA-B21928AB8B51}" transitionDur="1000">
                      <p166:blipFill xmlns:p166="http://schemas.microsoft.com/office/powerpoint/2016/6/main">
                        <a:blip r:embed="rId6"/>
                        <a:stretch>
                          <a:fillRect/>
                        </a:stretch>
                      </p166:blipFill>
                      <p166:spPr xmlns:p166="http://schemas.microsoft.com/office/powerpoint/2016/6/main">
                        <a:xfrm>
                          <a:off x="7483456" y="685350"/>
                          <a:ext cx="2282605" cy="1283947"/>
                        </a:xfrm>
                        <a:prstGeom prst="rect">
                          <a:avLst/>
                        </a:prstGeom>
                        <a:ln w="3175">
                          <a:solidFill>
                            <a:prstClr val="ltGray"/>
                          </a:solidFill>
                        </a:ln>
                      </p166:spPr>
                    </psuz:zmPr>
                  </psuz:summaryZmObj>
                  <psuz:summaryZmObj sectionId="{8191D039-44DD-4AA0-B36F-988BBDFABB71}">
                    <psuz:zmPr id="{5012BF06-DDF4-4F39-9A75-8281C6332046}" transitionDur="1000">
                      <p166:blipFill xmlns:p166="http://schemas.microsoft.com/office/powerpoint/2016/6/main">
                        <a:blip r:embed="rId7"/>
                        <a:stretch>
                          <a:fillRect/>
                        </a:stretch>
                      </p166:blipFill>
                      <p166:spPr xmlns:p166="http://schemas.microsoft.com/office/powerpoint/2016/6/main">
                        <a:xfrm>
                          <a:off x="378853" y="2054893"/>
                          <a:ext cx="2282605" cy="1283947"/>
                        </a:xfrm>
                        <a:prstGeom prst="rect">
                          <a:avLst/>
                        </a:prstGeom>
                        <a:ln w="3175">
                          <a:solidFill>
                            <a:prstClr val="ltGray"/>
                          </a:solidFill>
                        </a:ln>
                      </p166:spPr>
                    </psuz:zmPr>
                  </psuz:summaryZmObj>
                  <psuz:summaryZmObj sectionId="{8BE1BF3C-7476-4639-A053-D203BC8EB496}">
                    <psuz:zmPr id="{EFF6F03C-0A9C-4CEB-9ACD-A50C462FDBAA}" transitionDur="1000">
                      <p166:blipFill xmlns:p166="http://schemas.microsoft.com/office/powerpoint/2016/6/main">
                        <a:blip r:embed="rId8"/>
                        <a:stretch>
                          <a:fillRect/>
                        </a:stretch>
                      </p166:blipFill>
                      <p166:spPr xmlns:p166="http://schemas.microsoft.com/office/powerpoint/2016/6/main">
                        <a:xfrm>
                          <a:off x="2747054" y="2054893"/>
                          <a:ext cx="2282605" cy="1283947"/>
                        </a:xfrm>
                        <a:prstGeom prst="rect">
                          <a:avLst/>
                        </a:prstGeom>
                        <a:ln w="3175">
                          <a:solidFill>
                            <a:prstClr val="ltGray"/>
                          </a:solidFill>
                        </a:ln>
                      </p166:spPr>
                    </psuz:zmPr>
                  </psuz:summaryZmObj>
                  <psuz:summaryZmObj sectionId="{1B2CBD7E-3A38-46C5-BA6D-C3E96D8F35E1}">
                    <psuz:zmPr id="{49C0E6EA-BF03-4354-8458-BF84A32DF87D}" transitionDur="1000">
                      <p166:blipFill xmlns:p166="http://schemas.microsoft.com/office/powerpoint/2016/6/main">
                        <a:blip r:embed="rId9"/>
                        <a:stretch>
                          <a:fillRect/>
                        </a:stretch>
                      </p166:blipFill>
                      <p166:spPr xmlns:p166="http://schemas.microsoft.com/office/powerpoint/2016/6/main">
                        <a:xfrm>
                          <a:off x="5115255" y="2054893"/>
                          <a:ext cx="2282605" cy="1283947"/>
                        </a:xfrm>
                        <a:prstGeom prst="rect">
                          <a:avLst/>
                        </a:prstGeom>
                        <a:ln w="3175">
                          <a:solidFill>
                            <a:prstClr val="ltGray"/>
                          </a:solidFill>
                        </a:ln>
                      </p166:spPr>
                    </psuz:zmPr>
                  </psuz:summaryZmObj>
                  <psuz:summaryZmObj sectionId="{220C12E7-2887-48AB-A524-ED7D100C873E}">
                    <psuz:zmPr id="{856C5AFA-CC24-4D08-A2FC-3CDCF32D5C5F}" transitionDur="1000">
                      <p166:blipFill xmlns:p166="http://schemas.microsoft.com/office/powerpoint/2016/6/main">
                        <a:blip r:embed="rId10"/>
                        <a:stretch>
                          <a:fillRect/>
                        </a:stretch>
                      </p166:blipFill>
                      <p166:spPr xmlns:p166="http://schemas.microsoft.com/office/powerpoint/2016/6/main">
                        <a:xfrm>
                          <a:off x="7483456" y="2054893"/>
                          <a:ext cx="2282605" cy="1283947"/>
                        </a:xfrm>
                        <a:prstGeom prst="rect">
                          <a:avLst/>
                        </a:prstGeom>
                        <a:ln w="3175">
                          <a:solidFill>
                            <a:prstClr val="ltGray"/>
                          </a:solidFill>
                        </a:ln>
                      </p166:spPr>
                    </psuz:zmPr>
                  </psuz:summaryZmObj>
                  <psuz:summaryZmObj sectionId="{3DF071A5-5AE2-4736-9D27-9F4D5AFE8863}">
                    <psuz:zmPr id="{66249606-73F8-4747-A301-F891C9AE6451}" transitionDur="1000">
                      <p166:blipFill xmlns:p166="http://schemas.microsoft.com/office/powerpoint/2016/6/main">
                        <a:blip r:embed="rId11"/>
                        <a:stretch>
                          <a:fillRect/>
                        </a:stretch>
                      </p166:blipFill>
                      <p166:spPr xmlns:p166="http://schemas.microsoft.com/office/powerpoint/2016/6/main">
                        <a:xfrm>
                          <a:off x="378853" y="3424436"/>
                          <a:ext cx="2282605" cy="1283947"/>
                        </a:xfrm>
                        <a:prstGeom prst="rect">
                          <a:avLst/>
                        </a:prstGeom>
                        <a:ln w="3175">
                          <a:solidFill>
                            <a:prstClr val="ltGray"/>
                          </a:solidFill>
                        </a:ln>
                      </p166:spPr>
                    </psuz:zmPr>
                  </psuz:summaryZmObj>
                  <psuz:summaryZmObj sectionId="{50BB5A05-02EB-4F5F-BC04-7707C502C10D}">
                    <psuz:zmPr id="{C5F2AF1D-A351-4F3E-9449-770CD5A2DD24}" transitionDur="1000">
                      <p166:blipFill xmlns:p166="http://schemas.microsoft.com/office/powerpoint/2016/6/main">
                        <a:blip r:embed="rId12"/>
                        <a:stretch>
                          <a:fillRect/>
                        </a:stretch>
                      </p166:blipFill>
                      <p166:spPr xmlns:p166="http://schemas.microsoft.com/office/powerpoint/2016/6/main">
                        <a:xfrm>
                          <a:off x="2747054" y="3424436"/>
                          <a:ext cx="2282605" cy="1283947"/>
                        </a:xfrm>
                        <a:prstGeom prst="rect">
                          <a:avLst/>
                        </a:prstGeom>
                        <a:ln w="3175">
                          <a:solidFill>
                            <a:prstClr val="ltGray"/>
                          </a:solidFill>
                        </a:ln>
                      </p166:spPr>
                    </psuz:zmPr>
                  </psuz:summaryZmObj>
                  <psuz:summaryZmObj sectionId="{5CC822AC-8AA2-43A6-8D36-FE52C112BECF}">
                    <psuz:zmPr id="{BE5EA677-8DDC-43B0-92B1-957689A78167}" transitionDur="1000">
                      <p166:blipFill xmlns:p166="http://schemas.microsoft.com/office/powerpoint/2016/6/main">
                        <a:blip r:embed="rId13"/>
                        <a:stretch>
                          <a:fillRect/>
                        </a:stretch>
                      </p166:blipFill>
                      <p166:spPr xmlns:p166="http://schemas.microsoft.com/office/powerpoint/2016/6/main">
                        <a:xfrm>
                          <a:off x="5115255" y="3424436"/>
                          <a:ext cx="2282605" cy="1283947"/>
                        </a:xfrm>
                        <a:prstGeom prst="rect">
                          <a:avLst/>
                        </a:prstGeom>
                        <a:ln w="3175">
                          <a:solidFill>
                            <a:prstClr val="ltGray"/>
                          </a:solidFill>
                        </a:ln>
                      </p166:spPr>
                    </psuz:zmPr>
                  </psuz:summaryZmObj>
                  <psuz:summaryZmObj sectionId="{F4EAA0D2-2C8E-4F6C-BA4E-A9820768E1BC}">
                    <psuz:zmPr id="{46FADFEE-4AC5-4670-B9CD-CCE3D665F8D1}" transitionDur="1000">
                      <p166:blipFill xmlns:p166="http://schemas.microsoft.com/office/powerpoint/2016/6/main">
                        <a:blip r:embed="rId14"/>
                        <a:stretch>
                          <a:fillRect/>
                        </a:stretch>
                      </p166:blipFill>
                      <p166:spPr xmlns:p166="http://schemas.microsoft.com/office/powerpoint/2016/6/main">
                        <a:xfrm>
                          <a:off x="7483456" y="3424436"/>
                          <a:ext cx="2282605" cy="1283947"/>
                        </a:xfrm>
                        <a:prstGeom prst="rect">
                          <a:avLst/>
                        </a:prstGeom>
                        <a:ln w="3175">
                          <a:solidFill>
                            <a:prstClr val="ltGray"/>
                          </a:solidFill>
                        </a:ln>
                      </p166:spPr>
                    </psuz:zmPr>
                  </psuz:summaryZmObj>
                  <psuz:summaryZmObj sectionId="{78337935-B226-4423-A704-23914F7C1228}">
                    <psuz:zmPr id="{1A737755-55FF-4C0A-971A-B00E119411A8}" transitionDur="1000">
                      <p166:blipFill xmlns:p166="http://schemas.microsoft.com/office/powerpoint/2016/6/main">
                        <a:blip r:embed="rId15"/>
                        <a:stretch>
                          <a:fillRect/>
                        </a:stretch>
                      </p166:blipFill>
                      <p166:spPr xmlns:p166="http://schemas.microsoft.com/office/powerpoint/2016/6/main">
                        <a:xfrm>
                          <a:off x="378853" y="4793979"/>
                          <a:ext cx="2282605" cy="1283947"/>
                        </a:xfrm>
                        <a:prstGeom prst="rect">
                          <a:avLst/>
                        </a:prstGeom>
                        <a:ln w="3175">
                          <a:solidFill>
                            <a:prstClr val="ltGray"/>
                          </a:solidFill>
                        </a:ln>
                      </p166:spPr>
                    </psuz:zmPr>
                  </psuz:summaryZmObj>
                  <psuz:summaryZmObj sectionId="{8F9C5EDC-A42A-4DBE-BFC0-007BAFF91449}">
                    <psuz:zmPr id="{A878A6FD-4D38-455E-A79A-F35002F9685D}" transitionDur="1000">
                      <p166:blipFill xmlns:p166="http://schemas.microsoft.com/office/powerpoint/2016/6/main">
                        <a:blip r:embed="rId16"/>
                        <a:stretch>
                          <a:fillRect/>
                        </a:stretch>
                      </p166:blipFill>
                      <p166:spPr xmlns:p166="http://schemas.microsoft.com/office/powerpoint/2016/6/main">
                        <a:xfrm>
                          <a:off x="2747054" y="4793979"/>
                          <a:ext cx="2282605" cy="1283947"/>
                        </a:xfrm>
                        <a:prstGeom prst="rect">
                          <a:avLst/>
                        </a:prstGeom>
                        <a:ln w="3175">
                          <a:solidFill>
                            <a:prstClr val="ltGray"/>
                          </a:solidFill>
                        </a:ln>
                      </p166:spPr>
                    </psuz:zmPr>
                  </psuz:summaryZmObj>
                  <psuz:gridLayout/>
                </psuz:summaryZm>
              </a:graphicData>
            </a:graphic>
          </p:graphicFrame>
        </mc:Choice>
        <mc:Fallback>
          <p:grpSp>
            <p:nvGrpSpPr>
              <p:cNvPr id="5" name="Summary Zoom 4">
                <a:extLst>
                  <a:ext uri="{FF2B5EF4-FFF2-40B4-BE49-F238E27FC236}">
                    <a16:creationId xmlns:a16="http://schemas.microsoft.com/office/drawing/2014/main" id="{B5DFE973-F499-4301-AAF7-4D0B1435D1A7}"/>
                  </a:ext>
                </a:extLst>
              </p:cNvPr>
              <p:cNvGrpSpPr>
                <a:grpSpLocks noGrp="1" noUngrp="1" noRot="1" noChangeAspect="1" noMove="1" noResize="1"/>
              </p:cNvGrpSpPr>
              <p:nvPr/>
            </p:nvGrpSpPr>
            <p:grpSpPr>
              <a:xfrm>
                <a:off x="1416844" y="601662"/>
                <a:ext cx="10144913" cy="6763275"/>
                <a:chOff x="1416844" y="601662"/>
                <a:chExt cx="10144913" cy="6763275"/>
              </a:xfrm>
            </p:grpSpPr>
            <p:pic>
              <p:nvPicPr>
                <p:cNvPr id="2" name="Picture 2"/>
                <p:cNvPicPr>
                  <a:picLocks noSelect="1" noRot="1" noChangeAspect="1" noMove="1" noResize="1" noEditPoints="1" noAdjustHandles="1" noChangeArrowheads="1" noChangeShapeType="1"/>
                </p:cNvPicPr>
                <p:nvPr/>
              </p:nvPicPr>
              <p:blipFill>
                <a:blip r:embed="rId3"/>
                <a:stretch>
                  <a:fillRect/>
                </a:stretch>
              </p:blipFill>
              <p:spPr>
                <a:xfrm>
                  <a:off x="1795697" y="1287012"/>
                  <a:ext cx="2282605" cy="1283947"/>
                </a:xfrm>
                <a:prstGeom prst="rect">
                  <a:avLst/>
                </a:prstGeom>
                <a:ln w="3175">
                  <a:solidFill>
                    <a:prstClr val="ltGray"/>
                  </a:solidFill>
                </a:ln>
              </p:spPr>
            </p:pic>
            <p:pic>
              <p:nvPicPr>
                <p:cNvPr id="3" name="Picture 3">
                  <a:hlinkClick r:id="rId17"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4163898" y="1287012"/>
                  <a:ext cx="2282605" cy="1283947"/>
                </a:xfrm>
                <a:prstGeom prst="rect">
                  <a:avLst/>
                </a:prstGeom>
                <a:ln w="3175">
                  <a:solidFill>
                    <a:prstClr val="ltGray"/>
                  </a:solidFill>
                </a:ln>
              </p:spPr>
            </p:pic>
            <p:pic>
              <p:nvPicPr>
                <p:cNvPr id="4" name="Picture 4">
                  <a:hlinkClick r:id="rId18"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6532099" y="1287012"/>
                  <a:ext cx="2282605" cy="1283947"/>
                </a:xfrm>
                <a:prstGeom prst="rect">
                  <a:avLst/>
                </a:prstGeom>
                <a:ln w="3175">
                  <a:solidFill>
                    <a:prstClr val="ltGray"/>
                  </a:solidFill>
                </a:ln>
              </p:spPr>
            </p:pic>
            <p:pic>
              <p:nvPicPr>
                <p:cNvPr id="7" name="Picture 7">
                  <a:hlinkClick r:id="rId19"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8900300" y="1287012"/>
                  <a:ext cx="2282605" cy="1283947"/>
                </a:xfrm>
                <a:prstGeom prst="rect">
                  <a:avLst/>
                </a:prstGeom>
                <a:ln w="3175">
                  <a:solidFill>
                    <a:prstClr val="ltGray"/>
                  </a:solidFill>
                </a:ln>
              </p:spPr>
            </p:pic>
            <p:pic>
              <p:nvPicPr>
                <p:cNvPr id="8" name="Picture 8">
                  <a:hlinkClick r:id="rId20"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1795697" y="2656555"/>
                  <a:ext cx="2282605" cy="1283947"/>
                </a:xfrm>
                <a:prstGeom prst="rect">
                  <a:avLst/>
                </a:prstGeom>
                <a:ln w="3175">
                  <a:solidFill>
                    <a:prstClr val="ltGray"/>
                  </a:solidFill>
                </a:ln>
              </p:spPr>
            </p:pic>
            <p:pic>
              <p:nvPicPr>
                <p:cNvPr id="9" name="Picture 9">
                  <a:hlinkClick r:id="rId21" action="ppaction://hlinksldjump"/>
                </p:cNvPr>
                <p:cNvPicPr>
                  <a:picLocks noSelect="1" noRot="1" noChangeAspect="1" noMove="1" noResize="1" noEditPoints="1" noAdjustHandles="1" noChangeArrowheads="1" noChangeShapeType="1"/>
                </p:cNvPicPr>
                <p:nvPr/>
              </p:nvPicPr>
              <p:blipFill>
                <a:blip r:embed="rId8"/>
                <a:stretch>
                  <a:fillRect/>
                </a:stretch>
              </p:blipFill>
              <p:spPr>
                <a:xfrm>
                  <a:off x="4163898" y="2656555"/>
                  <a:ext cx="2282605" cy="1283947"/>
                </a:xfrm>
                <a:prstGeom prst="rect">
                  <a:avLst/>
                </a:prstGeom>
                <a:ln w="3175">
                  <a:solidFill>
                    <a:prstClr val="ltGray"/>
                  </a:solidFill>
                </a:ln>
              </p:spPr>
            </p:pic>
            <p:pic>
              <p:nvPicPr>
                <p:cNvPr id="10" name="Picture 10">
                  <a:hlinkClick r:id="rId22" action="ppaction://hlinksldjump"/>
                </p:cNvPr>
                <p:cNvPicPr>
                  <a:picLocks noSelect="1" noRot="1" noChangeAspect="1" noMove="1" noResize="1" noEditPoints="1" noAdjustHandles="1" noChangeArrowheads="1" noChangeShapeType="1"/>
                </p:cNvPicPr>
                <p:nvPr/>
              </p:nvPicPr>
              <p:blipFill>
                <a:blip r:embed="rId9"/>
                <a:stretch>
                  <a:fillRect/>
                </a:stretch>
              </p:blipFill>
              <p:spPr>
                <a:xfrm>
                  <a:off x="6532099" y="2656555"/>
                  <a:ext cx="2282605" cy="1283947"/>
                </a:xfrm>
                <a:prstGeom prst="rect">
                  <a:avLst/>
                </a:prstGeom>
                <a:ln w="3175">
                  <a:solidFill>
                    <a:prstClr val="ltGray"/>
                  </a:solidFill>
                </a:ln>
              </p:spPr>
            </p:pic>
            <p:pic>
              <p:nvPicPr>
                <p:cNvPr id="11" name="Picture 11">
                  <a:hlinkClick r:id="rId23" action="ppaction://hlinksldjump"/>
                </p:cNvPr>
                <p:cNvPicPr>
                  <a:picLocks noSelect="1" noRot="1" noChangeAspect="1" noMove="1" noResize="1" noEditPoints="1" noAdjustHandles="1" noChangeArrowheads="1" noChangeShapeType="1"/>
                </p:cNvPicPr>
                <p:nvPr/>
              </p:nvPicPr>
              <p:blipFill>
                <a:blip r:embed="rId10"/>
                <a:stretch>
                  <a:fillRect/>
                </a:stretch>
              </p:blipFill>
              <p:spPr>
                <a:xfrm>
                  <a:off x="8900300" y="2656555"/>
                  <a:ext cx="2282605" cy="1283947"/>
                </a:xfrm>
                <a:prstGeom prst="rect">
                  <a:avLst/>
                </a:prstGeom>
                <a:ln w="3175">
                  <a:solidFill>
                    <a:prstClr val="ltGray"/>
                  </a:solidFill>
                </a:ln>
              </p:spPr>
            </p:pic>
            <p:pic>
              <p:nvPicPr>
                <p:cNvPr id="12" name="Picture 12">
                  <a:hlinkClick r:id="rId24" action="ppaction://hlinksldjump"/>
                </p:cNvPr>
                <p:cNvPicPr>
                  <a:picLocks noSelect="1" noRot="1" noChangeAspect="1" noMove="1" noResize="1" noEditPoints="1" noAdjustHandles="1" noChangeArrowheads="1" noChangeShapeType="1"/>
                </p:cNvPicPr>
                <p:nvPr/>
              </p:nvPicPr>
              <p:blipFill>
                <a:blip r:embed="rId11"/>
                <a:stretch>
                  <a:fillRect/>
                </a:stretch>
              </p:blipFill>
              <p:spPr>
                <a:xfrm>
                  <a:off x="1795697" y="4026098"/>
                  <a:ext cx="2282605" cy="1283947"/>
                </a:xfrm>
                <a:prstGeom prst="rect">
                  <a:avLst/>
                </a:prstGeom>
                <a:ln w="3175">
                  <a:solidFill>
                    <a:prstClr val="ltGray"/>
                  </a:solidFill>
                </a:ln>
              </p:spPr>
            </p:pic>
            <p:pic>
              <p:nvPicPr>
                <p:cNvPr id="13" name="Picture 13">
                  <a:hlinkClick r:id="rId25" action="ppaction://hlinksldjump"/>
                </p:cNvPr>
                <p:cNvPicPr>
                  <a:picLocks noSelect="1" noRot="1" noChangeAspect="1" noMove="1" noResize="1" noEditPoints="1" noAdjustHandles="1" noChangeArrowheads="1" noChangeShapeType="1"/>
                </p:cNvPicPr>
                <p:nvPr/>
              </p:nvPicPr>
              <p:blipFill>
                <a:blip r:embed="rId12"/>
                <a:stretch>
                  <a:fillRect/>
                </a:stretch>
              </p:blipFill>
              <p:spPr>
                <a:xfrm>
                  <a:off x="4163898" y="4026098"/>
                  <a:ext cx="2282605" cy="1283947"/>
                </a:xfrm>
                <a:prstGeom prst="rect">
                  <a:avLst/>
                </a:prstGeom>
                <a:ln w="3175">
                  <a:solidFill>
                    <a:prstClr val="ltGray"/>
                  </a:solidFill>
                </a:ln>
              </p:spPr>
            </p:pic>
            <p:pic>
              <p:nvPicPr>
                <p:cNvPr id="14" name="Picture 14">
                  <a:hlinkClick r:id="rId26" action="ppaction://hlinksldjump"/>
                </p:cNvPr>
                <p:cNvPicPr>
                  <a:picLocks noSelect="1" noRot="1" noChangeAspect="1" noMove="1" noResize="1" noEditPoints="1" noAdjustHandles="1" noChangeArrowheads="1" noChangeShapeType="1"/>
                </p:cNvPicPr>
                <p:nvPr/>
              </p:nvPicPr>
              <p:blipFill>
                <a:blip r:embed="rId13"/>
                <a:stretch>
                  <a:fillRect/>
                </a:stretch>
              </p:blipFill>
              <p:spPr>
                <a:xfrm>
                  <a:off x="6532099" y="4026098"/>
                  <a:ext cx="2282605" cy="1283947"/>
                </a:xfrm>
                <a:prstGeom prst="rect">
                  <a:avLst/>
                </a:prstGeom>
                <a:ln w="3175">
                  <a:solidFill>
                    <a:prstClr val="ltGray"/>
                  </a:solidFill>
                </a:ln>
              </p:spPr>
            </p:pic>
            <p:pic>
              <p:nvPicPr>
                <p:cNvPr id="15" name="Picture 15">
                  <a:hlinkClick r:id="rId27" action="ppaction://hlinksldjump"/>
                </p:cNvPr>
                <p:cNvPicPr>
                  <a:picLocks noSelect="1" noRot="1" noChangeAspect="1" noMove="1" noResize="1" noEditPoints="1" noAdjustHandles="1" noChangeArrowheads="1" noChangeShapeType="1"/>
                </p:cNvPicPr>
                <p:nvPr/>
              </p:nvPicPr>
              <p:blipFill>
                <a:blip r:embed="rId14"/>
                <a:stretch>
                  <a:fillRect/>
                </a:stretch>
              </p:blipFill>
              <p:spPr>
                <a:xfrm>
                  <a:off x="8900300" y="4026098"/>
                  <a:ext cx="2282605" cy="1283947"/>
                </a:xfrm>
                <a:prstGeom prst="rect">
                  <a:avLst/>
                </a:prstGeom>
                <a:ln w="3175">
                  <a:solidFill>
                    <a:prstClr val="ltGray"/>
                  </a:solidFill>
                </a:ln>
              </p:spPr>
            </p:pic>
            <p:pic>
              <p:nvPicPr>
                <p:cNvPr id="16" name="Picture 16">
                  <a:hlinkClick r:id="rId28" action="ppaction://hlinksldjump"/>
                </p:cNvPr>
                <p:cNvPicPr>
                  <a:picLocks noSelect="1" noRot="1" noChangeAspect="1" noMove="1" noResize="1" noEditPoints="1" noAdjustHandles="1" noChangeArrowheads="1" noChangeShapeType="1"/>
                </p:cNvPicPr>
                <p:nvPr/>
              </p:nvPicPr>
              <p:blipFill>
                <a:blip r:embed="rId15"/>
                <a:stretch>
                  <a:fillRect/>
                </a:stretch>
              </p:blipFill>
              <p:spPr>
                <a:xfrm>
                  <a:off x="1795697" y="5395641"/>
                  <a:ext cx="2282605" cy="1283947"/>
                </a:xfrm>
                <a:prstGeom prst="rect">
                  <a:avLst/>
                </a:prstGeom>
                <a:ln w="3175">
                  <a:solidFill>
                    <a:prstClr val="ltGray"/>
                  </a:solidFill>
                </a:ln>
              </p:spPr>
            </p:pic>
            <p:pic>
              <p:nvPicPr>
                <p:cNvPr id="17" name="Picture 17">
                  <a:hlinkClick r:id="rId29" action="ppaction://hlinksldjump"/>
                </p:cNvPr>
                <p:cNvPicPr>
                  <a:picLocks noSelect="1" noRot="1" noChangeAspect="1" noMove="1" noResize="1" noEditPoints="1" noAdjustHandles="1" noChangeArrowheads="1" noChangeShapeType="1"/>
                </p:cNvPicPr>
                <p:nvPr/>
              </p:nvPicPr>
              <p:blipFill>
                <a:blip r:embed="rId16"/>
                <a:stretch>
                  <a:fillRect/>
                </a:stretch>
              </p:blipFill>
              <p:spPr>
                <a:xfrm>
                  <a:off x="4163898" y="5395641"/>
                  <a:ext cx="2282605" cy="1283947"/>
                </a:xfrm>
                <a:prstGeom prst="rect">
                  <a:avLst/>
                </a:prstGeom>
                <a:ln w="3175">
                  <a:solidFill>
                    <a:prstClr val="ltGray"/>
                  </a:solidFill>
                </a:ln>
              </p:spPr>
            </p:pic>
          </p:grpSp>
        </mc:Fallback>
      </mc:AlternateContent>
      <p:sp>
        <p:nvSpPr>
          <p:cNvPr id="6" name="Title 5">
            <a:extLst>
              <a:ext uri="{FF2B5EF4-FFF2-40B4-BE49-F238E27FC236}">
                <a16:creationId xmlns:a16="http://schemas.microsoft.com/office/drawing/2014/main" id="{11E6B4B8-75E1-4313-88D6-8BE172B0B6E0}"/>
              </a:ext>
            </a:extLst>
          </p:cNvPr>
          <p:cNvSpPr>
            <a:spLocks noGrp="1"/>
          </p:cNvSpPr>
          <p:nvPr>
            <p:ph type="title"/>
          </p:nvPr>
        </p:nvSpPr>
        <p:spPr/>
        <p:txBody>
          <a:bodyPr/>
          <a:lstStyle/>
          <a:p>
            <a:r>
              <a:rPr lang="en-US" dirty="0"/>
              <a:t>Identity Menu | Click on a topic</a:t>
            </a:r>
          </a:p>
        </p:txBody>
      </p:sp>
    </p:spTree>
    <p:extLst>
      <p:ext uri="{BB962C8B-B14F-4D97-AF65-F5344CB8AC3E}">
        <p14:creationId xmlns:p14="http://schemas.microsoft.com/office/powerpoint/2010/main" val="198955078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a:extLst>
              <a:ext uri="{FF2B5EF4-FFF2-40B4-BE49-F238E27FC236}">
                <a16:creationId xmlns:a16="http://schemas.microsoft.com/office/drawing/2014/main" id="{BFBAE881-CA64-46C0-B896-D3D21F12CD8C}"/>
              </a:ext>
            </a:extLst>
          </p:cNvPr>
          <p:cNvSpPr/>
          <p:nvPr/>
        </p:nvSpPr>
        <p:spPr bwMode="auto">
          <a:xfrm>
            <a:off x="2" y="5173448"/>
            <a:ext cx="3921017" cy="1820631"/>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Oval 90">
            <a:extLst>
              <a:ext uri="{FF2B5EF4-FFF2-40B4-BE49-F238E27FC236}">
                <a16:creationId xmlns:a16="http://schemas.microsoft.com/office/drawing/2014/main" id="{5E3B4E95-285C-4C6C-A8B0-89BEB2E3F8D6}"/>
              </a:ext>
            </a:extLst>
          </p:cNvPr>
          <p:cNvSpPr/>
          <p:nvPr/>
        </p:nvSpPr>
        <p:spPr bwMode="auto">
          <a:xfrm>
            <a:off x="4164450" y="4106784"/>
            <a:ext cx="2967823" cy="21245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a:extLst>
              <a:ext uri="{FF2B5EF4-FFF2-40B4-BE49-F238E27FC236}">
                <a16:creationId xmlns:a16="http://schemas.microsoft.com/office/drawing/2014/main" id="{9D7C3DE8-6C6A-4892-9994-1D83751BF62F}"/>
              </a:ext>
            </a:extLst>
          </p:cNvPr>
          <p:cNvSpPr/>
          <p:nvPr/>
        </p:nvSpPr>
        <p:spPr bwMode="auto">
          <a:xfrm rot="2920284">
            <a:off x="5393206" y="2385991"/>
            <a:ext cx="5664203" cy="281347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Title 3">
            <a:extLst>
              <a:ext uri="{FF2B5EF4-FFF2-40B4-BE49-F238E27FC236}">
                <a16:creationId xmlns:a16="http://schemas.microsoft.com/office/drawing/2014/main" id="{EAF8CCC3-577F-46E5-ACC8-260CA8805D7A}"/>
              </a:ext>
            </a:extLst>
          </p:cNvPr>
          <p:cNvSpPr>
            <a:spLocks noGrp="1"/>
          </p:cNvSpPr>
          <p:nvPr>
            <p:ph type="title"/>
          </p:nvPr>
        </p:nvSpPr>
        <p:spPr>
          <a:xfrm>
            <a:off x="271827" y="285452"/>
            <a:ext cx="11888046" cy="917458"/>
          </a:xfrm>
        </p:spPr>
        <p:txBody>
          <a:bodyPr/>
          <a:lstStyle/>
          <a:p>
            <a:r>
              <a:rPr lang="en-US" dirty="0"/>
              <a:t>Azure RBAC versus Azure AD RBAC</a:t>
            </a:r>
          </a:p>
        </p:txBody>
      </p:sp>
      <p:cxnSp>
        <p:nvCxnSpPr>
          <p:cNvPr id="40" name="Straight Arrow Connector 39">
            <a:extLst>
              <a:ext uri="{FF2B5EF4-FFF2-40B4-BE49-F238E27FC236}">
                <a16:creationId xmlns:a16="http://schemas.microsoft.com/office/drawing/2014/main" id="{D3C726BB-6279-40DD-AFDA-9AD834B09133}"/>
              </a:ext>
            </a:extLst>
          </p:cNvPr>
          <p:cNvCxnSpPr>
            <a:cxnSpLocks/>
            <a:stCxn id="62" idx="0"/>
            <a:endCxn id="47" idx="1"/>
          </p:cNvCxnSpPr>
          <p:nvPr/>
        </p:nvCxnSpPr>
        <p:spPr>
          <a:xfrm flipV="1">
            <a:off x="5648556" y="3244032"/>
            <a:ext cx="1370130" cy="1055325"/>
          </a:xfrm>
          <a:prstGeom prst="straightConnector1">
            <a:avLst/>
          </a:prstGeom>
          <a:ln w="2857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B51A56A-BA27-4082-A5C7-DC0CF45EFDA5}"/>
              </a:ext>
            </a:extLst>
          </p:cNvPr>
          <p:cNvCxnSpPr>
            <a:cxnSpLocks/>
            <a:stCxn id="45" idx="0"/>
            <a:endCxn id="48" idx="1"/>
          </p:cNvCxnSpPr>
          <p:nvPr/>
        </p:nvCxnSpPr>
        <p:spPr>
          <a:xfrm flipH="1" flipV="1">
            <a:off x="7854185" y="3244033"/>
            <a:ext cx="1370129" cy="1051283"/>
          </a:xfrm>
          <a:prstGeom prst="straightConnector1">
            <a:avLst/>
          </a:prstGeom>
          <a:ln w="2857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FFE02FBE-07D8-4B9D-A557-3B9BC18709AF}"/>
              </a:ext>
            </a:extLst>
          </p:cNvPr>
          <p:cNvSpPr txBox="1"/>
          <p:nvPr/>
        </p:nvSpPr>
        <p:spPr>
          <a:xfrm>
            <a:off x="6192869" y="1558435"/>
            <a:ext cx="1134588" cy="960140"/>
          </a:xfrm>
          <a:prstGeom prst="rect">
            <a:avLst/>
          </a:prstGeom>
          <a:noFill/>
        </p:spPr>
        <p:txBody>
          <a:bodyPr wrap="none" lIns="182857" tIns="146285" rIns="182857" bIns="146285" rtlCol="0">
            <a:spAutoFit/>
          </a:bodyPr>
          <a:lstStyle/>
          <a:p>
            <a:pPr algn="ctr" defTabSz="932649">
              <a:lnSpc>
                <a:spcPct val="90000"/>
              </a:lnSpc>
              <a:spcAft>
                <a:spcPts val="600"/>
              </a:spcAft>
              <a:defRPr/>
            </a:pPr>
            <a:r>
              <a:rPr lang="en-US" sz="2400" dirty="0">
                <a:gradFill>
                  <a:gsLst>
                    <a:gs pos="2917">
                      <a:srgbClr val="FFFFFF"/>
                    </a:gs>
                    <a:gs pos="30000">
                      <a:srgbClr val="FFFFFF"/>
                    </a:gs>
                  </a:gsLst>
                  <a:lin ang="5400000" scaled="0"/>
                </a:gradFill>
                <a:latin typeface="Segoe UI Semilight"/>
              </a:rPr>
              <a:t>Azure</a:t>
            </a:r>
            <a:br>
              <a:rPr lang="en-US" sz="2400" dirty="0">
                <a:gradFill>
                  <a:gsLst>
                    <a:gs pos="2917">
                      <a:srgbClr val="FFFFFF"/>
                    </a:gs>
                    <a:gs pos="30000">
                      <a:srgbClr val="FFFFFF"/>
                    </a:gs>
                  </a:gsLst>
                  <a:lin ang="5400000" scaled="0"/>
                </a:gradFill>
                <a:latin typeface="Segoe UI Semilight"/>
              </a:rPr>
            </a:br>
            <a:r>
              <a:rPr lang="en-US" sz="2400" dirty="0">
                <a:gradFill>
                  <a:gsLst>
                    <a:gs pos="2917">
                      <a:srgbClr val="FFFFFF"/>
                    </a:gs>
                    <a:gs pos="30000">
                      <a:srgbClr val="FFFFFF"/>
                    </a:gs>
                  </a:gsLst>
                  <a:lin ang="5400000" scaled="0"/>
                </a:gradFill>
                <a:latin typeface="Segoe UI Semilight"/>
              </a:rPr>
              <a:t>AD</a:t>
            </a:r>
          </a:p>
        </p:txBody>
      </p:sp>
      <p:sp>
        <p:nvSpPr>
          <p:cNvPr id="43" name="TextBox 42">
            <a:extLst>
              <a:ext uri="{FF2B5EF4-FFF2-40B4-BE49-F238E27FC236}">
                <a16:creationId xmlns:a16="http://schemas.microsoft.com/office/drawing/2014/main" id="{DC67AE73-CBF8-4B77-B765-64262506D9F2}"/>
              </a:ext>
            </a:extLst>
          </p:cNvPr>
          <p:cNvSpPr txBox="1"/>
          <p:nvPr/>
        </p:nvSpPr>
        <p:spPr>
          <a:xfrm>
            <a:off x="5081261" y="5392146"/>
            <a:ext cx="1134589" cy="627784"/>
          </a:xfrm>
          <a:prstGeom prst="rect">
            <a:avLst/>
          </a:prstGeom>
          <a:noFill/>
        </p:spPr>
        <p:txBody>
          <a:bodyPr wrap="none" lIns="182857" tIns="146285" rIns="182857" bIns="146285" rtlCol="0">
            <a:spAutoFit/>
          </a:bodyPr>
          <a:lstStyle/>
          <a:p>
            <a:pPr algn="ctr" defTabSz="932649">
              <a:lnSpc>
                <a:spcPct val="90000"/>
              </a:lnSpc>
              <a:spcAft>
                <a:spcPts val="600"/>
              </a:spcAft>
              <a:defRPr/>
            </a:pPr>
            <a:r>
              <a:rPr lang="en-US" sz="2400" dirty="0">
                <a:gradFill>
                  <a:gsLst>
                    <a:gs pos="2917">
                      <a:srgbClr val="FFFFFF"/>
                    </a:gs>
                    <a:gs pos="30000">
                      <a:srgbClr val="FFFFFF"/>
                    </a:gs>
                  </a:gsLst>
                  <a:lin ang="5400000" scaled="0"/>
                </a:gradFill>
                <a:latin typeface="Segoe UI Semilight"/>
              </a:rPr>
              <a:t>Azure</a:t>
            </a:r>
          </a:p>
        </p:txBody>
      </p:sp>
      <p:sp>
        <p:nvSpPr>
          <p:cNvPr id="44" name="TextBox 43">
            <a:extLst>
              <a:ext uri="{FF2B5EF4-FFF2-40B4-BE49-F238E27FC236}">
                <a16:creationId xmlns:a16="http://schemas.microsoft.com/office/drawing/2014/main" id="{0AF48423-3EE2-4ACE-B4E3-4A8E07266A0C}"/>
              </a:ext>
            </a:extLst>
          </p:cNvPr>
          <p:cNvSpPr txBox="1"/>
          <p:nvPr/>
        </p:nvSpPr>
        <p:spPr>
          <a:xfrm>
            <a:off x="8539018" y="5392146"/>
            <a:ext cx="1722046" cy="627784"/>
          </a:xfrm>
          <a:prstGeom prst="rect">
            <a:avLst/>
          </a:prstGeom>
          <a:noFill/>
        </p:spPr>
        <p:txBody>
          <a:bodyPr wrap="none" lIns="182857" tIns="146285" rIns="182857" bIns="146285" rtlCol="0">
            <a:spAutoFit/>
          </a:bodyPr>
          <a:lstStyle/>
          <a:p>
            <a:pPr algn="ctr" defTabSz="932649">
              <a:lnSpc>
                <a:spcPct val="90000"/>
              </a:lnSpc>
              <a:spcAft>
                <a:spcPts val="600"/>
              </a:spcAft>
              <a:defRPr/>
            </a:pPr>
            <a:r>
              <a:rPr lang="en-US" sz="2400" dirty="0">
                <a:gradFill>
                  <a:gsLst>
                    <a:gs pos="2917">
                      <a:srgbClr val="FFFFFF"/>
                    </a:gs>
                    <a:gs pos="30000">
                      <a:srgbClr val="FFFFFF"/>
                    </a:gs>
                  </a:gsLst>
                  <a:lin ang="5400000" scaled="0"/>
                </a:gradFill>
                <a:latin typeface="Segoe UI Semilight"/>
              </a:rPr>
              <a:t>Office 365</a:t>
            </a:r>
          </a:p>
        </p:txBody>
      </p:sp>
      <p:pic>
        <p:nvPicPr>
          <p:cNvPr id="45" name="Picture 44" title="Office 365 subscription">
            <a:extLst>
              <a:ext uri="{FF2B5EF4-FFF2-40B4-BE49-F238E27FC236}">
                <a16:creationId xmlns:a16="http://schemas.microsoft.com/office/drawing/2014/main" id="{EF2B1FBF-8134-4B97-A5FA-C7FAF3AEBC55}"/>
              </a:ext>
            </a:extLst>
          </p:cNvPr>
          <p:cNvPicPr>
            <a:picLocks noChangeAspect="1"/>
          </p:cNvPicPr>
          <p:nvPr/>
        </p:nvPicPr>
        <p:blipFill>
          <a:blip r:embed="rId3"/>
          <a:stretch>
            <a:fillRect/>
          </a:stretch>
        </p:blipFill>
        <p:spPr>
          <a:xfrm>
            <a:off x="8271936" y="4295316"/>
            <a:ext cx="1904757" cy="1096831"/>
          </a:xfrm>
          <a:prstGeom prst="rect">
            <a:avLst/>
          </a:prstGeom>
        </p:spPr>
      </p:pic>
      <p:pic>
        <p:nvPicPr>
          <p:cNvPr id="62" name="Picture 61" title="Azure subscription">
            <a:extLst>
              <a:ext uri="{FF2B5EF4-FFF2-40B4-BE49-F238E27FC236}">
                <a16:creationId xmlns:a16="http://schemas.microsoft.com/office/drawing/2014/main" id="{99BD8F81-3148-4559-930A-104209E01726}"/>
              </a:ext>
            </a:extLst>
          </p:cNvPr>
          <p:cNvPicPr>
            <a:picLocks noChangeAspect="1"/>
          </p:cNvPicPr>
          <p:nvPr/>
        </p:nvPicPr>
        <p:blipFill>
          <a:blip r:embed="rId3"/>
          <a:stretch>
            <a:fillRect/>
          </a:stretch>
        </p:blipFill>
        <p:spPr>
          <a:xfrm>
            <a:off x="4696177" y="4299358"/>
            <a:ext cx="1904757" cy="1096831"/>
          </a:xfrm>
          <a:prstGeom prst="rect">
            <a:avLst/>
          </a:prstGeom>
        </p:spPr>
      </p:pic>
      <p:sp>
        <p:nvSpPr>
          <p:cNvPr id="75" name="TextBox 74">
            <a:extLst>
              <a:ext uri="{FF2B5EF4-FFF2-40B4-BE49-F238E27FC236}">
                <a16:creationId xmlns:a16="http://schemas.microsoft.com/office/drawing/2014/main" id="{2FBD6B85-DC9E-4005-8159-93F2B8474A87}"/>
              </a:ext>
            </a:extLst>
          </p:cNvPr>
          <p:cNvSpPr txBox="1"/>
          <p:nvPr/>
        </p:nvSpPr>
        <p:spPr>
          <a:xfrm>
            <a:off x="9770308" y="1327621"/>
            <a:ext cx="2482174" cy="2518440"/>
          </a:xfrm>
          <a:prstGeom prst="rect">
            <a:avLst/>
          </a:prstGeom>
          <a:noFill/>
        </p:spPr>
        <p:txBody>
          <a:bodyPr wrap="square" lIns="182857" tIns="146285" rIns="182857" bIns="146285" rtlCol="0">
            <a:spAutoFit/>
          </a:bodyPr>
          <a:lstStyle/>
          <a:p>
            <a:pPr defTabSz="932649">
              <a:lnSpc>
                <a:spcPct val="90000"/>
              </a:lnSpc>
              <a:spcAft>
                <a:spcPts val="600"/>
              </a:spcAft>
              <a:defRPr/>
            </a:pPr>
            <a:r>
              <a:rPr lang="en-US" sz="2400" dirty="0">
                <a:gradFill>
                  <a:gsLst>
                    <a:gs pos="2917">
                      <a:srgbClr val="FFFFFF"/>
                    </a:gs>
                    <a:gs pos="30000">
                      <a:srgbClr val="FFFFFF"/>
                    </a:gs>
                  </a:gsLst>
                  <a:lin ang="5400000" scaled="0"/>
                </a:gradFill>
                <a:latin typeface="Segoe UI Semilight"/>
              </a:rPr>
              <a:t>Several roles span Azure AD and Office 365, for example:</a:t>
            </a:r>
          </a:p>
          <a:p>
            <a:pPr marL="342866" indent="-342866" defTabSz="932649">
              <a:lnSpc>
                <a:spcPct val="90000"/>
              </a:lnSpc>
              <a:spcAft>
                <a:spcPts val="600"/>
              </a:spcAft>
              <a:buFont typeface="Arial" panose="020B0604020202020204" pitchFamily="34" charset="0"/>
              <a:buChar char="•"/>
              <a:defRPr/>
            </a:pPr>
            <a:r>
              <a:rPr lang="en-US" sz="2400" dirty="0">
                <a:gradFill>
                  <a:gsLst>
                    <a:gs pos="2917">
                      <a:srgbClr val="FFFFFF"/>
                    </a:gs>
                    <a:gs pos="30000">
                      <a:srgbClr val="FFFFFF"/>
                    </a:gs>
                  </a:gsLst>
                  <a:lin ang="5400000" scaled="0"/>
                </a:gradFill>
                <a:latin typeface="Segoe UI Semilight"/>
              </a:rPr>
              <a:t>Global admin</a:t>
            </a:r>
          </a:p>
          <a:p>
            <a:pPr marL="342866" indent="-342866" defTabSz="932649">
              <a:lnSpc>
                <a:spcPct val="90000"/>
              </a:lnSpc>
              <a:spcAft>
                <a:spcPts val="600"/>
              </a:spcAft>
              <a:buFont typeface="Arial" panose="020B0604020202020204" pitchFamily="34" charset="0"/>
              <a:buChar char="•"/>
              <a:defRPr/>
            </a:pPr>
            <a:r>
              <a:rPr lang="en-US" sz="2400" dirty="0">
                <a:gradFill>
                  <a:gsLst>
                    <a:gs pos="2917">
                      <a:srgbClr val="FFFFFF"/>
                    </a:gs>
                    <a:gs pos="30000">
                      <a:srgbClr val="FFFFFF"/>
                    </a:gs>
                  </a:gsLst>
                  <a:lin ang="5400000" scaled="0"/>
                </a:gradFill>
                <a:latin typeface="Segoe UI Semilight"/>
              </a:rPr>
              <a:t>User admin</a:t>
            </a:r>
          </a:p>
        </p:txBody>
      </p:sp>
      <p:cxnSp>
        <p:nvCxnSpPr>
          <p:cNvPr id="77" name="Straight Arrow Connector 76">
            <a:extLst>
              <a:ext uri="{FF2B5EF4-FFF2-40B4-BE49-F238E27FC236}">
                <a16:creationId xmlns:a16="http://schemas.microsoft.com/office/drawing/2014/main" id="{2AB74ACC-5105-4724-9D16-11795DD95AB6}"/>
              </a:ext>
            </a:extLst>
          </p:cNvPr>
          <p:cNvCxnSpPr>
            <a:cxnSpLocks/>
            <a:stCxn id="75" idx="1"/>
          </p:cNvCxnSpPr>
          <p:nvPr/>
        </p:nvCxnSpPr>
        <p:spPr>
          <a:xfrm flipH="1">
            <a:off x="9071489" y="2586842"/>
            <a:ext cx="698819" cy="67224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744C9331-224F-445A-A755-7F60B46F2A19}"/>
              </a:ext>
            </a:extLst>
          </p:cNvPr>
          <p:cNvSpPr txBox="1"/>
          <p:nvPr/>
        </p:nvSpPr>
        <p:spPr>
          <a:xfrm>
            <a:off x="656357" y="1963705"/>
            <a:ext cx="4127667" cy="1957209"/>
          </a:xfrm>
          <a:prstGeom prst="rect">
            <a:avLst/>
          </a:prstGeom>
          <a:noFill/>
        </p:spPr>
        <p:txBody>
          <a:bodyPr wrap="square" lIns="182857" tIns="146285" rIns="182857" bIns="146285" rtlCol="0">
            <a:spAutoFit/>
          </a:bodyPr>
          <a:lstStyle/>
          <a:p>
            <a:pPr defTabSz="932649">
              <a:lnSpc>
                <a:spcPct val="90000"/>
              </a:lnSpc>
              <a:spcAft>
                <a:spcPts val="600"/>
              </a:spcAft>
              <a:defRPr/>
            </a:pPr>
            <a:r>
              <a:rPr lang="en-US" sz="2400" dirty="0">
                <a:gradFill>
                  <a:gsLst>
                    <a:gs pos="2917">
                      <a:srgbClr val="FFFFFF"/>
                    </a:gs>
                    <a:gs pos="30000">
                      <a:srgbClr val="FFFFFF"/>
                    </a:gs>
                  </a:gsLst>
                  <a:lin ang="5400000" scaled="0"/>
                </a:gradFill>
                <a:latin typeface="Segoe UI Semilight"/>
              </a:rPr>
              <a:t>By default, roles do not span Azure AD and Azure. </a:t>
            </a:r>
            <a:br>
              <a:rPr lang="en-US" sz="2400" dirty="0">
                <a:gradFill>
                  <a:gsLst>
                    <a:gs pos="2917">
                      <a:srgbClr val="FFFFFF"/>
                    </a:gs>
                    <a:gs pos="30000">
                      <a:srgbClr val="FFFFFF"/>
                    </a:gs>
                  </a:gsLst>
                  <a:lin ang="5400000" scaled="0"/>
                </a:gradFill>
                <a:latin typeface="Segoe UI Semilight"/>
              </a:rPr>
            </a:br>
            <a:r>
              <a:rPr lang="en-US" sz="2400" dirty="0">
                <a:gradFill>
                  <a:gsLst>
                    <a:gs pos="2917">
                      <a:srgbClr val="FFFFFF"/>
                    </a:gs>
                    <a:gs pos="30000">
                      <a:srgbClr val="FFFFFF"/>
                    </a:gs>
                  </a:gsLst>
                  <a:lin ang="5400000" scaled="0"/>
                </a:gradFill>
                <a:latin typeface="Segoe UI Semilight"/>
              </a:rPr>
              <a:t>Azure AD Global admin has no default access* to Azure subscriptions</a:t>
            </a:r>
          </a:p>
        </p:txBody>
      </p:sp>
      <p:cxnSp>
        <p:nvCxnSpPr>
          <p:cNvPr id="83" name="Straight Arrow Connector 82">
            <a:extLst>
              <a:ext uri="{FF2B5EF4-FFF2-40B4-BE49-F238E27FC236}">
                <a16:creationId xmlns:a16="http://schemas.microsoft.com/office/drawing/2014/main" id="{7DB62B6E-CFE3-4006-BD02-DFB7DF7028A9}"/>
              </a:ext>
            </a:extLst>
          </p:cNvPr>
          <p:cNvCxnSpPr>
            <a:cxnSpLocks/>
          </p:cNvCxnSpPr>
          <p:nvPr/>
        </p:nvCxnSpPr>
        <p:spPr>
          <a:xfrm>
            <a:off x="2745333" y="3920914"/>
            <a:ext cx="2176877" cy="59343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84" name="Picture 83" title="Screenshot of Azure portal showing switch to grant Global admin access to Azure subscription">
            <a:extLst>
              <a:ext uri="{FF2B5EF4-FFF2-40B4-BE49-F238E27FC236}">
                <a16:creationId xmlns:a16="http://schemas.microsoft.com/office/drawing/2014/main" id="{3618AC6F-7BCF-43AD-90F0-9E817305E2D3}"/>
              </a:ext>
            </a:extLst>
          </p:cNvPr>
          <p:cNvPicPr>
            <a:picLocks noChangeAspect="1"/>
          </p:cNvPicPr>
          <p:nvPr/>
        </p:nvPicPr>
        <p:blipFill>
          <a:blip r:embed="rId4"/>
          <a:stretch>
            <a:fillRect/>
          </a:stretch>
        </p:blipFill>
        <p:spPr>
          <a:xfrm>
            <a:off x="393635" y="6087731"/>
            <a:ext cx="2926985" cy="637507"/>
          </a:xfrm>
          <a:prstGeom prst="rect">
            <a:avLst/>
          </a:prstGeom>
        </p:spPr>
      </p:pic>
      <p:sp>
        <p:nvSpPr>
          <p:cNvPr id="89" name="TextBox 88">
            <a:extLst>
              <a:ext uri="{FF2B5EF4-FFF2-40B4-BE49-F238E27FC236}">
                <a16:creationId xmlns:a16="http://schemas.microsoft.com/office/drawing/2014/main" id="{AFC5AE17-0627-478C-A27D-9F080FF273BF}"/>
              </a:ext>
            </a:extLst>
          </p:cNvPr>
          <p:cNvSpPr txBox="1"/>
          <p:nvPr/>
        </p:nvSpPr>
        <p:spPr>
          <a:xfrm>
            <a:off x="178454" y="5210213"/>
            <a:ext cx="3807544" cy="870897"/>
          </a:xfrm>
          <a:prstGeom prst="rect">
            <a:avLst/>
          </a:prstGeom>
          <a:noFill/>
        </p:spPr>
        <p:txBody>
          <a:bodyPr wrap="none" lIns="182857" tIns="146285" rIns="182857" bIns="146285" rtlCol="0">
            <a:spAutoFit/>
          </a:bodyPr>
          <a:lstStyle/>
          <a:p>
            <a:pPr defTabSz="932649">
              <a:lnSpc>
                <a:spcPct val="90000"/>
              </a:lnSpc>
              <a:spcAft>
                <a:spcPts val="600"/>
              </a:spcAft>
              <a:defRPr/>
            </a:pPr>
            <a:r>
              <a:rPr lang="en-US" dirty="0">
                <a:gradFill>
                  <a:gsLst>
                    <a:gs pos="2917">
                      <a:srgbClr val="FFFFFF"/>
                    </a:gs>
                    <a:gs pos="30000">
                      <a:srgbClr val="FFFFFF"/>
                    </a:gs>
                  </a:gsLst>
                  <a:lin ang="5400000" scaled="0"/>
                </a:gradFill>
                <a:latin typeface="Segoe UI Semilight"/>
              </a:rPr>
              <a:t>* Except if </a:t>
            </a:r>
            <a:r>
              <a:rPr lang="en-US" dirty="0">
                <a:gradFill>
                  <a:gsLst>
                    <a:gs pos="2917">
                      <a:srgbClr val="FFFFFF"/>
                    </a:gs>
                    <a:gs pos="30000">
                      <a:srgbClr val="FFFFFF"/>
                    </a:gs>
                  </a:gsLst>
                  <a:lin ang="5400000" scaled="0"/>
                </a:gradFill>
                <a:latin typeface="Segoe UI Semilight"/>
                <a:hlinkClick r:id="rId5"/>
              </a:rPr>
              <a:t>https://portal.azure.com</a:t>
            </a:r>
            <a:endParaRPr lang="en-US" dirty="0">
              <a:gradFill>
                <a:gsLst>
                  <a:gs pos="2917">
                    <a:srgbClr val="FFFFFF"/>
                  </a:gs>
                  <a:gs pos="30000">
                    <a:srgbClr val="FFFFFF"/>
                  </a:gs>
                </a:gsLst>
                <a:lin ang="5400000" scaled="0"/>
              </a:gradFill>
              <a:latin typeface="Segoe UI Semilight"/>
            </a:endParaRPr>
          </a:p>
          <a:p>
            <a:pPr defTabSz="932649">
              <a:lnSpc>
                <a:spcPct val="90000"/>
              </a:lnSpc>
              <a:spcAft>
                <a:spcPts val="600"/>
              </a:spcAft>
              <a:defRPr/>
            </a:pPr>
            <a:r>
              <a:rPr lang="en-US" dirty="0">
                <a:gradFill>
                  <a:gsLst>
                    <a:gs pos="2917">
                      <a:srgbClr val="FFFFFF"/>
                    </a:gs>
                    <a:gs pos="30000">
                      <a:srgbClr val="FFFFFF"/>
                    </a:gs>
                  </a:gsLst>
                  <a:lin ang="5400000" scaled="0"/>
                </a:gradFill>
                <a:latin typeface="Segoe UI Semilight"/>
                <a:sym typeface="Wingdings" panose="05000000000000000000" pitchFamily="2" charset="2"/>
              </a:rPr>
              <a:t> Azure AD  Properties</a:t>
            </a:r>
            <a:endParaRPr lang="en-US" dirty="0">
              <a:gradFill>
                <a:gsLst>
                  <a:gs pos="2917">
                    <a:srgbClr val="FFFFFF"/>
                  </a:gs>
                  <a:gs pos="30000">
                    <a:srgbClr val="FFFFFF"/>
                  </a:gs>
                </a:gsLst>
                <a:lin ang="5400000" scaled="0"/>
              </a:gradFill>
              <a:latin typeface="Segoe UI Semilight"/>
            </a:endParaRPr>
          </a:p>
        </p:txBody>
      </p:sp>
      <p:grpSp>
        <p:nvGrpSpPr>
          <p:cNvPr id="46" name="Group 45" title="Azure AD tenant">
            <a:extLst>
              <a:ext uri="{FF2B5EF4-FFF2-40B4-BE49-F238E27FC236}">
                <a16:creationId xmlns:a16="http://schemas.microsoft.com/office/drawing/2014/main" id="{1A543ED1-3F0D-4104-BED1-AD4F2579C0BE}"/>
              </a:ext>
            </a:extLst>
          </p:cNvPr>
          <p:cNvGrpSpPr/>
          <p:nvPr/>
        </p:nvGrpSpPr>
        <p:grpSpPr>
          <a:xfrm>
            <a:off x="6600934" y="1914997"/>
            <a:ext cx="1671001" cy="1598348"/>
            <a:chOff x="4713073" y="4411662"/>
            <a:chExt cx="1752600" cy="1676400"/>
          </a:xfrm>
        </p:grpSpPr>
        <p:sp>
          <p:nvSpPr>
            <p:cNvPr id="47" name="Isosceles Triangle 46">
              <a:extLst>
                <a:ext uri="{FF2B5EF4-FFF2-40B4-BE49-F238E27FC236}">
                  <a16:creationId xmlns:a16="http://schemas.microsoft.com/office/drawing/2014/main" id="{225B223F-ED02-4BB6-8344-684CC431443F}"/>
                </a:ext>
              </a:extLst>
            </p:cNvPr>
            <p:cNvSpPr/>
            <p:nvPr/>
          </p:nvSpPr>
          <p:spPr bwMode="auto">
            <a:xfrm rot="16200000">
              <a:off x="4313023" y="4811712"/>
              <a:ext cx="1676400" cy="876300"/>
            </a:xfrm>
            <a:prstGeom prst="triangle">
              <a:avLst>
                <a:gd name="adj" fmla="val 33699"/>
              </a:avLst>
            </a:prstGeom>
            <a:solidFill>
              <a:schemeClr val="tx2">
                <a:lumMod val="5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 name="Isosceles Triangle 47">
              <a:extLst>
                <a:ext uri="{FF2B5EF4-FFF2-40B4-BE49-F238E27FC236}">
                  <a16:creationId xmlns:a16="http://schemas.microsoft.com/office/drawing/2014/main" id="{CC027D73-56DB-459E-B222-4CB572BFCFD1}"/>
                </a:ext>
              </a:extLst>
            </p:cNvPr>
            <p:cNvSpPr/>
            <p:nvPr/>
          </p:nvSpPr>
          <p:spPr bwMode="auto">
            <a:xfrm rot="5400000" flipH="1">
              <a:off x="5189323" y="4811712"/>
              <a:ext cx="1676400" cy="876300"/>
            </a:xfrm>
            <a:prstGeom prst="triangle">
              <a:avLst>
                <a:gd name="adj" fmla="val 33699"/>
              </a:avLst>
            </a:prstGeom>
            <a:solidFill>
              <a:schemeClr val="tx2">
                <a:lumMod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Oval 48">
              <a:extLst>
                <a:ext uri="{FF2B5EF4-FFF2-40B4-BE49-F238E27FC236}">
                  <a16:creationId xmlns:a16="http://schemas.microsoft.com/office/drawing/2014/main" id="{5EA10635-1235-41F1-8BFF-A9B60B53940E}"/>
                </a:ext>
              </a:extLst>
            </p:cNvPr>
            <p:cNvSpPr/>
            <p:nvPr/>
          </p:nvSpPr>
          <p:spPr bwMode="auto">
            <a:xfrm>
              <a:off x="5475073" y="4792662"/>
              <a:ext cx="228600" cy="2286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Oval 49">
              <a:extLst>
                <a:ext uri="{FF2B5EF4-FFF2-40B4-BE49-F238E27FC236}">
                  <a16:creationId xmlns:a16="http://schemas.microsoft.com/office/drawing/2014/main" id="{5A6784D4-2D6F-4768-99F1-F3604B39EC91}"/>
                </a:ext>
              </a:extLst>
            </p:cNvPr>
            <p:cNvSpPr/>
            <p:nvPr/>
          </p:nvSpPr>
          <p:spPr bwMode="auto">
            <a:xfrm>
              <a:off x="5075237" y="5249862"/>
              <a:ext cx="228600" cy="2286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Oval 50">
              <a:extLst>
                <a:ext uri="{FF2B5EF4-FFF2-40B4-BE49-F238E27FC236}">
                  <a16:creationId xmlns:a16="http://schemas.microsoft.com/office/drawing/2014/main" id="{E1E30D7A-3EFE-4515-A18E-9975AD80F7ED}"/>
                </a:ext>
              </a:extLst>
            </p:cNvPr>
            <p:cNvSpPr/>
            <p:nvPr/>
          </p:nvSpPr>
          <p:spPr bwMode="auto">
            <a:xfrm>
              <a:off x="5475073" y="5571400"/>
              <a:ext cx="228600" cy="2286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Oval 51">
              <a:extLst>
                <a:ext uri="{FF2B5EF4-FFF2-40B4-BE49-F238E27FC236}">
                  <a16:creationId xmlns:a16="http://schemas.microsoft.com/office/drawing/2014/main" id="{A99F6597-310E-444E-BD22-DB8239540FB3}"/>
                </a:ext>
              </a:extLst>
            </p:cNvPr>
            <p:cNvSpPr/>
            <p:nvPr/>
          </p:nvSpPr>
          <p:spPr bwMode="auto">
            <a:xfrm>
              <a:off x="5876560" y="5249861"/>
              <a:ext cx="228600" cy="2286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53" name="Straight Connector 52">
              <a:extLst>
                <a:ext uri="{FF2B5EF4-FFF2-40B4-BE49-F238E27FC236}">
                  <a16:creationId xmlns:a16="http://schemas.microsoft.com/office/drawing/2014/main" id="{1D133193-2625-4C4E-8BFF-EFF07E4D4819}"/>
                </a:ext>
              </a:extLst>
            </p:cNvPr>
            <p:cNvCxnSpPr>
              <a:stCxn id="49" idx="4"/>
              <a:endCxn id="51" idx="0"/>
            </p:cNvCxnSpPr>
            <p:nvPr/>
          </p:nvCxnSpPr>
          <p:spPr>
            <a:xfrm>
              <a:off x="5589373" y="5021262"/>
              <a:ext cx="0" cy="550138"/>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18ED323-342E-41C2-BD05-2B793F460C5D}"/>
                </a:ext>
              </a:extLst>
            </p:cNvPr>
            <p:cNvCxnSpPr>
              <a:stCxn id="49" idx="3"/>
              <a:endCxn id="50" idx="7"/>
            </p:cNvCxnSpPr>
            <p:nvPr/>
          </p:nvCxnSpPr>
          <p:spPr>
            <a:xfrm flipH="1">
              <a:off x="5270359" y="4987784"/>
              <a:ext cx="238192" cy="295556"/>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1A9D8BF-08CF-4ABF-A2BB-BB8C29CC3820}"/>
                </a:ext>
              </a:extLst>
            </p:cNvPr>
            <p:cNvCxnSpPr>
              <a:stCxn id="49" idx="5"/>
              <a:endCxn id="52" idx="1"/>
            </p:cNvCxnSpPr>
            <p:nvPr/>
          </p:nvCxnSpPr>
          <p:spPr>
            <a:xfrm>
              <a:off x="5670195" y="4987784"/>
              <a:ext cx="239843" cy="295555"/>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16B5D99-9795-42D7-A540-F3D9F2CA7F1E}"/>
                </a:ext>
              </a:extLst>
            </p:cNvPr>
            <p:cNvCxnSpPr>
              <a:cxnSpLocks/>
              <a:stCxn id="50" idx="5"/>
              <a:endCxn id="51" idx="1"/>
            </p:cNvCxnSpPr>
            <p:nvPr/>
          </p:nvCxnSpPr>
          <p:spPr>
            <a:xfrm>
              <a:off x="5270359" y="5444984"/>
              <a:ext cx="238192" cy="159894"/>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4FD66FD-4101-4A53-906A-D9BEA776D1A0}"/>
                </a:ext>
              </a:extLst>
            </p:cNvPr>
            <p:cNvCxnSpPr>
              <a:cxnSpLocks/>
              <a:stCxn id="51" idx="7"/>
              <a:endCxn id="52" idx="3"/>
            </p:cNvCxnSpPr>
            <p:nvPr/>
          </p:nvCxnSpPr>
          <p:spPr>
            <a:xfrm flipV="1">
              <a:off x="5670195" y="5444983"/>
              <a:ext cx="239843" cy="159895"/>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7441118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B29D88E-E125-4BFE-BC28-4AD83436E485}"/>
              </a:ext>
            </a:extLst>
          </p:cNvPr>
          <p:cNvSpPr>
            <a:spLocks noGrp="1"/>
          </p:cNvSpPr>
          <p:nvPr>
            <p:ph type="title"/>
          </p:nvPr>
        </p:nvSpPr>
        <p:spPr>
          <a:xfrm>
            <a:off x="274605" y="295683"/>
            <a:ext cx="11888046" cy="917458"/>
          </a:xfrm>
        </p:spPr>
        <p:txBody>
          <a:bodyPr/>
          <a:lstStyle/>
          <a:p>
            <a:r>
              <a:rPr lang="en-US" dirty="0"/>
              <a:t>Best Practice:  Manage to Least Privilege</a:t>
            </a:r>
          </a:p>
        </p:txBody>
      </p:sp>
      <p:graphicFrame>
        <p:nvGraphicFramePr>
          <p:cNvPr id="5" name="Table 4">
            <a:extLst>
              <a:ext uri="{FF2B5EF4-FFF2-40B4-BE49-F238E27FC236}">
                <a16:creationId xmlns:a16="http://schemas.microsoft.com/office/drawing/2014/main" id="{3F8AB596-5C8E-4D91-A04F-AEA097CDA06D}"/>
              </a:ext>
            </a:extLst>
          </p:cNvPr>
          <p:cNvGraphicFramePr>
            <a:graphicFrameLocks noGrp="1"/>
          </p:cNvGraphicFramePr>
          <p:nvPr>
            <p:extLst/>
          </p:nvPr>
        </p:nvGraphicFramePr>
        <p:xfrm>
          <a:off x="1209828" y="1616552"/>
          <a:ext cx="10057115" cy="4206192"/>
        </p:xfrm>
        <a:graphic>
          <a:graphicData uri="http://schemas.openxmlformats.org/drawingml/2006/table">
            <a:tbl>
              <a:tblPr firstRow="1" bandRow="1">
                <a:tableStyleId>{5940675A-B579-460E-94D1-54222C63F5DA}</a:tableStyleId>
              </a:tblPr>
              <a:tblGrid>
                <a:gridCol w="2011423">
                  <a:extLst>
                    <a:ext uri="{9D8B030D-6E8A-4147-A177-3AD203B41FA5}">
                      <a16:colId xmlns:a16="http://schemas.microsoft.com/office/drawing/2014/main" val="813604122"/>
                    </a:ext>
                  </a:extLst>
                </a:gridCol>
                <a:gridCol w="2011423">
                  <a:extLst>
                    <a:ext uri="{9D8B030D-6E8A-4147-A177-3AD203B41FA5}">
                      <a16:colId xmlns:a16="http://schemas.microsoft.com/office/drawing/2014/main" val="3307734309"/>
                    </a:ext>
                  </a:extLst>
                </a:gridCol>
                <a:gridCol w="2011423">
                  <a:extLst>
                    <a:ext uri="{9D8B030D-6E8A-4147-A177-3AD203B41FA5}">
                      <a16:colId xmlns:a16="http://schemas.microsoft.com/office/drawing/2014/main" val="3211117242"/>
                    </a:ext>
                  </a:extLst>
                </a:gridCol>
                <a:gridCol w="2011423">
                  <a:extLst>
                    <a:ext uri="{9D8B030D-6E8A-4147-A177-3AD203B41FA5}">
                      <a16:colId xmlns:a16="http://schemas.microsoft.com/office/drawing/2014/main" val="2434212200"/>
                    </a:ext>
                  </a:extLst>
                </a:gridCol>
                <a:gridCol w="2011423">
                  <a:extLst>
                    <a:ext uri="{9D8B030D-6E8A-4147-A177-3AD203B41FA5}">
                      <a16:colId xmlns:a16="http://schemas.microsoft.com/office/drawing/2014/main" val="1839643801"/>
                    </a:ext>
                  </a:extLst>
                </a:gridCol>
              </a:tblGrid>
              <a:tr h="639998">
                <a:tc>
                  <a:txBody>
                    <a:bodyPr/>
                    <a:lstStyle/>
                    <a:p>
                      <a:endParaRPr lang="en-US" sz="1800" dirty="0"/>
                    </a:p>
                  </a:txBody>
                  <a:tcPr marL="91428" marR="91428" marT="45714" marB="45714"/>
                </a:tc>
                <a:tc>
                  <a:txBody>
                    <a:bodyPr/>
                    <a:lstStyle/>
                    <a:p>
                      <a:r>
                        <a:rPr lang="en-US" sz="1800" dirty="0"/>
                        <a:t>Reader</a:t>
                      </a:r>
                    </a:p>
                  </a:txBody>
                  <a:tcPr marL="91428" marR="91428" marT="45714" marB="45714"/>
                </a:tc>
                <a:tc>
                  <a:txBody>
                    <a:bodyPr/>
                    <a:lstStyle/>
                    <a:p>
                      <a:r>
                        <a:rPr lang="en-US" sz="1800" dirty="0"/>
                        <a:t>Resource-specific or Custom role</a:t>
                      </a:r>
                    </a:p>
                  </a:txBody>
                  <a:tcPr marL="91428" marR="91428" marT="45714" marB="45714"/>
                </a:tc>
                <a:tc>
                  <a:txBody>
                    <a:bodyPr/>
                    <a:lstStyle/>
                    <a:p>
                      <a:r>
                        <a:rPr lang="en-US" sz="1800" dirty="0"/>
                        <a:t>Contributor</a:t>
                      </a:r>
                    </a:p>
                  </a:txBody>
                  <a:tcPr marL="91428" marR="91428" marT="45714" marB="45714"/>
                </a:tc>
                <a:tc>
                  <a:txBody>
                    <a:bodyPr/>
                    <a:lstStyle/>
                    <a:p>
                      <a:r>
                        <a:rPr lang="en-US" sz="1800" dirty="0"/>
                        <a:t>Owner</a:t>
                      </a:r>
                    </a:p>
                  </a:txBody>
                  <a:tcPr marL="91428" marR="91428" marT="45714" marB="45714"/>
                </a:tc>
                <a:extLst>
                  <a:ext uri="{0D108BD9-81ED-4DB2-BD59-A6C34878D82A}">
                    <a16:rowId xmlns:a16="http://schemas.microsoft.com/office/drawing/2014/main" val="1238097895"/>
                  </a:ext>
                </a:extLst>
              </a:tr>
              <a:tr h="1188568">
                <a:tc>
                  <a:txBody>
                    <a:bodyPr/>
                    <a:lstStyle/>
                    <a:p>
                      <a:r>
                        <a:rPr lang="en-US" sz="1800" dirty="0"/>
                        <a:t>Subscription</a:t>
                      </a:r>
                    </a:p>
                    <a:p>
                      <a:endParaRPr lang="en-US" sz="1800" dirty="0"/>
                    </a:p>
                    <a:p>
                      <a:endParaRPr lang="en-US" sz="1800" dirty="0"/>
                    </a:p>
                    <a:p>
                      <a:endParaRPr lang="en-US" sz="1800" dirty="0"/>
                    </a:p>
                  </a:txBody>
                  <a:tcPr marL="91428" marR="91428" marT="45714" marB="45714"/>
                </a:tc>
                <a:tc>
                  <a:txBody>
                    <a:bodyPr/>
                    <a:lstStyle/>
                    <a:p>
                      <a:endParaRPr lang="en-US" sz="1800"/>
                    </a:p>
                  </a:txBody>
                  <a:tcPr marL="91428" marR="91428" marT="45714" marB="45714"/>
                </a:tc>
                <a:tc>
                  <a:txBody>
                    <a:bodyPr/>
                    <a:lstStyle/>
                    <a:p>
                      <a:endParaRPr lang="en-US" sz="1800"/>
                    </a:p>
                  </a:txBody>
                  <a:tcPr marL="91428" marR="91428" marT="45714" marB="45714"/>
                </a:tc>
                <a:tc>
                  <a:txBody>
                    <a:bodyPr/>
                    <a:lstStyle/>
                    <a:p>
                      <a:endParaRPr lang="en-US" sz="1800"/>
                    </a:p>
                  </a:txBody>
                  <a:tcPr marL="91428" marR="91428" marT="45714" marB="45714"/>
                </a:tc>
                <a:tc>
                  <a:txBody>
                    <a:bodyPr/>
                    <a:lstStyle/>
                    <a:p>
                      <a:endParaRPr lang="en-US" sz="1800" dirty="0"/>
                    </a:p>
                  </a:txBody>
                  <a:tcPr marL="91428" marR="91428" marT="45714" marB="45714"/>
                </a:tc>
                <a:extLst>
                  <a:ext uri="{0D108BD9-81ED-4DB2-BD59-A6C34878D82A}">
                    <a16:rowId xmlns:a16="http://schemas.microsoft.com/office/drawing/2014/main" val="2253018243"/>
                  </a:ext>
                </a:extLst>
              </a:tr>
              <a:tr h="1188568">
                <a:tc>
                  <a:txBody>
                    <a:bodyPr/>
                    <a:lstStyle/>
                    <a:p>
                      <a:r>
                        <a:rPr lang="en-US" sz="1800" dirty="0"/>
                        <a:t>Resource Group</a:t>
                      </a:r>
                    </a:p>
                    <a:p>
                      <a:endParaRPr lang="en-US" sz="1800" dirty="0"/>
                    </a:p>
                    <a:p>
                      <a:endParaRPr lang="en-US" sz="1800" dirty="0"/>
                    </a:p>
                    <a:p>
                      <a:endParaRPr lang="en-US" sz="1800" dirty="0"/>
                    </a:p>
                  </a:txBody>
                  <a:tcPr marL="91428" marR="91428" marT="45714" marB="45714"/>
                </a:tc>
                <a:tc>
                  <a:txBody>
                    <a:bodyPr/>
                    <a:lstStyle/>
                    <a:p>
                      <a:endParaRPr lang="en-US" sz="1800"/>
                    </a:p>
                  </a:txBody>
                  <a:tcPr marL="91428" marR="91428" marT="45714" marB="45714"/>
                </a:tc>
                <a:tc>
                  <a:txBody>
                    <a:bodyPr/>
                    <a:lstStyle/>
                    <a:p>
                      <a:endParaRPr lang="en-US" sz="1800"/>
                    </a:p>
                  </a:txBody>
                  <a:tcPr marL="91428" marR="91428" marT="45714" marB="45714"/>
                </a:tc>
                <a:tc>
                  <a:txBody>
                    <a:bodyPr/>
                    <a:lstStyle/>
                    <a:p>
                      <a:endParaRPr lang="en-US" sz="1800" dirty="0"/>
                    </a:p>
                  </a:txBody>
                  <a:tcPr marL="91428" marR="91428" marT="45714" marB="45714"/>
                </a:tc>
                <a:tc>
                  <a:txBody>
                    <a:bodyPr/>
                    <a:lstStyle/>
                    <a:p>
                      <a:endParaRPr lang="en-US" sz="1800"/>
                    </a:p>
                  </a:txBody>
                  <a:tcPr marL="91428" marR="91428" marT="45714" marB="45714"/>
                </a:tc>
                <a:extLst>
                  <a:ext uri="{0D108BD9-81ED-4DB2-BD59-A6C34878D82A}">
                    <a16:rowId xmlns:a16="http://schemas.microsoft.com/office/drawing/2014/main" val="4164217137"/>
                  </a:ext>
                </a:extLst>
              </a:tr>
              <a:tr h="1188568">
                <a:tc>
                  <a:txBody>
                    <a:bodyPr/>
                    <a:lstStyle/>
                    <a:p>
                      <a:r>
                        <a:rPr lang="en-US" sz="1800" dirty="0"/>
                        <a:t>Resource</a:t>
                      </a:r>
                    </a:p>
                    <a:p>
                      <a:endParaRPr lang="en-US" sz="1800" dirty="0"/>
                    </a:p>
                    <a:p>
                      <a:endParaRPr lang="en-US" sz="1800" dirty="0"/>
                    </a:p>
                    <a:p>
                      <a:endParaRPr lang="en-US" sz="1800" dirty="0"/>
                    </a:p>
                  </a:txBody>
                  <a:tcPr marL="91428" marR="91428" marT="45714" marB="45714"/>
                </a:tc>
                <a:tc>
                  <a:txBody>
                    <a:bodyPr/>
                    <a:lstStyle/>
                    <a:p>
                      <a:endParaRPr lang="en-US" sz="1800"/>
                    </a:p>
                  </a:txBody>
                  <a:tcPr marL="91428" marR="91428" marT="45714" marB="45714"/>
                </a:tc>
                <a:tc>
                  <a:txBody>
                    <a:bodyPr/>
                    <a:lstStyle/>
                    <a:p>
                      <a:endParaRPr lang="en-US" sz="1800" dirty="0"/>
                    </a:p>
                  </a:txBody>
                  <a:tcPr marL="91428" marR="91428" marT="45714" marB="45714"/>
                </a:tc>
                <a:tc>
                  <a:txBody>
                    <a:bodyPr/>
                    <a:lstStyle/>
                    <a:p>
                      <a:endParaRPr lang="en-US" sz="1800" dirty="0"/>
                    </a:p>
                  </a:txBody>
                  <a:tcPr marL="91428" marR="91428" marT="45714" marB="45714"/>
                </a:tc>
                <a:tc>
                  <a:txBody>
                    <a:bodyPr/>
                    <a:lstStyle/>
                    <a:p>
                      <a:endParaRPr lang="en-US" sz="1800" dirty="0"/>
                    </a:p>
                  </a:txBody>
                  <a:tcPr marL="91428" marR="91428" marT="45714" marB="45714"/>
                </a:tc>
                <a:extLst>
                  <a:ext uri="{0D108BD9-81ED-4DB2-BD59-A6C34878D82A}">
                    <a16:rowId xmlns:a16="http://schemas.microsoft.com/office/drawing/2014/main" val="976495021"/>
                  </a:ext>
                </a:extLst>
              </a:tr>
            </a:tbl>
          </a:graphicData>
        </a:graphic>
      </p:graphicFrame>
      <p:sp>
        <p:nvSpPr>
          <p:cNvPr id="11" name="Arrow: Up 10">
            <a:extLst>
              <a:ext uri="{FF2B5EF4-FFF2-40B4-BE49-F238E27FC236}">
                <a16:creationId xmlns:a16="http://schemas.microsoft.com/office/drawing/2014/main" id="{A777F65B-CCB0-4C86-A06C-A806AF9B7081}"/>
              </a:ext>
            </a:extLst>
          </p:cNvPr>
          <p:cNvSpPr/>
          <p:nvPr/>
        </p:nvSpPr>
        <p:spPr bwMode="auto">
          <a:xfrm>
            <a:off x="370552" y="1616552"/>
            <a:ext cx="686896" cy="4205703"/>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7" tIns="146285" rIns="182857" bIns="146285" numCol="1" spcCol="0" rtlCol="0" fromWordArt="0" anchor="ctr" anchorCtr="1" forceAA="0" compatLnSpc="1">
            <a:prstTxWarp prst="textNoShape">
              <a:avLst/>
            </a:prstTxWarp>
            <a:noAutofit/>
          </a:bodyPr>
          <a:lstStyle/>
          <a:p>
            <a:pPr algn="ctr" defTabSz="932379" fontAlgn="base">
              <a:lnSpc>
                <a:spcPct val="90000"/>
              </a:lnSpc>
              <a:spcBef>
                <a:spcPct val="0"/>
              </a:spcBef>
              <a:spcAft>
                <a:spcPct val="0"/>
              </a:spcAft>
              <a:defRPr/>
            </a:pPr>
            <a:r>
              <a:rPr lang="en-US" sz="2400" dirty="0">
                <a:gradFill>
                  <a:gsLst>
                    <a:gs pos="0">
                      <a:srgbClr val="FFFFFF"/>
                    </a:gs>
                    <a:gs pos="100000">
                      <a:srgbClr val="FFFFFF"/>
                    </a:gs>
                  </a:gsLst>
                  <a:lin ang="5400000" scaled="0"/>
                </a:gradFill>
                <a:latin typeface="Segoe UI Semilight"/>
                <a:ea typeface="Segoe UI" pitchFamily="34" charset="0"/>
                <a:cs typeface="Segoe UI" pitchFamily="34" charset="0"/>
              </a:rPr>
              <a:t>More scope</a:t>
            </a:r>
          </a:p>
        </p:txBody>
      </p:sp>
      <p:sp>
        <p:nvSpPr>
          <p:cNvPr id="13" name="Arrow: Up 12">
            <a:extLst>
              <a:ext uri="{FF2B5EF4-FFF2-40B4-BE49-F238E27FC236}">
                <a16:creationId xmlns:a16="http://schemas.microsoft.com/office/drawing/2014/main" id="{E1762B5B-D32F-43C0-AC87-DC158923F67B}"/>
              </a:ext>
            </a:extLst>
          </p:cNvPr>
          <p:cNvSpPr/>
          <p:nvPr/>
        </p:nvSpPr>
        <p:spPr bwMode="auto">
          <a:xfrm rot="5400000">
            <a:off x="5919181" y="1333855"/>
            <a:ext cx="638411" cy="10057116"/>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7" tIns="146285" rIns="182857" bIns="146285" numCol="1" spcCol="0" rtlCol="0" fromWordArt="0" anchor="ctr" anchorCtr="1" forceAA="0" compatLnSpc="1">
            <a:prstTxWarp prst="textNoShape">
              <a:avLst/>
            </a:prstTxWarp>
            <a:noAutofit/>
          </a:bodyPr>
          <a:lstStyle/>
          <a:p>
            <a:pPr algn="ctr" defTabSz="932379" fontAlgn="base">
              <a:lnSpc>
                <a:spcPct val="90000"/>
              </a:lnSpc>
              <a:spcBef>
                <a:spcPct val="0"/>
              </a:spcBef>
              <a:spcAft>
                <a:spcPct val="0"/>
              </a:spcAft>
              <a:defRPr/>
            </a:pPr>
            <a:r>
              <a:rPr lang="en-US" sz="2400" dirty="0">
                <a:gradFill>
                  <a:gsLst>
                    <a:gs pos="0">
                      <a:srgbClr val="FFFFFF"/>
                    </a:gs>
                    <a:gs pos="100000">
                      <a:srgbClr val="FFFFFF"/>
                    </a:gs>
                  </a:gsLst>
                  <a:lin ang="5400000" scaled="0"/>
                </a:gradFill>
                <a:latin typeface="Segoe UI Semilight"/>
                <a:ea typeface="Segoe UI" pitchFamily="34" charset="0"/>
                <a:cs typeface="Segoe UI" pitchFamily="34" charset="0"/>
              </a:rPr>
              <a:t>More actions</a:t>
            </a:r>
          </a:p>
        </p:txBody>
      </p:sp>
      <p:sp>
        <p:nvSpPr>
          <p:cNvPr id="2" name="Rectangle 1">
            <a:extLst>
              <a:ext uri="{FF2B5EF4-FFF2-40B4-BE49-F238E27FC236}">
                <a16:creationId xmlns:a16="http://schemas.microsoft.com/office/drawing/2014/main" id="{FE416C14-6DF5-41D3-AA9A-5C772CDD8FA3}"/>
              </a:ext>
            </a:extLst>
          </p:cNvPr>
          <p:cNvSpPr/>
          <p:nvPr/>
        </p:nvSpPr>
        <p:spPr bwMode="auto">
          <a:xfrm>
            <a:off x="3322214" y="2354408"/>
            <a:ext cx="7847598" cy="3352372"/>
          </a:xfrm>
          <a:prstGeom prst="rect">
            <a:avLst/>
          </a:prstGeom>
          <a:solidFill>
            <a:schemeClr val="accent2"/>
          </a:solidFill>
          <a:ln w="762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73AEEB5C-4B80-4F46-A2D8-BA0D90A90F61}"/>
              </a:ext>
            </a:extLst>
          </p:cNvPr>
          <p:cNvSpPr/>
          <p:nvPr/>
        </p:nvSpPr>
        <p:spPr bwMode="auto">
          <a:xfrm>
            <a:off x="3322213" y="3573452"/>
            <a:ext cx="3809514" cy="2133328"/>
          </a:xfrm>
          <a:prstGeom prst="rect">
            <a:avLst/>
          </a:prstGeom>
          <a:solidFill>
            <a:schemeClr val="accent4"/>
          </a:solidFill>
          <a:ln w="762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TextBox 8">
            <a:extLst>
              <a:ext uri="{FF2B5EF4-FFF2-40B4-BE49-F238E27FC236}">
                <a16:creationId xmlns:a16="http://schemas.microsoft.com/office/drawing/2014/main" id="{C637D0A4-9007-4679-B470-06360D88E050}"/>
              </a:ext>
            </a:extLst>
          </p:cNvPr>
          <p:cNvSpPr txBox="1"/>
          <p:nvPr/>
        </p:nvSpPr>
        <p:spPr>
          <a:xfrm>
            <a:off x="8236220" y="3716015"/>
            <a:ext cx="2087485" cy="627784"/>
          </a:xfrm>
          <a:prstGeom prst="rect">
            <a:avLst/>
          </a:prstGeom>
          <a:noFill/>
        </p:spPr>
        <p:txBody>
          <a:bodyPr wrap="none" lIns="182857" tIns="146285" rIns="182857" bIns="146285" rtlCol="0">
            <a:spAutoFit/>
          </a:bodyPr>
          <a:lstStyle/>
          <a:p>
            <a:pPr defTabSz="932649">
              <a:lnSpc>
                <a:spcPct val="90000"/>
              </a:lnSpc>
              <a:spcAft>
                <a:spcPts val="600"/>
              </a:spcAft>
              <a:defRPr/>
            </a:pPr>
            <a:r>
              <a:rPr lang="en-US" sz="2400" dirty="0">
                <a:gradFill>
                  <a:gsLst>
                    <a:gs pos="2917">
                      <a:srgbClr val="FFFFFF"/>
                    </a:gs>
                    <a:gs pos="30000">
                      <a:srgbClr val="FFFFFF"/>
                    </a:gs>
                  </a:gsLst>
                  <a:lin ang="5400000" scaled="0"/>
                </a:gradFill>
                <a:latin typeface="Segoe UI Semilight"/>
              </a:rPr>
              <a:t>“Blast radius”</a:t>
            </a:r>
          </a:p>
        </p:txBody>
      </p:sp>
      <p:cxnSp>
        <p:nvCxnSpPr>
          <p:cNvPr id="17" name="Straight Arrow Connector 16">
            <a:extLst>
              <a:ext uri="{FF2B5EF4-FFF2-40B4-BE49-F238E27FC236}">
                <a16:creationId xmlns:a16="http://schemas.microsoft.com/office/drawing/2014/main" id="{2B48B4BC-5F3D-40DA-BEEF-8ABDEA13627C}"/>
              </a:ext>
            </a:extLst>
          </p:cNvPr>
          <p:cNvCxnSpPr>
            <a:stCxn id="9" idx="1"/>
            <a:endCxn id="15" idx="3"/>
          </p:cNvCxnSpPr>
          <p:nvPr/>
        </p:nvCxnSpPr>
        <p:spPr>
          <a:xfrm flipH="1">
            <a:off x="7131728" y="4029908"/>
            <a:ext cx="1104492" cy="610209"/>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50DC7651-CDEE-43A7-8536-3030AAA357E2}"/>
              </a:ext>
            </a:extLst>
          </p:cNvPr>
          <p:cNvPicPr>
            <a:picLocks noChangeAspect="1"/>
          </p:cNvPicPr>
          <p:nvPr/>
        </p:nvPicPr>
        <p:blipFill>
          <a:blip r:embed="rId3"/>
          <a:stretch>
            <a:fillRect/>
          </a:stretch>
        </p:blipFill>
        <p:spPr>
          <a:xfrm>
            <a:off x="6273660" y="3649643"/>
            <a:ext cx="757452" cy="761902"/>
          </a:xfrm>
          <a:prstGeom prst="rect">
            <a:avLst/>
          </a:prstGeom>
        </p:spPr>
      </p:pic>
      <p:pic>
        <p:nvPicPr>
          <p:cNvPr id="16" name="Picture 15">
            <a:extLst>
              <a:ext uri="{FF2B5EF4-FFF2-40B4-BE49-F238E27FC236}">
                <a16:creationId xmlns:a16="http://schemas.microsoft.com/office/drawing/2014/main" id="{D654CD95-9245-42C1-907A-63E92F0FC028}"/>
              </a:ext>
            </a:extLst>
          </p:cNvPr>
          <p:cNvPicPr>
            <a:picLocks noChangeAspect="1"/>
          </p:cNvPicPr>
          <p:nvPr/>
        </p:nvPicPr>
        <p:blipFill>
          <a:blip r:embed="rId4"/>
          <a:stretch>
            <a:fillRect/>
          </a:stretch>
        </p:blipFill>
        <p:spPr>
          <a:xfrm>
            <a:off x="10239074" y="2430599"/>
            <a:ext cx="854548" cy="863179"/>
          </a:xfrm>
          <a:prstGeom prst="rect">
            <a:avLst/>
          </a:prstGeom>
        </p:spPr>
      </p:pic>
    </p:spTree>
    <p:extLst>
      <p:ext uri="{BB962C8B-B14F-4D97-AF65-F5344CB8AC3E}">
        <p14:creationId xmlns:p14="http://schemas.microsoft.com/office/powerpoint/2010/main" val="8150958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left)">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6"/>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2" grpId="0" animBg="1"/>
      <p:bldP spid="15" grpId="0" animBg="1"/>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B29D88E-E125-4BFE-BC28-4AD83436E485}"/>
              </a:ext>
            </a:extLst>
          </p:cNvPr>
          <p:cNvSpPr>
            <a:spLocks noGrp="1"/>
          </p:cNvSpPr>
          <p:nvPr>
            <p:ph type="title"/>
          </p:nvPr>
        </p:nvSpPr>
        <p:spPr>
          <a:xfrm>
            <a:off x="274605" y="295683"/>
            <a:ext cx="11888046" cy="917458"/>
          </a:xfrm>
        </p:spPr>
        <p:txBody>
          <a:bodyPr/>
          <a:lstStyle/>
          <a:p>
            <a:r>
              <a:rPr lang="en-US" dirty="0"/>
              <a:t>Best Practice:  Manage to Least Privilege</a:t>
            </a:r>
          </a:p>
        </p:txBody>
      </p:sp>
      <p:graphicFrame>
        <p:nvGraphicFramePr>
          <p:cNvPr id="5" name="Table 4">
            <a:extLst>
              <a:ext uri="{FF2B5EF4-FFF2-40B4-BE49-F238E27FC236}">
                <a16:creationId xmlns:a16="http://schemas.microsoft.com/office/drawing/2014/main" id="{3F8AB596-5C8E-4D91-A04F-AEA097CDA06D}"/>
              </a:ext>
            </a:extLst>
          </p:cNvPr>
          <p:cNvGraphicFramePr>
            <a:graphicFrameLocks noGrp="1"/>
          </p:cNvGraphicFramePr>
          <p:nvPr>
            <p:extLst/>
          </p:nvPr>
        </p:nvGraphicFramePr>
        <p:xfrm>
          <a:off x="1209828" y="1616552"/>
          <a:ext cx="10057115" cy="4206192"/>
        </p:xfrm>
        <a:graphic>
          <a:graphicData uri="http://schemas.openxmlformats.org/drawingml/2006/table">
            <a:tbl>
              <a:tblPr firstRow="1" bandRow="1">
                <a:tableStyleId>{5940675A-B579-460E-94D1-54222C63F5DA}</a:tableStyleId>
              </a:tblPr>
              <a:tblGrid>
                <a:gridCol w="2011423">
                  <a:extLst>
                    <a:ext uri="{9D8B030D-6E8A-4147-A177-3AD203B41FA5}">
                      <a16:colId xmlns:a16="http://schemas.microsoft.com/office/drawing/2014/main" val="813604122"/>
                    </a:ext>
                  </a:extLst>
                </a:gridCol>
                <a:gridCol w="2011423">
                  <a:extLst>
                    <a:ext uri="{9D8B030D-6E8A-4147-A177-3AD203B41FA5}">
                      <a16:colId xmlns:a16="http://schemas.microsoft.com/office/drawing/2014/main" val="3307734309"/>
                    </a:ext>
                  </a:extLst>
                </a:gridCol>
                <a:gridCol w="2011423">
                  <a:extLst>
                    <a:ext uri="{9D8B030D-6E8A-4147-A177-3AD203B41FA5}">
                      <a16:colId xmlns:a16="http://schemas.microsoft.com/office/drawing/2014/main" val="3211117242"/>
                    </a:ext>
                  </a:extLst>
                </a:gridCol>
                <a:gridCol w="2011423">
                  <a:extLst>
                    <a:ext uri="{9D8B030D-6E8A-4147-A177-3AD203B41FA5}">
                      <a16:colId xmlns:a16="http://schemas.microsoft.com/office/drawing/2014/main" val="2434212200"/>
                    </a:ext>
                  </a:extLst>
                </a:gridCol>
                <a:gridCol w="2011423">
                  <a:extLst>
                    <a:ext uri="{9D8B030D-6E8A-4147-A177-3AD203B41FA5}">
                      <a16:colId xmlns:a16="http://schemas.microsoft.com/office/drawing/2014/main" val="1839643801"/>
                    </a:ext>
                  </a:extLst>
                </a:gridCol>
              </a:tblGrid>
              <a:tr h="639998">
                <a:tc>
                  <a:txBody>
                    <a:bodyPr/>
                    <a:lstStyle/>
                    <a:p>
                      <a:endParaRPr lang="en-US" sz="1800" dirty="0"/>
                    </a:p>
                  </a:txBody>
                  <a:tcPr marL="91428" marR="91428" marT="45714" marB="45714"/>
                </a:tc>
                <a:tc>
                  <a:txBody>
                    <a:bodyPr/>
                    <a:lstStyle/>
                    <a:p>
                      <a:r>
                        <a:rPr lang="en-US" sz="1800" dirty="0"/>
                        <a:t>Reader</a:t>
                      </a:r>
                    </a:p>
                  </a:txBody>
                  <a:tcPr marL="91428" marR="91428" marT="45714" marB="45714"/>
                </a:tc>
                <a:tc>
                  <a:txBody>
                    <a:bodyPr/>
                    <a:lstStyle/>
                    <a:p>
                      <a:r>
                        <a:rPr lang="en-US" sz="1800" dirty="0"/>
                        <a:t>Resource-specific or Custom role</a:t>
                      </a:r>
                    </a:p>
                  </a:txBody>
                  <a:tcPr marL="91428" marR="91428" marT="45714" marB="45714"/>
                </a:tc>
                <a:tc>
                  <a:txBody>
                    <a:bodyPr/>
                    <a:lstStyle/>
                    <a:p>
                      <a:r>
                        <a:rPr lang="en-US" sz="1800" dirty="0"/>
                        <a:t>Contributor</a:t>
                      </a:r>
                    </a:p>
                  </a:txBody>
                  <a:tcPr marL="91428" marR="91428" marT="45714" marB="45714"/>
                </a:tc>
                <a:tc>
                  <a:txBody>
                    <a:bodyPr/>
                    <a:lstStyle/>
                    <a:p>
                      <a:r>
                        <a:rPr lang="en-US" sz="1800" dirty="0"/>
                        <a:t>Owner</a:t>
                      </a:r>
                    </a:p>
                  </a:txBody>
                  <a:tcPr marL="91428" marR="91428" marT="45714" marB="45714"/>
                </a:tc>
                <a:extLst>
                  <a:ext uri="{0D108BD9-81ED-4DB2-BD59-A6C34878D82A}">
                    <a16:rowId xmlns:a16="http://schemas.microsoft.com/office/drawing/2014/main" val="1238097895"/>
                  </a:ext>
                </a:extLst>
              </a:tr>
              <a:tr h="1188568">
                <a:tc>
                  <a:txBody>
                    <a:bodyPr/>
                    <a:lstStyle/>
                    <a:p>
                      <a:r>
                        <a:rPr lang="en-US" sz="1800" dirty="0"/>
                        <a:t>Subscription</a:t>
                      </a:r>
                    </a:p>
                    <a:p>
                      <a:endParaRPr lang="en-US" sz="1800" dirty="0"/>
                    </a:p>
                    <a:p>
                      <a:endParaRPr lang="en-US" sz="1800" dirty="0"/>
                    </a:p>
                    <a:p>
                      <a:endParaRPr lang="en-US" sz="1800" dirty="0"/>
                    </a:p>
                  </a:txBody>
                  <a:tcPr marL="91428" marR="91428" marT="45714" marB="45714"/>
                </a:tc>
                <a:tc>
                  <a:txBody>
                    <a:bodyPr/>
                    <a:lstStyle/>
                    <a:p>
                      <a:endParaRPr lang="en-US" sz="1800"/>
                    </a:p>
                  </a:txBody>
                  <a:tcPr marL="91428" marR="91428" marT="45714" marB="45714"/>
                </a:tc>
                <a:tc>
                  <a:txBody>
                    <a:bodyPr/>
                    <a:lstStyle/>
                    <a:p>
                      <a:endParaRPr lang="en-US" sz="1800"/>
                    </a:p>
                  </a:txBody>
                  <a:tcPr marL="91428" marR="91428" marT="45714" marB="45714"/>
                </a:tc>
                <a:tc>
                  <a:txBody>
                    <a:bodyPr/>
                    <a:lstStyle/>
                    <a:p>
                      <a:endParaRPr lang="en-US" sz="1800"/>
                    </a:p>
                  </a:txBody>
                  <a:tcPr marL="91428" marR="91428" marT="45714" marB="45714"/>
                </a:tc>
                <a:tc>
                  <a:txBody>
                    <a:bodyPr/>
                    <a:lstStyle/>
                    <a:p>
                      <a:endParaRPr lang="en-US" sz="1800" dirty="0"/>
                    </a:p>
                  </a:txBody>
                  <a:tcPr marL="91428" marR="91428" marT="45714" marB="45714"/>
                </a:tc>
                <a:extLst>
                  <a:ext uri="{0D108BD9-81ED-4DB2-BD59-A6C34878D82A}">
                    <a16:rowId xmlns:a16="http://schemas.microsoft.com/office/drawing/2014/main" val="2253018243"/>
                  </a:ext>
                </a:extLst>
              </a:tr>
              <a:tr h="1188568">
                <a:tc>
                  <a:txBody>
                    <a:bodyPr/>
                    <a:lstStyle/>
                    <a:p>
                      <a:r>
                        <a:rPr lang="en-US" sz="1800" dirty="0"/>
                        <a:t>Resource Group</a:t>
                      </a:r>
                    </a:p>
                    <a:p>
                      <a:endParaRPr lang="en-US" sz="1800" dirty="0"/>
                    </a:p>
                    <a:p>
                      <a:endParaRPr lang="en-US" sz="1800" dirty="0"/>
                    </a:p>
                    <a:p>
                      <a:endParaRPr lang="en-US" sz="1800" dirty="0"/>
                    </a:p>
                  </a:txBody>
                  <a:tcPr marL="91428" marR="91428" marT="45714" marB="45714"/>
                </a:tc>
                <a:tc>
                  <a:txBody>
                    <a:bodyPr/>
                    <a:lstStyle/>
                    <a:p>
                      <a:endParaRPr lang="en-US" sz="1800"/>
                    </a:p>
                  </a:txBody>
                  <a:tcPr marL="91428" marR="91428" marT="45714" marB="45714"/>
                </a:tc>
                <a:tc>
                  <a:txBody>
                    <a:bodyPr/>
                    <a:lstStyle/>
                    <a:p>
                      <a:endParaRPr lang="en-US" sz="1800"/>
                    </a:p>
                  </a:txBody>
                  <a:tcPr marL="91428" marR="91428" marT="45714" marB="45714"/>
                </a:tc>
                <a:tc>
                  <a:txBody>
                    <a:bodyPr/>
                    <a:lstStyle/>
                    <a:p>
                      <a:endParaRPr lang="en-US" sz="1800"/>
                    </a:p>
                  </a:txBody>
                  <a:tcPr marL="91428" marR="91428" marT="45714" marB="45714"/>
                </a:tc>
                <a:tc>
                  <a:txBody>
                    <a:bodyPr/>
                    <a:lstStyle/>
                    <a:p>
                      <a:endParaRPr lang="en-US" sz="1800"/>
                    </a:p>
                  </a:txBody>
                  <a:tcPr marL="91428" marR="91428" marT="45714" marB="45714"/>
                </a:tc>
                <a:extLst>
                  <a:ext uri="{0D108BD9-81ED-4DB2-BD59-A6C34878D82A}">
                    <a16:rowId xmlns:a16="http://schemas.microsoft.com/office/drawing/2014/main" val="4164217137"/>
                  </a:ext>
                </a:extLst>
              </a:tr>
              <a:tr h="1188568">
                <a:tc>
                  <a:txBody>
                    <a:bodyPr/>
                    <a:lstStyle/>
                    <a:p>
                      <a:r>
                        <a:rPr lang="en-US" sz="1800" dirty="0"/>
                        <a:t>Resource</a:t>
                      </a:r>
                    </a:p>
                    <a:p>
                      <a:endParaRPr lang="en-US" sz="1800" dirty="0"/>
                    </a:p>
                    <a:p>
                      <a:endParaRPr lang="en-US" sz="1800" dirty="0"/>
                    </a:p>
                    <a:p>
                      <a:endParaRPr lang="en-US" sz="1800" dirty="0"/>
                    </a:p>
                  </a:txBody>
                  <a:tcPr marL="91428" marR="91428" marT="45714" marB="45714"/>
                </a:tc>
                <a:tc>
                  <a:txBody>
                    <a:bodyPr/>
                    <a:lstStyle/>
                    <a:p>
                      <a:endParaRPr lang="en-US" sz="1800"/>
                    </a:p>
                  </a:txBody>
                  <a:tcPr marL="91428" marR="91428" marT="45714" marB="45714"/>
                </a:tc>
                <a:tc>
                  <a:txBody>
                    <a:bodyPr/>
                    <a:lstStyle/>
                    <a:p>
                      <a:endParaRPr lang="en-US" sz="1800"/>
                    </a:p>
                  </a:txBody>
                  <a:tcPr marL="91428" marR="91428" marT="45714" marB="45714"/>
                </a:tc>
                <a:tc>
                  <a:txBody>
                    <a:bodyPr/>
                    <a:lstStyle/>
                    <a:p>
                      <a:endParaRPr lang="en-US" sz="1800"/>
                    </a:p>
                  </a:txBody>
                  <a:tcPr marL="91428" marR="91428" marT="45714" marB="45714"/>
                </a:tc>
                <a:tc>
                  <a:txBody>
                    <a:bodyPr/>
                    <a:lstStyle/>
                    <a:p>
                      <a:endParaRPr lang="en-US" sz="1800" dirty="0"/>
                    </a:p>
                  </a:txBody>
                  <a:tcPr marL="91428" marR="91428" marT="45714" marB="45714"/>
                </a:tc>
                <a:extLst>
                  <a:ext uri="{0D108BD9-81ED-4DB2-BD59-A6C34878D82A}">
                    <a16:rowId xmlns:a16="http://schemas.microsoft.com/office/drawing/2014/main" val="976495021"/>
                  </a:ext>
                </a:extLst>
              </a:tr>
            </a:tbl>
          </a:graphicData>
        </a:graphic>
      </p:graphicFrame>
      <p:sp>
        <p:nvSpPr>
          <p:cNvPr id="7" name="Rectangle 6">
            <a:extLst>
              <a:ext uri="{FF2B5EF4-FFF2-40B4-BE49-F238E27FC236}">
                <a16:creationId xmlns:a16="http://schemas.microsoft.com/office/drawing/2014/main" id="{A88DC1C7-90F7-47FF-8B83-DF6170C8E7C7}"/>
              </a:ext>
            </a:extLst>
          </p:cNvPr>
          <p:cNvSpPr/>
          <p:nvPr/>
        </p:nvSpPr>
        <p:spPr bwMode="auto">
          <a:xfrm>
            <a:off x="3323689" y="2378455"/>
            <a:ext cx="1827091" cy="2140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Autofit/>
          </a:bodyPr>
          <a:lstStyle/>
          <a:p>
            <a:pPr algn="ctr" defTabSz="932379" fontAlgn="base">
              <a:lnSpc>
                <a:spcPct val="90000"/>
              </a:lnSpc>
              <a:spcBef>
                <a:spcPct val="0"/>
              </a:spcBef>
              <a:spcAft>
                <a:spcPct val="0"/>
              </a:spcAft>
              <a:defRPr/>
            </a:pPr>
            <a:r>
              <a:rPr lang="en-US" sz="2400" dirty="0">
                <a:gradFill>
                  <a:gsLst>
                    <a:gs pos="0">
                      <a:srgbClr val="FFFFFF"/>
                    </a:gs>
                    <a:gs pos="100000">
                      <a:srgbClr val="FFFFFF"/>
                    </a:gs>
                  </a:gsLst>
                  <a:lin ang="5400000" scaled="0"/>
                </a:gradFill>
                <a:latin typeface="Segoe UI Semilight"/>
                <a:ea typeface="Segoe UI" pitchFamily="34" charset="0"/>
                <a:cs typeface="Segoe UI" pitchFamily="34" charset="0"/>
              </a:rPr>
              <a:t>Observers</a:t>
            </a:r>
          </a:p>
        </p:txBody>
      </p:sp>
      <p:sp>
        <p:nvSpPr>
          <p:cNvPr id="6" name="Rectangle 5">
            <a:extLst>
              <a:ext uri="{FF2B5EF4-FFF2-40B4-BE49-F238E27FC236}">
                <a16:creationId xmlns:a16="http://schemas.microsoft.com/office/drawing/2014/main" id="{CF12FE0E-0F8D-4F04-B690-B01E0124F00C}"/>
              </a:ext>
            </a:extLst>
          </p:cNvPr>
          <p:cNvSpPr/>
          <p:nvPr/>
        </p:nvSpPr>
        <p:spPr bwMode="auto">
          <a:xfrm>
            <a:off x="3323690" y="4740353"/>
            <a:ext cx="7846122" cy="9664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Autofit/>
          </a:bodyPr>
          <a:lstStyle/>
          <a:p>
            <a:pPr algn="ctr" defTabSz="932379" fontAlgn="base">
              <a:lnSpc>
                <a:spcPct val="90000"/>
              </a:lnSpc>
              <a:spcBef>
                <a:spcPct val="0"/>
              </a:spcBef>
              <a:spcAft>
                <a:spcPct val="0"/>
              </a:spcAft>
              <a:defRPr/>
            </a:pPr>
            <a:r>
              <a:rPr lang="en-US" sz="2400" dirty="0">
                <a:gradFill>
                  <a:gsLst>
                    <a:gs pos="0">
                      <a:srgbClr val="FFFFFF"/>
                    </a:gs>
                    <a:gs pos="100000">
                      <a:srgbClr val="FFFFFF"/>
                    </a:gs>
                  </a:gsLst>
                  <a:lin ang="5400000" scaled="0"/>
                </a:gradFill>
                <a:latin typeface="Segoe UI Semilight"/>
                <a:ea typeface="Segoe UI" pitchFamily="34" charset="0"/>
                <a:cs typeface="Segoe UI" pitchFamily="34" charset="0"/>
              </a:rPr>
              <a:t>Single-purpose robots or targeted debug</a:t>
            </a:r>
          </a:p>
        </p:txBody>
      </p:sp>
      <p:sp>
        <p:nvSpPr>
          <p:cNvPr id="8" name="Rectangle 7">
            <a:extLst>
              <a:ext uri="{FF2B5EF4-FFF2-40B4-BE49-F238E27FC236}">
                <a16:creationId xmlns:a16="http://schemas.microsoft.com/office/drawing/2014/main" id="{0B423D93-61B8-4999-AFF2-507FCFBF421C}"/>
              </a:ext>
            </a:extLst>
          </p:cNvPr>
          <p:cNvSpPr/>
          <p:nvPr/>
        </p:nvSpPr>
        <p:spPr bwMode="auto">
          <a:xfrm>
            <a:off x="5303161" y="2378455"/>
            <a:ext cx="3885704" cy="2140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Autofit/>
          </a:bodyPr>
          <a:lstStyle/>
          <a:p>
            <a:pPr algn="ctr" defTabSz="932379" fontAlgn="base">
              <a:lnSpc>
                <a:spcPct val="90000"/>
              </a:lnSpc>
              <a:spcBef>
                <a:spcPct val="0"/>
              </a:spcBef>
              <a:spcAft>
                <a:spcPct val="0"/>
              </a:spcAft>
              <a:defRPr/>
            </a:pPr>
            <a:r>
              <a:rPr lang="en-US" sz="2400" dirty="0">
                <a:gradFill>
                  <a:gsLst>
                    <a:gs pos="0">
                      <a:srgbClr val="FFFFFF"/>
                    </a:gs>
                    <a:gs pos="100000">
                      <a:srgbClr val="FFFFFF"/>
                    </a:gs>
                  </a:gsLst>
                  <a:lin ang="5400000" scaled="0"/>
                </a:gradFill>
                <a:latin typeface="Segoe UI Semilight"/>
                <a:ea typeface="Segoe UI" pitchFamily="34" charset="0"/>
                <a:cs typeface="Segoe UI" pitchFamily="34" charset="0"/>
              </a:rPr>
              <a:t>People doing real work</a:t>
            </a:r>
          </a:p>
        </p:txBody>
      </p:sp>
      <p:sp>
        <p:nvSpPr>
          <p:cNvPr id="10" name="Rectangle 9">
            <a:extLst>
              <a:ext uri="{FF2B5EF4-FFF2-40B4-BE49-F238E27FC236}">
                <a16:creationId xmlns:a16="http://schemas.microsoft.com/office/drawing/2014/main" id="{EEA868D3-0D4E-4C10-8E6D-EB798662BCFD}"/>
              </a:ext>
            </a:extLst>
          </p:cNvPr>
          <p:cNvSpPr/>
          <p:nvPr/>
        </p:nvSpPr>
        <p:spPr bwMode="auto">
          <a:xfrm>
            <a:off x="9341245" y="2378455"/>
            <a:ext cx="1828567" cy="2140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Autofit/>
          </a:bodyPr>
          <a:lstStyle/>
          <a:p>
            <a:pPr algn="ctr" defTabSz="932379" fontAlgn="base">
              <a:lnSpc>
                <a:spcPct val="90000"/>
              </a:lnSpc>
              <a:spcBef>
                <a:spcPct val="0"/>
              </a:spcBef>
              <a:spcAft>
                <a:spcPct val="0"/>
              </a:spcAft>
              <a:defRPr/>
            </a:pPr>
            <a:r>
              <a:rPr lang="en-US" sz="2400" dirty="0">
                <a:gradFill>
                  <a:gsLst>
                    <a:gs pos="0">
                      <a:srgbClr val="FFFFFF"/>
                    </a:gs>
                    <a:gs pos="100000">
                      <a:srgbClr val="FFFFFF"/>
                    </a:gs>
                  </a:gsLst>
                  <a:lin ang="5400000" scaled="0"/>
                </a:gradFill>
                <a:latin typeface="Segoe UI Semilight"/>
                <a:ea typeface="Segoe UI" pitchFamily="34" charset="0"/>
                <a:cs typeface="Segoe UI" pitchFamily="34" charset="0"/>
              </a:rPr>
              <a:t>Use “break glass” account</a:t>
            </a:r>
          </a:p>
        </p:txBody>
      </p:sp>
      <p:sp>
        <p:nvSpPr>
          <p:cNvPr id="2" name="TextBox 1">
            <a:extLst>
              <a:ext uri="{FF2B5EF4-FFF2-40B4-BE49-F238E27FC236}">
                <a16:creationId xmlns:a16="http://schemas.microsoft.com/office/drawing/2014/main" id="{839CB4FF-3B10-402D-8FAA-DCAC6F899847}"/>
              </a:ext>
            </a:extLst>
          </p:cNvPr>
          <p:cNvSpPr txBox="1"/>
          <p:nvPr/>
        </p:nvSpPr>
        <p:spPr>
          <a:xfrm>
            <a:off x="2141657" y="6087731"/>
            <a:ext cx="8151575" cy="627784"/>
          </a:xfrm>
          <a:prstGeom prst="rect">
            <a:avLst/>
          </a:prstGeom>
          <a:noFill/>
        </p:spPr>
        <p:txBody>
          <a:bodyPr wrap="none" lIns="182857" tIns="146285" rIns="182857" bIns="146285" rtlCol="0">
            <a:spAutoFit/>
          </a:bodyPr>
          <a:lstStyle/>
          <a:p>
            <a:pPr algn="ctr" defTabSz="932649">
              <a:lnSpc>
                <a:spcPct val="90000"/>
              </a:lnSpc>
              <a:spcAft>
                <a:spcPts val="600"/>
              </a:spcAft>
              <a:defRPr/>
            </a:pPr>
            <a:r>
              <a:rPr lang="en-US" sz="2400" dirty="0">
                <a:gradFill>
                  <a:gsLst>
                    <a:gs pos="2917">
                      <a:srgbClr val="FFFFFF"/>
                    </a:gs>
                    <a:gs pos="30000">
                      <a:srgbClr val="FFFFFF"/>
                    </a:gs>
                  </a:gsLst>
                  <a:lin ang="5400000" scaled="0"/>
                </a:gradFill>
                <a:latin typeface="Segoe UI Semilight"/>
              </a:rPr>
              <a:t>“Use minimum role assignments to get normal work done.”</a:t>
            </a:r>
          </a:p>
        </p:txBody>
      </p:sp>
    </p:spTree>
    <p:extLst>
      <p:ext uri="{BB962C8B-B14F-4D97-AF65-F5344CB8AC3E}">
        <p14:creationId xmlns:p14="http://schemas.microsoft.com/office/powerpoint/2010/main" val="185725516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D Connect</a:t>
            </a:r>
          </a:p>
        </p:txBody>
      </p:sp>
      <p:pic>
        <p:nvPicPr>
          <p:cNvPr id="3" name="Picture 2" descr="A close up of a sign&#10;&#10;Description generated with high confidence">
            <a:extLst>
              <a:ext uri="{FF2B5EF4-FFF2-40B4-BE49-F238E27FC236}">
                <a16:creationId xmlns:a16="http://schemas.microsoft.com/office/drawing/2014/main" id="{FB38D023-D6E7-46D2-AB29-A59882CFBBE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855243" y="3954462"/>
            <a:ext cx="4432917" cy="1066800"/>
          </a:xfrm>
          <a:prstGeom prst="rect">
            <a:avLst/>
          </a:prstGeom>
        </p:spPr>
      </p:pic>
    </p:spTree>
    <p:extLst>
      <p:ext uri="{BB962C8B-B14F-4D97-AF65-F5344CB8AC3E}">
        <p14:creationId xmlns:p14="http://schemas.microsoft.com/office/powerpoint/2010/main" val="421862746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Azure Active Directory Connect</a:t>
            </a:r>
          </a:p>
        </p:txBody>
      </p:sp>
      <p:sp>
        <p:nvSpPr>
          <p:cNvPr id="25" name="Text Placeholder 9"/>
          <p:cNvSpPr>
            <a:spLocks noGrp="1"/>
          </p:cNvSpPr>
          <p:nvPr>
            <p:ph type="body" sz="quarter" idx="10"/>
          </p:nvPr>
        </p:nvSpPr>
        <p:spPr>
          <a:xfrm>
            <a:off x="7137624" y="2049462"/>
            <a:ext cx="5175820" cy="3962400"/>
          </a:xfrm>
          <a:prstGeom prst="rect">
            <a:avLst/>
          </a:prstGeom>
        </p:spPr>
        <p:txBody>
          <a:bodyPr anchor="ctr" anchorCtr="0">
            <a:noAutofit/>
          </a:bodyPr>
          <a:lstStyle/>
          <a:p>
            <a:pPr marL="571500" indent="-571500">
              <a:lnSpc>
                <a:spcPct val="100000"/>
              </a:lnSpc>
            </a:pPr>
            <a:r>
              <a:rPr lang="en-US" sz="2400" dirty="0">
                <a:solidFill>
                  <a:schemeClr val="tx2"/>
                </a:solidFill>
              </a:rPr>
              <a:t>Primary tool to onboard to Azure AD </a:t>
            </a:r>
          </a:p>
          <a:p>
            <a:pPr marL="285750" indent="-285750">
              <a:lnSpc>
                <a:spcPct val="114000"/>
              </a:lnSpc>
              <a:buFont typeface="Arial" pitchFamily="34" charset="0"/>
              <a:buChar char="•"/>
            </a:pPr>
            <a:r>
              <a:rPr lang="en-US" sz="2000" dirty="0">
                <a:gradFill>
                  <a:gsLst>
                    <a:gs pos="1250">
                      <a:schemeClr val="tx1"/>
                    </a:gs>
                    <a:gs pos="100000">
                      <a:schemeClr val="tx1"/>
                    </a:gs>
                  </a:gsLst>
                  <a:lin ang="5400000" scaled="0"/>
                </a:gradFill>
                <a:latin typeface="+mn-lt"/>
              </a:rPr>
              <a:t>Express settings gets customers connected in a matter of minutes</a:t>
            </a:r>
          </a:p>
          <a:p>
            <a:pPr marL="285750" indent="-285750">
              <a:lnSpc>
                <a:spcPct val="114000"/>
              </a:lnSpc>
              <a:buFont typeface="Arial" pitchFamily="34" charset="0"/>
              <a:buChar char="•"/>
            </a:pPr>
            <a:r>
              <a:rPr lang="en-US" sz="2000" dirty="0">
                <a:gradFill>
                  <a:gsLst>
                    <a:gs pos="1250">
                      <a:schemeClr val="tx1"/>
                    </a:gs>
                    <a:gs pos="100000">
                      <a:schemeClr val="tx1"/>
                    </a:gs>
                  </a:gsLst>
                  <a:lin ang="5400000" scaled="0"/>
                </a:gradFill>
                <a:latin typeface="+mn-lt"/>
              </a:rPr>
              <a:t>Provides install &amp; configuration of password sync/ADFS for sign-in</a:t>
            </a:r>
          </a:p>
          <a:p>
            <a:pPr marL="285750" indent="-285750">
              <a:lnSpc>
                <a:spcPct val="114000"/>
              </a:lnSpc>
              <a:buFont typeface="Arial" pitchFamily="34" charset="0"/>
              <a:buChar char="•"/>
            </a:pPr>
            <a:r>
              <a:rPr lang="en-US" sz="2000" dirty="0">
                <a:gradFill>
                  <a:gsLst>
                    <a:gs pos="1250">
                      <a:schemeClr val="tx1"/>
                    </a:gs>
                    <a:gs pos="100000">
                      <a:schemeClr val="tx1"/>
                    </a:gs>
                  </a:gsLst>
                  <a:lin ang="5400000" scaled="0"/>
                </a:gradFill>
                <a:latin typeface="+mn-lt"/>
              </a:rPr>
              <a:t>All future investments will only be available with Azure AD Connect</a:t>
            </a:r>
          </a:p>
        </p:txBody>
      </p:sp>
      <p:sp>
        <p:nvSpPr>
          <p:cNvPr id="26" name="Rounded Rectangle 59"/>
          <p:cNvSpPr/>
          <p:nvPr/>
        </p:nvSpPr>
        <p:spPr bwMode="auto">
          <a:xfrm>
            <a:off x="665187" y="1820862"/>
            <a:ext cx="2644560" cy="4343400"/>
          </a:xfrm>
          <a:prstGeom prst="roundRect">
            <a:avLst/>
          </a:prstGeom>
          <a:solidFill>
            <a:schemeClr val="bg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7" name="Rounded Rectangle 9"/>
          <p:cNvSpPr/>
          <p:nvPr/>
        </p:nvSpPr>
        <p:spPr bwMode="auto">
          <a:xfrm>
            <a:off x="3779044" y="1820862"/>
            <a:ext cx="2644560" cy="4343400"/>
          </a:xfrm>
          <a:prstGeom prst="roundRect">
            <a:avLst/>
          </a:prstGeom>
          <a:solidFill>
            <a:schemeClr val="bg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pic>
        <p:nvPicPr>
          <p:cNvPr id="28" name="Picture 2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971187" y="2363959"/>
            <a:ext cx="2227500" cy="3477405"/>
          </a:xfrm>
          <a:prstGeom prst="rect">
            <a:avLst/>
          </a:prstGeom>
        </p:spPr>
      </p:pic>
      <p:grpSp>
        <p:nvGrpSpPr>
          <p:cNvPr id="30" name="Group 29"/>
          <p:cNvGrpSpPr/>
          <p:nvPr/>
        </p:nvGrpSpPr>
        <p:grpSpPr>
          <a:xfrm>
            <a:off x="1036311" y="2408210"/>
            <a:ext cx="4872786" cy="2463578"/>
            <a:chOff x="2205360" y="4252417"/>
            <a:chExt cx="4872786" cy="2463578"/>
          </a:xfrm>
        </p:grpSpPr>
        <p:grpSp>
          <p:nvGrpSpPr>
            <p:cNvPr id="31" name="Group 30"/>
            <p:cNvGrpSpPr/>
            <p:nvPr/>
          </p:nvGrpSpPr>
          <p:grpSpPr>
            <a:xfrm>
              <a:off x="2205360" y="4252417"/>
              <a:ext cx="4872786" cy="2463578"/>
              <a:chOff x="1332165" y="2481484"/>
              <a:chExt cx="4872786" cy="2463578"/>
            </a:xfrm>
          </p:grpSpPr>
          <p:sp>
            <p:nvSpPr>
              <p:cNvPr id="34" name="Rounded Rectangle 10"/>
              <p:cNvSpPr/>
              <p:nvPr/>
            </p:nvSpPr>
            <p:spPr bwMode="auto">
              <a:xfrm>
                <a:off x="1332165" y="2481484"/>
                <a:ext cx="1737208" cy="2463578"/>
              </a:xfrm>
              <a:prstGeom prst="roundRect">
                <a:avLst/>
              </a:prstGeom>
              <a:solidFill>
                <a:schemeClr val="accent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35" name="Rounded Rectangle 11"/>
              <p:cNvSpPr/>
              <p:nvPr/>
            </p:nvSpPr>
            <p:spPr bwMode="auto">
              <a:xfrm>
                <a:off x="4447353" y="3301974"/>
                <a:ext cx="1757598" cy="819571"/>
              </a:xfrm>
              <a:prstGeom prst="roundRect">
                <a:avLst/>
              </a:prstGeom>
              <a:solidFill>
                <a:schemeClr val="accent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36" name="Trapezoid 35"/>
              <p:cNvSpPr/>
              <p:nvPr/>
            </p:nvSpPr>
            <p:spPr bwMode="auto">
              <a:xfrm rot="5400000">
                <a:off x="2648570" y="2823195"/>
                <a:ext cx="2463578" cy="1780156"/>
              </a:xfrm>
              <a:prstGeom prst="trapezoid">
                <a:avLst>
                  <a:gd name="adj" fmla="val 51444"/>
                </a:avLst>
              </a:prstGeom>
              <a:solidFill>
                <a:schemeClr val="accent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sp>
          <p:nvSpPr>
            <p:cNvPr id="32" name="Rectangle 31"/>
            <p:cNvSpPr/>
            <p:nvPr/>
          </p:nvSpPr>
          <p:spPr bwMode="auto">
            <a:xfrm>
              <a:off x="3639697" y="4252417"/>
              <a:ext cx="224638" cy="2463578"/>
            </a:xfrm>
            <a:prstGeom prst="rect">
              <a:avLst/>
            </a:prstGeom>
            <a:solidFill>
              <a:schemeClr val="accent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sp>
        <p:nvSpPr>
          <p:cNvPr id="37" name="TextBox 36"/>
          <p:cNvSpPr txBox="1"/>
          <p:nvPr/>
        </p:nvSpPr>
        <p:spPr>
          <a:xfrm>
            <a:off x="3779044" y="2419097"/>
            <a:ext cx="2644560"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Azure AD Connect</a:t>
            </a:r>
          </a:p>
        </p:txBody>
      </p:sp>
      <p:sp>
        <p:nvSpPr>
          <p:cNvPr id="38" name="Rounded Rectangle 2"/>
          <p:cNvSpPr/>
          <p:nvPr/>
        </p:nvSpPr>
        <p:spPr bwMode="auto">
          <a:xfrm>
            <a:off x="4361037" y="3344862"/>
            <a:ext cx="1447800" cy="576583"/>
          </a:xfrm>
          <a:prstGeom prst="roundRect">
            <a:avLst/>
          </a:prstGeom>
          <a:solidFill>
            <a:schemeClr val="bg1"/>
          </a:solidFill>
          <a:ln w="19050"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effectLst/>
                <a:uLnTx/>
                <a:uFillTx/>
                <a:latin typeface="Segoe UI"/>
                <a:ea typeface="+mn-ea"/>
                <a:cs typeface="+mn-cs"/>
              </a:rPr>
              <a:t>Sync</a:t>
            </a:r>
          </a:p>
        </p:txBody>
      </p:sp>
      <p:sp>
        <p:nvSpPr>
          <p:cNvPr id="42" name="Rounded Rectangle 28"/>
          <p:cNvSpPr/>
          <p:nvPr/>
        </p:nvSpPr>
        <p:spPr bwMode="auto">
          <a:xfrm>
            <a:off x="1247231" y="2562234"/>
            <a:ext cx="1447800" cy="576583"/>
          </a:xfrm>
          <a:prstGeom prst="roundRect">
            <a:avLst/>
          </a:prstGeom>
          <a:solidFill>
            <a:schemeClr val="bg1"/>
          </a:solidFill>
          <a:ln w="19050"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effectLst/>
                <a:uLnTx/>
                <a:uFillTx/>
                <a:latin typeface="Segoe UI"/>
                <a:ea typeface="+mn-ea"/>
                <a:cs typeface="+mn-cs"/>
              </a:rPr>
              <a:t>DirSync</a:t>
            </a:r>
          </a:p>
        </p:txBody>
      </p:sp>
      <p:sp>
        <p:nvSpPr>
          <p:cNvPr id="43" name="Rounded Rectangle 29"/>
          <p:cNvSpPr/>
          <p:nvPr/>
        </p:nvSpPr>
        <p:spPr bwMode="auto">
          <a:xfrm>
            <a:off x="1247231" y="3351708"/>
            <a:ext cx="1447800" cy="576583"/>
          </a:xfrm>
          <a:prstGeom prst="roundRect">
            <a:avLst/>
          </a:prstGeom>
          <a:solidFill>
            <a:schemeClr val="bg1"/>
          </a:solidFill>
          <a:ln w="19050"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effectLst/>
                <a:uLnTx/>
                <a:uFillTx/>
                <a:latin typeface="Segoe UI"/>
                <a:ea typeface="+mn-ea"/>
                <a:cs typeface="+mn-cs"/>
              </a:rPr>
              <a:t>Azure AD Sync</a:t>
            </a:r>
          </a:p>
        </p:txBody>
      </p:sp>
      <p:sp>
        <p:nvSpPr>
          <p:cNvPr id="44" name="Rounded Rectangle 30"/>
          <p:cNvSpPr/>
          <p:nvPr/>
        </p:nvSpPr>
        <p:spPr bwMode="auto">
          <a:xfrm>
            <a:off x="1230800" y="4081267"/>
            <a:ext cx="1447800" cy="576583"/>
          </a:xfrm>
          <a:prstGeom prst="roundRect">
            <a:avLst/>
          </a:prstGeom>
          <a:solidFill>
            <a:schemeClr val="bg1"/>
          </a:solidFill>
          <a:ln w="19050"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effectLst/>
                <a:uLnTx/>
                <a:uFillTx/>
                <a:latin typeface="Segoe UI"/>
                <a:ea typeface="+mn-ea"/>
                <a:cs typeface="+mn-cs"/>
              </a:rPr>
              <a:t>FIM + Azure AD Connector</a:t>
            </a:r>
          </a:p>
        </p:txBody>
      </p:sp>
      <p:sp>
        <p:nvSpPr>
          <p:cNvPr id="45" name="Rounded Rectangle 60"/>
          <p:cNvSpPr/>
          <p:nvPr/>
        </p:nvSpPr>
        <p:spPr bwMode="auto">
          <a:xfrm>
            <a:off x="4361037" y="4259262"/>
            <a:ext cx="1447800" cy="576583"/>
          </a:xfrm>
          <a:prstGeom prst="roundRect">
            <a:avLst/>
          </a:prstGeom>
          <a:solidFill>
            <a:schemeClr val="bg1"/>
          </a:solidFill>
          <a:ln w="19050" cap="flat" cmpd="sng" algn="ctr">
            <a:solidFill>
              <a:srgbClr val="D2D2D2">
                <a:lumMod val="60000"/>
                <a:lumOff val="4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effectLst/>
                <a:uLnTx/>
                <a:uFillTx/>
                <a:latin typeface="Segoe UI"/>
                <a:ea typeface="+mn-ea"/>
                <a:cs typeface="+mn-cs"/>
              </a:rPr>
              <a:t>ADFS</a:t>
            </a:r>
          </a:p>
        </p:txBody>
      </p:sp>
      <p:sp>
        <p:nvSpPr>
          <p:cNvPr id="46" name="Rounded Rectangle 62"/>
          <p:cNvSpPr/>
          <p:nvPr/>
        </p:nvSpPr>
        <p:spPr bwMode="auto">
          <a:xfrm>
            <a:off x="1202549" y="5264782"/>
            <a:ext cx="1447800" cy="576583"/>
          </a:xfrm>
          <a:prstGeom prst="roundRect">
            <a:avLst/>
          </a:prstGeom>
          <a:solidFill>
            <a:schemeClr val="bg1"/>
          </a:solidFill>
          <a:ln w="19050" cap="flat" cmpd="sng" algn="ctr">
            <a:solidFill>
              <a:srgbClr val="D2D2D2">
                <a:lumMod val="60000"/>
                <a:lumOff val="4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effectLst/>
                <a:uLnTx/>
                <a:uFillTx/>
                <a:latin typeface="Segoe UI"/>
                <a:ea typeface="+mn-ea"/>
                <a:cs typeface="+mn-cs"/>
              </a:rPr>
              <a:t>ADFS</a:t>
            </a:r>
          </a:p>
        </p:txBody>
      </p:sp>
      <p:sp>
        <p:nvSpPr>
          <p:cNvPr id="47" name="Rounded Rectangle 20"/>
          <p:cNvSpPr/>
          <p:nvPr/>
        </p:nvSpPr>
        <p:spPr bwMode="auto">
          <a:xfrm>
            <a:off x="4361037" y="5097462"/>
            <a:ext cx="1447800" cy="576583"/>
          </a:xfrm>
          <a:prstGeom prst="roundRect">
            <a:avLst/>
          </a:prstGeom>
          <a:solidFill>
            <a:schemeClr val="bg1"/>
          </a:solidFill>
          <a:ln w="19050" cap="flat" cmpd="sng" algn="ctr">
            <a:solidFill>
              <a:srgbClr val="00BCF2">
                <a:lumMod val="60000"/>
                <a:lumOff val="4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effectLst/>
                <a:uLnTx/>
                <a:uFillTx/>
                <a:latin typeface="Segoe UI"/>
                <a:ea typeface="+mn-ea"/>
                <a:cs typeface="+mn-cs"/>
              </a:rPr>
              <a:t>Health</a:t>
            </a:r>
          </a:p>
        </p:txBody>
      </p:sp>
    </p:spTree>
    <p:extLst>
      <p:ext uri="{BB962C8B-B14F-4D97-AF65-F5344CB8AC3E}">
        <p14:creationId xmlns:p14="http://schemas.microsoft.com/office/powerpoint/2010/main" val="138788984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Azure AD UPN alignment</a:t>
            </a:r>
          </a:p>
        </p:txBody>
      </p:sp>
      <p:sp>
        <p:nvSpPr>
          <p:cNvPr id="7" name="Text Placeholder 5"/>
          <p:cNvSpPr txBox="1">
            <a:spLocks/>
          </p:cNvSpPr>
          <p:nvPr/>
        </p:nvSpPr>
        <p:spPr>
          <a:xfrm>
            <a:off x="366169" y="1211262"/>
            <a:ext cx="11413875" cy="5663089"/>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3200" dirty="0">
                <a:gradFill>
                  <a:gsLst>
                    <a:gs pos="1250">
                      <a:schemeClr val="tx2"/>
                    </a:gs>
                    <a:gs pos="99000">
                      <a:schemeClr val="tx2"/>
                    </a:gs>
                  </a:gsLst>
                  <a:lin ang="5400000" scaled="0"/>
                </a:gradFill>
                <a:latin typeface="+mj-lt"/>
              </a:rPr>
              <a:t>The UPN (User Principal Name) is the attribute in Azure AD that is used  for a user’s sign-in name. </a:t>
            </a:r>
          </a:p>
          <a:p>
            <a:pPr lvl="1"/>
            <a:r>
              <a:rPr lang="en-US" sz="3200" dirty="0">
                <a:gradFill>
                  <a:gsLst>
                    <a:gs pos="1250">
                      <a:schemeClr val="tx2"/>
                    </a:gs>
                    <a:gs pos="99000">
                      <a:schemeClr val="tx2"/>
                    </a:gs>
                  </a:gsLst>
                  <a:lin ang="5400000" scaled="0"/>
                </a:gradFill>
                <a:latin typeface="+mj-lt"/>
              </a:rPr>
              <a:t>By default, this is sourced from the on-premises Active Directory using the </a:t>
            </a:r>
            <a:r>
              <a:rPr lang="en-US" sz="3200" b="1" i="1" dirty="0">
                <a:gradFill>
                  <a:gsLst>
                    <a:gs pos="1250">
                      <a:schemeClr val="tx2"/>
                    </a:gs>
                    <a:gs pos="99000">
                      <a:schemeClr val="tx2"/>
                    </a:gs>
                  </a:gsLst>
                  <a:lin ang="5400000" scaled="0"/>
                </a:gradFill>
                <a:latin typeface="+mj-lt"/>
              </a:rPr>
              <a:t>userPrincipalName</a:t>
            </a:r>
            <a:r>
              <a:rPr lang="en-US" sz="3200" dirty="0">
                <a:gradFill>
                  <a:gsLst>
                    <a:gs pos="1250">
                      <a:schemeClr val="tx2"/>
                    </a:gs>
                    <a:gs pos="99000">
                      <a:schemeClr val="tx2"/>
                    </a:gs>
                  </a:gsLst>
                  <a:lin ang="5400000" scaled="0"/>
                </a:gradFill>
                <a:latin typeface="+mj-lt"/>
              </a:rPr>
              <a:t> attribute on the user account. </a:t>
            </a:r>
            <a:endParaRPr lang="en-US" sz="2400" dirty="0">
              <a:gradFill>
                <a:gsLst>
                  <a:gs pos="1250">
                    <a:schemeClr val="tx2"/>
                  </a:gs>
                  <a:gs pos="99000">
                    <a:schemeClr val="tx2"/>
                  </a:gs>
                </a:gsLst>
                <a:lin ang="5400000" scaled="0"/>
              </a:gradFill>
              <a:latin typeface="+mj-lt"/>
            </a:endParaRPr>
          </a:p>
          <a:p>
            <a:pPr lvl="1"/>
            <a:r>
              <a:rPr lang="en-US" dirty="0">
                <a:solidFill>
                  <a:schemeClr val="tx1"/>
                </a:solidFill>
              </a:rPr>
              <a:t>Azure AD requires that the UPN suffix be a valid public domain name that is registered with an Internet name registrar. </a:t>
            </a:r>
          </a:p>
          <a:p>
            <a:pPr lvl="1"/>
            <a:endParaRPr lang="en-US" dirty="0">
              <a:solidFill>
                <a:schemeClr val="tx1"/>
              </a:solidFill>
              <a:latin typeface="+mj-lt"/>
            </a:endParaRPr>
          </a:p>
          <a:p>
            <a:pPr lvl="1"/>
            <a:r>
              <a:rPr lang="en-US" dirty="0">
                <a:solidFill>
                  <a:schemeClr val="tx1"/>
                </a:solidFill>
              </a:rPr>
              <a:t>Customers that have a UPN suffix that is not routable or not desirable for the user logon name have two options:</a:t>
            </a:r>
          </a:p>
          <a:p>
            <a:pPr marL="800054" lvl="3" indent="-457200">
              <a:buFont typeface="+mj-lt"/>
              <a:buAutoNum type="arabicPeriod"/>
            </a:pPr>
            <a:r>
              <a:rPr lang="en-US" sz="2000" dirty="0">
                <a:solidFill>
                  <a:schemeClr val="tx1"/>
                </a:solidFill>
              </a:rPr>
              <a:t>Perform a UPN rationalization exercise i.e. you want UPN suffix to match on-premises with Azure AD</a:t>
            </a:r>
          </a:p>
          <a:p>
            <a:pPr marL="800054" lvl="3" indent="-457200">
              <a:buFont typeface="+mj-lt"/>
              <a:buAutoNum type="arabicPeriod"/>
            </a:pPr>
            <a:r>
              <a:rPr lang="en-US" sz="2000" dirty="0">
                <a:solidFill>
                  <a:schemeClr val="tx1"/>
                </a:solidFill>
              </a:rPr>
              <a:t>Use the Alternate Login ID.</a:t>
            </a:r>
          </a:p>
          <a:p>
            <a:pPr lvl="4"/>
            <a:r>
              <a:rPr lang="en-US" sz="2000" dirty="0">
                <a:solidFill>
                  <a:schemeClr val="tx1"/>
                </a:solidFill>
              </a:rPr>
              <a:t>           Generally NOT recommended</a:t>
            </a:r>
          </a:p>
          <a:p>
            <a:pPr lvl="4"/>
            <a:r>
              <a:rPr lang="en-US" sz="2000" dirty="0">
                <a:solidFill>
                  <a:schemeClr val="tx1"/>
                </a:solidFill>
              </a:rPr>
              <a:t>           Alternate ID is not compatible with all O365 workloads</a:t>
            </a:r>
          </a:p>
          <a:p>
            <a:pPr lvl="1"/>
            <a:r>
              <a:rPr lang="en-US" sz="2400" dirty="0">
                <a:gradFill>
                  <a:gsLst>
                    <a:gs pos="1250">
                      <a:schemeClr val="tx2"/>
                    </a:gs>
                    <a:gs pos="99000">
                      <a:schemeClr val="tx2"/>
                    </a:gs>
                  </a:gsLst>
                  <a:lin ang="5400000" scaled="0"/>
                </a:gradFill>
                <a:latin typeface="+mj-lt"/>
                <a:hlinkClick r:id="rId3"/>
              </a:rPr>
              <a:t>Read more</a:t>
            </a:r>
            <a:endParaRPr lang="en-US" sz="2400" dirty="0">
              <a:gradFill>
                <a:gsLst>
                  <a:gs pos="1250">
                    <a:schemeClr val="tx2"/>
                  </a:gs>
                  <a:gs pos="99000">
                    <a:schemeClr val="tx2"/>
                  </a:gs>
                </a:gsLst>
                <a:lin ang="5400000" scaled="0"/>
              </a:gradFill>
              <a:latin typeface="+mj-lt"/>
            </a:endParaRPr>
          </a:p>
        </p:txBody>
      </p:sp>
    </p:spTree>
    <p:extLst>
      <p:ext uri="{BB962C8B-B14F-4D97-AF65-F5344CB8AC3E}">
        <p14:creationId xmlns:p14="http://schemas.microsoft.com/office/powerpoint/2010/main" val="16771783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5590555" cy="5222584"/>
          </a:xfrm>
        </p:spPr>
        <p:txBody>
          <a:bodyPr/>
          <a:lstStyle/>
          <a:p>
            <a:r>
              <a:rPr lang="en-US" sz="3200" dirty="0"/>
              <a:t>Active Directory Forests</a:t>
            </a:r>
          </a:p>
          <a:p>
            <a:pPr marL="285750" lvl="1" indent="-285750">
              <a:lnSpc>
                <a:spcPct val="114000"/>
              </a:lnSpc>
              <a:buFont typeface="Arial" pitchFamily="34" charset="0"/>
              <a:buChar char="•"/>
            </a:pPr>
            <a:r>
              <a:rPr lang="en-US" sz="1600" dirty="0"/>
              <a:t>Single or multiple?</a:t>
            </a:r>
          </a:p>
          <a:p>
            <a:pPr marL="285750" lvl="1" indent="-285750">
              <a:lnSpc>
                <a:spcPct val="114000"/>
              </a:lnSpc>
              <a:buFont typeface="Arial" pitchFamily="34" charset="0"/>
              <a:buChar char="•"/>
            </a:pPr>
            <a:r>
              <a:rPr lang="en-US" sz="1600" dirty="0"/>
              <a:t>Single or multiple domains?</a:t>
            </a:r>
          </a:p>
          <a:p>
            <a:r>
              <a:rPr lang="en-US" sz="3200" dirty="0"/>
              <a:t>Azure AD Tenants</a:t>
            </a:r>
          </a:p>
          <a:p>
            <a:pPr marL="285750" lvl="1" indent="-285750">
              <a:lnSpc>
                <a:spcPct val="114000"/>
              </a:lnSpc>
              <a:buFont typeface="Arial" pitchFamily="34" charset="0"/>
              <a:buChar char="•"/>
            </a:pPr>
            <a:r>
              <a:rPr lang="en-US" sz="1600" dirty="0"/>
              <a:t>Single or Multiple exist?</a:t>
            </a:r>
          </a:p>
          <a:p>
            <a:pPr marL="285750" lvl="1" indent="-285750">
              <a:lnSpc>
                <a:spcPct val="114000"/>
              </a:lnSpc>
              <a:buFont typeface="Arial" pitchFamily="34" charset="0"/>
              <a:buChar char="•"/>
            </a:pPr>
            <a:r>
              <a:rPr lang="en-US" sz="1600" dirty="0"/>
              <a:t>How many planned?</a:t>
            </a:r>
          </a:p>
          <a:p>
            <a:r>
              <a:rPr lang="en-US" sz="3200" dirty="0"/>
              <a:t>Office 365 Considerations </a:t>
            </a:r>
          </a:p>
          <a:p>
            <a:pPr marL="285750" lvl="1" indent="-285750">
              <a:lnSpc>
                <a:spcPct val="114000"/>
              </a:lnSpc>
              <a:buFont typeface="Arial" pitchFamily="34" charset="0"/>
              <a:buChar char="•"/>
            </a:pPr>
            <a:r>
              <a:rPr lang="en-US" sz="1600" dirty="0"/>
              <a:t>Exchange Online?</a:t>
            </a:r>
          </a:p>
          <a:p>
            <a:pPr marL="285750" lvl="1" indent="-285750">
              <a:lnSpc>
                <a:spcPct val="114000"/>
              </a:lnSpc>
              <a:buFont typeface="Arial" pitchFamily="34" charset="0"/>
              <a:buChar char="•"/>
            </a:pPr>
            <a:r>
              <a:rPr lang="en-US" sz="1600" dirty="0"/>
              <a:t>Skype for Business?  </a:t>
            </a:r>
            <a:r>
              <a:rPr lang="en-US" sz="1400" i="1" dirty="0">
                <a:hlinkClick r:id="rId3"/>
              </a:rPr>
              <a:t>Read more</a:t>
            </a:r>
            <a:r>
              <a:rPr lang="en-US" sz="1600" dirty="0"/>
              <a:t> </a:t>
            </a:r>
            <a:r>
              <a:rPr lang="en-US" sz="1400" dirty="0"/>
              <a:t>for either</a:t>
            </a:r>
          </a:p>
          <a:p>
            <a:r>
              <a:rPr lang="en-US" sz="3200" dirty="0"/>
              <a:t>Staging Server</a:t>
            </a:r>
          </a:p>
          <a:p>
            <a:pPr marL="285750" lvl="1" indent="-285750">
              <a:lnSpc>
                <a:spcPct val="114000"/>
              </a:lnSpc>
              <a:buFont typeface="Arial" pitchFamily="34" charset="0"/>
              <a:buChar char="•"/>
            </a:pPr>
            <a:r>
              <a:rPr lang="en-US" sz="1600" dirty="0"/>
              <a:t>Does READS, no WRITES on a 2</a:t>
            </a:r>
            <a:r>
              <a:rPr lang="en-US" sz="1600" baseline="30000" dirty="0"/>
              <a:t>nd</a:t>
            </a:r>
            <a:r>
              <a:rPr lang="en-US" sz="1600" dirty="0"/>
              <a:t> server</a:t>
            </a:r>
          </a:p>
          <a:p>
            <a:pPr marL="285750" lvl="1" indent="-285750">
              <a:lnSpc>
                <a:spcPct val="114000"/>
              </a:lnSpc>
              <a:buFont typeface="Arial" pitchFamily="34" charset="0"/>
              <a:buChar char="•"/>
            </a:pPr>
            <a:r>
              <a:rPr lang="en-US" sz="1600" dirty="0"/>
              <a:t>Use for failover, for testing or to replace a server</a:t>
            </a:r>
          </a:p>
          <a:p>
            <a:pPr marL="285750" lvl="1" indent="-285750">
              <a:lnSpc>
                <a:spcPct val="114000"/>
              </a:lnSpc>
              <a:buFont typeface="Arial" pitchFamily="34" charset="0"/>
              <a:buChar char="•"/>
            </a:pPr>
            <a:r>
              <a:rPr lang="en-US" sz="1600" dirty="0"/>
              <a:t>Can have more than 1 staging server</a:t>
            </a:r>
          </a:p>
        </p:txBody>
      </p:sp>
      <p:sp>
        <p:nvSpPr>
          <p:cNvPr id="2" name="Title 1"/>
          <p:cNvSpPr>
            <a:spLocks noGrp="1"/>
          </p:cNvSpPr>
          <p:nvPr>
            <p:ph type="title"/>
          </p:nvPr>
        </p:nvSpPr>
        <p:spPr/>
        <p:txBody>
          <a:bodyPr/>
          <a:lstStyle/>
          <a:p>
            <a:r>
              <a:rPr lang="en-US" dirty="0"/>
              <a:t>Supported Topologies</a:t>
            </a:r>
          </a:p>
        </p:txBody>
      </p:sp>
      <p:pic>
        <p:nvPicPr>
          <p:cNvPr id="8" name="Picture 7" descr="A close up of a sign&#10;&#10;Description generated with high confidence">
            <a:extLst>
              <a:ext uri="{FF2B5EF4-FFF2-40B4-BE49-F238E27FC236}">
                <a16:creationId xmlns:a16="http://schemas.microsoft.com/office/drawing/2014/main" id="{EA8EFCEC-B05C-490E-A6A2-EA023F67AF2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217444" y="1336568"/>
            <a:ext cx="2645680" cy="636694"/>
          </a:xfrm>
          <a:prstGeom prst="rect">
            <a:avLst/>
          </a:prstGeom>
        </p:spPr>
      </p:pic>
      <p:pic>
        <p:nvPicPr>
          <p:cNvPr id="10" name="Picture 9">
            <a:extLst>
              <a:ext uri="{FF2B5EF4-FFF2-40B4-BE49-F238E27FC236}">
                <a16:creationId xmlns:a16="http://schemas.microsoft.com/office/drawing/2014/main" id="{4CFF04EF-A171-4CDF-9C6C-12EAF942E7E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271010" y="2037466"/>
            <a:ext cx="2556134" cy="1459796"/>
          </a:xfrm>
          <a:prstGeom prst="rect">
            <a:avLst/>
          </a:prstGeom>
        </p:spPr>
      </p:pic>
      <p:sp>
        <p:nvSpPr>
          <p:cNvPr id="13" name="Rectangle 12">
            <a:extLst>
              <a:ext uri="{FF2B5EF4-FFF2-40B4-BE49-F238E27FC236}">
                <a16:creationId xmlns:a16="http://schemas.microsoft.com/office/drawing/2014/main" id="{07455FAB-3145-4449-BA5C-067DBDF448AE}"/>
              </a:ext>
            </a:extLst>
          </p:cNvPr>
          <p:cNvSpPr/>
          <p:nvPr/>
        </p:nvSpPr>
        <p:spPr>
          <a:xfrm>
            <a:off x="273844" y="6469062"/>
            <a:ext cx="1813719" cy="369332"/>
          </a:xfrm>
          <a:prstGeom prst="rect">
            <a:avLst/>
          </a:prstGeom>
        </p:spPr>
        <p:txBody>
          <a:bodyPr wrap="square">
            <a:spAutoFit/>
          </a:bodyPr>
          <a:lstStyle/>
          <a:p>
            <a:r>
              <a:rPr lang="en-US" i="1" dirty="0">
                <a:hlinkClick r:id="rId6"/>
              </a:rPr>
              <a:t>Read more</a:t>
            </a:r>
            <a:endParaRPr lang="en-US" i="1" dirty="0"/>
          </a:p>
        </p:txBody>
      </p:sp>
      <p:pic>
        <p:nvPicPr>
          <p:cNvPr id="5" name="Picture 4">
            <a:extLst>
              <a:ext uri="{FF2B5EF4-FFF2-40B4-BE49-F238E27FC236}">
                <a16:creationId xmlns:a16="http://schemas.microsoft.com/office/drawing/2014/main" id="{CC437413-8529-4E60-A87F-515E2AB99726}"/>
              </a:ext>
            </a:extLst>
          </p:cNvPr>
          <p:cNvPicPr>
            <a:picLocks noChangeAspect="1"/>
          </p:cNvPicPr>
          <p:nvPr/>
        </p:nvPicPr>
        <p:blipFill>
          <a:blip r:embed="rId7"/>
          <a:stretch>
            <a:fillRect/>
          </a:stretch>
        </p:blipFill>
        <p:spPr>
          <a:xfrm>
            <a:off x="6363904" y="5021263"/>
            <a:ext cx="2648817" cy="1600200"/>
          </a:xfrm>
          <a:prstGeom prst="rect">
            <a:avLst/>
          </a:prstGeom>
        </p:spPr>
      </p:pic>
    </p:spTree>
    <p:extLst>
      <p:ext uri="{BB962C8B-B14F-4D97-AF65-F5344CB8AC3E}">
        <p14:creationId xmlns:p14="http://schemas.microsoft.com/office/powerpoint/2010/main" val="2159253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500"/>
                                        <p:tgtEl>
                                          <p:spTgt spid="3">
                                            <p:txEl>
                                              <p:pRg st="1" end="1"/>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wipe(left)">
                                      <p:cBhvr>
                                        <p:cTn id="11" dur="500"/>
                                        <p:tgtEl>
                                          <p:spTgt spid="3">
                                            <p:txEl>
                                              <p:pRg st="2" end="2"/>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childTnLst>
                                </p:cTn>
                              </p:par>
                            </p:childTnLst>
                          </p:cTn>
                        </p:par>
                        <p:par>
                          <p:cTn id="16" fill="hold">
                            <p:stCondLst>
                              <p:cond delay="0"/>
                            </p:stCondLst>
                            <p:childTnLst>
                              <p:par>
                                <p:cTn id="17" presetID="22" presetClass="entr" presetSubtype="8" fill="hold" nodeType="after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wipe(left)">
                                      <p:cBhvr>
                                        <p:cTn id="19" dur="500"/>
                                        <p:tgtEl>
                                          <p:spTgt spid="3">
                                            <p:txEl>
                                              <p:pRg st="4" end="4"/>
                                            </p:txEl>
                                          </p:spTgt>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wipe(left)">
                                      <p:cBhvr>
                                        <p:cTn id="23" dur="500"/>
                                        <p:tgtEl>
                                          <p:spTgt spid="3">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childTnLst>
                                </p:cTn>
                              </p:par>
                            </p:childTnLst>
                          </p:cTn>
                        </p:par>
                        <p:par>
                          <p:cTn id="28" fill="hold">
                            <p:stCondLst>
                              <p:cond delay="0"/>
                            </p:stCondLst>
                            <p:childTnLst>
                              <p:par>
                                <p:cTn id="29" presetID="22" presetClass="entr" presetSubtype="8" fill="hold" nodeType="after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wipe(left)">
                                      <p:cBhvr>
                                        <p:cTn id="31" dur="500"/>
                                        <p:tgtEl>
                                          <p:spTgt spid="3">
                                            <p:txEl>
                                              <p:pRg st="7" end="7"/>
                                            </p:txEl>
                                          </p:spTgt>
                                        </p:tgtEl>
                                      </p:cBhvr>
                                    </p:animEffect>
                                  </p:childTnLst>
                                </p:cTn>
                              </p:par>
                            </p:childTnLst>
                          </p:cTn>
                        </p:par>
                        <p:par>
                          <p:cTn id="32" fill="hold">
                            <p:stCondLst>
                              <p:cond delay="500"/>
                            </p:stCondLst>
                            <p:childTnLst>
                              <p:par>
                                <p:cTn id="33" presetID="22" presetClass="entr" presetSubtype="8" fill="hold" nodeType="after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wipe(left)">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childTnLst>
                                </p:cTn>
                              </p:par>
                            </p:childTnLst>
                          </p:cTn>
                        </p:par>
                        <p:par>
                          <p:cTn id="40" fill="hold">
                            <p:stCondLst>
                              <p:cond delay="0"/>
                            </p:stCondLst>
                            <p:childTnLst>
                              <p:par>
                                <p:cTn id="41" presetID="22" presetClass="entr" presetSubtype="8" fill="hold" nodeType="after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wipe(left)">
                                      <p:cBhvr>
                                        <p:cTn id="43" dur="500"/>
                                        <p:tgtEl>
                                          <p:spTgt spid="3">
                                            <p:txEl>
                                              <p:pRg st="10" end="10"/>
                                            </p:txEl>
                                          </p:spTgt>
                                        </p:tgtEl>
                                      </p:cBhvr>
                                    </p:animEffect>
                                  </p:childTnLst>
                                </p:cTn>
                              </p:par>
                            </p:childTnLst>
                          </p:cTn>
                        </p:par>
                        <p:par>
                          <p:cTn id="44" fill="hold">
                            <p:stCondLst>
                              <p:cond delay="500"/>
                            </p:stCondLst>
                            <p:childTnLst>
                              <p:par>
                                <p:cTn id="45" presetID="22" presetClass="entr" presetSubtype="8" fill="hold" nodeType="after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animEffect transition="in" filter="wipe(left)">
                                      <p:cBhvr>
                                        <p:cTn id="47" dur="500"/>
                                        <p:tgtEl>
                                          <p:spTgt spid="3">
                                            <p:txEl>
                                              <p:pRg st="11" end="11"/>
                                            </p:txEl>
                                          </p:spTgt>
                                        </p:tgtEl>
                                      </p:cBhvr>
                                    </p:animEffect>
                                  </p:childTnLst>
                                </p:cTn>
                              </p:par>
                            </p:childTnLst>
                          </p:cTn>
                        </p:par>
                        <p:par>
                          <p:cTn id="48" fill="hold">
                            <p:stCondLst>
                              <p:cond delay="1000"/>
                            </p:stCondLst>
                            <p:childTnLst>
                              <p:par>
                                <p:cTn id="49" presetID="22" presetClass="entr" presetSubtype="8" fill="hold" nodeType="afterEffect">
                                  <p:stCondLst>
                                    <p:cond delay="0"/>
                                  </p:stCondLst>
                                  <p:childTnLst>
                                    <p:set>
                                      <p:cBhvr>
                                        <p:cTn id="50" dur="1" fill="hold">
                                          <p:stCondLst>
                                            <p:cond delay="0"/>
                                          </p:stCondLst>
                                        </p:cTn>
                                        <p:tgtEl>
                                          <p:spTgt spid="3">
                                            <p:txEl>
                                              <p:pRg st="12" end="12"/>
                                            </p:txEl>
                                          </p:spTgt>
                                        </p:tgtEl>
                                        <p:attrNameLst>
                                          <p:attrName>style.visibility</p:attrName>
                                        </p:attrNameLst>
                                      </p:cBhvr>
                                      <p:to>
                                        <p:strVal val="visible"/>
                                      </p:to>
                                    </p:set>
                                    <p:animEffect transition="in" filter="wipe(left)">
                                      <p:cBhvr>
                                        <p:cTn id="51"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5590555" cy="4680897"/>
          </a:xfrm>
        </p:spPr>
        <p:txBody>
          <a:bodyPr/>
          <a:lstStyle/>
          <a:p>
            <a:r>
              <a:rPr lang="en-US" sz="3200" dirty="0"/>
              <a:t>Active Directory Forests</a:t>
            </a:r>
          </a:p>
          <a:p>
            <a:pPr marL="285750" lvl="1" indent="-285750">
              <a:lnSpc>
                <a:spcPct val="114000"/>
              </a:lnSpc>
              <a:buFont typeface="Arial" pitchFamily="34" charset="0"/>
              <a:buChar char="•"/>
            </a:pPr>
            <a:r>
              <a:rPr lang="en-US" sz="1600" dirty="0"/>
              <a:t>Only one in this scenario</a:t>
            </a:r>
          </a:p>
          <a:p>
            <a:pPr marL="285750" lvl="1" indent="-285750">
              <a:lnSpc>
                <a:spcPct val="114000"/>
              </a:lnSpc>
              <a:buFont typeface="Arial" pitchFamily="34" charset="0"/>
              <a:buChar char="•"/>
            </a:pPr>
            <a:r>
              <a:rPr lang="en-US" sz="1600" dirty="0"/>
              <a:t>But different parts synchronized to different…</a:t>
            </a:r>
          </a:p>
          <a:p>
            <a:r>
              <a:rPr lang="en-US" sz="3200" dirty="0"/>
              <a:t>Azure AD Tenants</a:t>
            </a:r>
          </a:p>
          <a:p>
            <a:pPr marL="285750" lvl="1" indent="-285750">
              <a:lnSpc>
                <a:spcPct val="114000"/>
              </a:lnSpc>
              <a:buFont typeface="Arial" pitchFamily="34" charset="0"/>
              <a:buChar char="•"/>
            </a:pPr>
            <a:r>
              <a:rPr lang="en-US" sz="1600" dirty="0"/>
              <a:t>Multiple</a:t>
            </a:r>
          </a:p>
          <a:p>
            <a:pPr marL="285750" lvl="1" indent="-285750">
              <a:lnSpc>
                <a:spcPct val="114000"/>
              </a:lnSpc>
              <a:buFont typeface="Arial" pitchFamily="34" charset="0"/>
              <a:buChar char="•"/>
            </a:pPr>
            <a:r>
              <a:rPr lang="en-US" sz="1600" dirty="0"/>
              <a:t>Could map to diff business units</a:t>
            </a:r>
          </a:p>
          <a:p>
            <a:pPr marL="285750" lvl="1" indent="-285750">
              <a:lnSpc>
                <a:spcPct val="114000"/>
              </a:lnSpc>
              <a:buFont typeface="Arial" pitchFamily="34" charset="0"/>
              <a:buChar char="•"/>
            </a:pPr>
            <a:r>
              <a:rPr lang="en-US" sz="1600" dirty="0"/>
              <a:t>Or Prod, Dev, Test, QA users within the Domain</a:t>
            </a:r>
          </a:p>
          <a:p>
            <a:r>
              <a:rPr lang="en-US" sz="3200" dirty="0"/>
              <a:t>DNS Domain</a:t>
            </a:r>
          </a:p>
          <a:p>
            <a:pPr marL="285750" lvl="1" indent="-285750">
              <a:lnSpc>
                <a:spcPct val="114000"/>
              </a:lnSpc>
              <a:buFont typeface="Arial" pitchFamily="34" charset="0"/>
              <a:buChar char="•"/>
            </a:pPr>
            <a:r>
              <a:rPr lang="en-US" sz="1600" dirty="0"/>
              <a:t>Only 1 per tenant allowed</a:t>
            </a:r>
          </a:p>
          <a:p>
            <a:pPr marL="285750" lvl="1" indent="-285750">
              <a:lnSpc>
                <a:spcPct val="114000"/>
              </a:lnSpc>
              <a:buFont typeface="Arial" pitchFamily="34" charset="0"/>
              <a:buChar char="•"/>
            </a:pPr>
            <a:r>
              <a:rPr lang="en-US" sz="1600" dirty="0"/>
              <a:t>Therefore need multiple UPNs for users in Domain</a:t>
            </a:r>
          </a:p>
          <a:p>
            <a:pPr marL="285750" lvl="1" indent="-285750">
              <a:lnSpc>
                <a:spcPct val="114000"/>
              </a:lnSpc>
              <a:buFont typeface="Arial" pitchFamily="34" charset="0"/>
              <a:buChar char="•"/>
            </a:pPr>
            <a:r>
              <a:rPr lang="en-US" sz="1600" dirty="0"/>
              <a:t>No GAL Sync between Azure AD Tenants</a:t>
            </a:r>
          </a:p>
          <a:p>
            <a:pPr marL="285750" lvl="1" indent="-285750">
              <a:lnSpc>
                <a:spcPct val="114000"/>
              </a:lnSpc>
              <a:buFont typeface="Arial" pitchFamily="34" charset="0"/>
              <a:buChar char="•"/>
            </a:pPr>
            <a:r>
              <a:rPr lang="en-US" sz="1600" dirty="0"/>
              <a:t>Additional Restrictions apply –</a:t>
            </a:r>
            <a:r>
              <a:rPr lang="en-US" sz="1600" dirty="0">
                <a:hlinkClick r:id="rId3"/>
              </a:rPr>
              <a:t>see article</a:t>
            </a:r>
            <a:endParaRPr lang="en-US" sz="1600" dirty="0"/>
          </a:p>
        </p:txBody>
      </p:sp>
      <p:sp>
        <p:nvSpPr>
          <p:cNvPr id="2" name="Title 1"/>
          <p:cNvSpPr>
            <a:spLocks noGrp="1"/>
          </p:cNvSpPr>
          <p:nvPr>
            <p:ph type="title"/>
          </p:nvPr>
        </p:nvSpPr>
        <p:spPr/>
        <p:txBody>
          <a:bodyPr/>
          <a:lstStyle/>
          <a:p>
            <a:r>
              <a:rPr lang="en-US" dirty="0"/>
              <a:t>Filter mutually exclusive AD Objects per tenant</a:t>
            </a:r>
          </a:p>
        </p:txBody>
      </p:sp>
      <p:pic>
        <p:nvPicPr>
          <p:cNvPr id="4" name="Picture 3">
            <a:extLst>
              <a:ext uri="{FF2B5EF4-FFF2-40B4-BE49-F238E27FC236}">
                <a16:creationId xmlns:a16="http://schemas.microsoft.com/office/drawing/2014/main" id="{E693C2F5-9D20-4107-B945-25CD9CD8EEF7}"/>
              </a:ext>
            </a:extLst>
          </p:cNvPr>
          <p:cNvPicPr>
            <a:picLocks noChangeAspect="1"/>
          </p:cNvPicPr>
          <p:nvPr/>
        </p:nvPicPr>
        <p:blipFill>
          <a:blip r:embed="rId4"/>
          <a:stretch>
            <a:fillRect/>
          </a:stretch>
        </p:blipFill>
        <p:spPr>
          <a:xfrm>
            <a:off x="5645718" y="2201862"/>
            <a:ext cx="5538355" cy="3124200"/>
          </a:xfrm>
          <a:prstGeom prst="rect">
            <a:avLst/>
          </a:prstGeom>
        </p:spPr>
      </p:pic>
    </p:spTree>
    <p:extLst>
      <p:ext uri="{BB962C8B-B14F-4D97-AF65-F5344CB8AC3E}">
        <p14:creationId xmlns:p14="http://schemas.microsoft.com/office/powerpoint/2010/main" val="3904865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500"/>
                                        <p:tgtEl>
                                          <p:spTgt spid="3">
                                            <p:txEl>
                                              <p:pRg st="1" end="1"/>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wipe(left)">
                                      <p:cBhvr>
                                        <p:cTn id="11" dur="500"/>
                                        <p:tgtEl>
                                          <p:spTgt spid="3">
                                            <p:txEl>
                                              <p:pRg st="2" end="2"/>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childTnLst>
                                </p:cTn>
                              </p:par>
                            </p:childTnLst>
                          </p:cTn>
                        </p:par>
                        <p:par>
                          <p:cTn id="16" fill="hold">
                            <p:stCondLst>
                              <p:cond delay="0"/>
                            </p:stCondLst>
                            <p:childTnLst>
                              <p:par>
                                <p:cTn id="17" presetID="22" presetClass="entr" presetSubtype="8" fill="hold" nodeType="after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wipe(left)">
                                      <p:cBhvr>
                                        <p:cTn id="19" dur="500"/>
                                        <p:tgtEl>
                                          <p:spTgt spid="3">
                                            <p:txEl>
                                              <p:pRg st="4" end="4"/>
                                            </p:txEl>
                                          </p:spTgt>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wipe(left)">
                                      <p:cBhvr>
                                        <p:cTn id="23" dur="500"/>
                                        <p:tgtEl>
                                          <p:spTgt spid="3">
                                            <p:txEl>
                                              <p:pRg st="5" end="5"/>
                                            </p:txEl>
                                          </p:spTgt>
                                        </p:tgtEl>
                                      </p:cBhvr>
                                    </p:animEffect>
                                  </p:childTnLst>
                                </p:cTn>
                              </p:par>
                            </p:childTnLst>
                          </p:cTn>
                        </p:par>
                        <p:par>
                          <p:cTn id="24" fill="hold">
                            <p:stCondLst>
                              <p:cond delay="1000"/>
                            </p:stCondLst>
                            <p:childTnLst>
                              <p:par>
                                <p:cTn id="25" presetID="22" presetClass="entr" presetSubtype="8" fill="hold" nodeType="after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wipe(left)">
                                      <p:cBhvr>
                                        <p:cTn id="27" dur="500"/>
                                        <p:tgtEl>
                                          <p:spTgt spid="3">
                                            <p:txEl>
                                              <p:pRg st="6" end="6"/>
                                            </p:txEl>
                                          </p:spTgt>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wipe(left)">
                                      <p:cBhvr>
                                        <p:cTn id="31" dur="500"/>
                                        <p:tgtEl>
                                          <p:spTgt spid="3">
                                            <p:txEl>
                                              <p:pRg st="7" end="7"/>
                                            </p:txEl>
                                          </p:spTgt>
                                        </p:tgtEl>
                                      </p:cBhvr>
                                    </p:animEffect>
                                  </p:childTnLst>
                                </p:cTn>
                              </p:par>
                            </p:childTnLst>
                          </p:cTn>
                        </p:par>
                        <p:par>
                          <p:cTn id="32" fill="hold">
                            <p:stCondLst>
                              <p:cond delay="2000"/>
                            </p:stCondLst>
                            <p:childTnLst>
                              <p:par>
                                <p:cTn id="33" presetID="22" presetClass="entr" presetSubtype="8" fill="hold" nodeType="after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wipe(left)">
                                      <p:cBhvr>
                                        <p:cTn id="35" dur="500"/>
                                        <p:tgtEl>
                                          <p:spTgt spid="3">
                                            <p:txEl>
                                              <p:pRg st="8" end="8"/>
                                            </p:txEl>
                                          </p:spTgt>
                                        </p:tgtEl>
                                      </p:cBhvr>
                                    </p:animEffect>
                                  </p:childTnLst>
                                </p:cTn>
                              </p:par>
                            </p:childTnLst>
                          </p:cTn>
                        </p:par>
                        <p:par>
                          <p:cTn id="36" fill="hold">
                            <p:stCondLst>
                              <p:cond delay="2500"/>
                            </p:stCondLst>
                            <p:childTnLst>
                              <p:par>
                                <p:cTn id="37" presetID="22" presetClass="entr" presetSubtype="8" fill="hold" nodeType="after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wipe(left)">
                                      <p:cBhvr>
                                        <p:cTn id="39" dur="500"/>
                                        <p:tgtEl>
                                          <p:spTgt spid="3">
                                            <p:txEl>
                                              <p:pRg st="9" end="9"/>
                                            </p:txEl>
                                          </p:spTgt>
                                        </p:tgtEl>
                                      </p:cBhvr>
                                    </p:animEffect>
                                  </p:childTnLst>
                                </p:cTn>
                              </p:par>
                            </p:childTnLst>
                          </p:cTn>
                        </p:par>
                        <p:par>
                          <p:cTn id="40" fill="hold">
                            <p:stCondLst>
                              <p:cond delay="3000"/>
                            </p:stCondLst>
                            <p:childTnLst>
                              <p:par>
                                <p:cTn id="41" presetID="22" presetClass="entr" presetSubtype="8" fill="hold" nodeType="after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wipe(left)">
                                      <p:cBhvr>
                                        <p:cTn id="43" dur="500"/>
                                        <p:tgtEl>
                                          <p:spTgt spid="3">
                                            <p:txEl>
                                              <p:pRg st="10" end="10"/>
                                            </p:txEl>
                                          </p:spTgt>
                                        </p:tgtEl>
                                      </p:cBhvr>
                                    </p:animEffect>
                                  </p:childTnLst>
                                </p:cTn>
                              </p:par>
                            </p:childTnLst>
                          </p:cTn>
                        </p:par>
                        <p:par>
                          <p:cTn id="44" fill="hold">
                            <p:stCondLst>
                              <p:cond delay="3500"/>
                            </p:stCondLst>
                            <p:childTnLst>
                              <p:par>
                                <p:cTn id="45" presetID="22" presetClass="entr" presetSubtype="8" fill="hold" nodeType="after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animEffect transition="in" filter="wipe(left)">
                                      <p:cBhvr>
                                        <p:cTn id="4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9" y="1212850"/>
            <a:ext cx="10347075" cy="3644075"/>
          </a:xfrm>
        </p:spPr>
        <p:txBody>
          <a:bodyPr/>
          <a:lstStyle/>
          <a:p>
            <a:r>
              <a:rPr lang="en-US" dirty="0"/>
              <a:t>Forward sync</a:t>
            </a:r>
          </a:p>
          <a:p>
            <a:pPr marL="285750" lvl="1" indent="-285750">
              <a:lnSpc>
                <a:spcPct val="114000"/>
              </a:lnSpc>
              <a:buFont typeface="Arial" pitchFamily="34" charset="0"/>
              <a:buChar char="•"/>
            </a:pPr>
            <a:r>
              <a:rPr lang="en-US" sz="2000" dirty="0"/>
              <a:t>Syncs domain DNS name and </a:t>
            </a:r>
            <a:r>
              <a:rPr lang="en-US" sz="2000" dirty="0" err="1"/>
              <a:t>samaccountname</a:t>
            </a:r>
            <a:r>
              <a:rPr lang="en-US" sz="2000" dirty="0"/>
              <a:t> of users to support SSO to </a:t>
            </a:r>
            <a:r>
              <a:rPr lang="en-US" sz="2000" dirty="0" err="1"/>
              <a:t>Kerb</a:t>
            </a:r>
            <a:r>
              <a:rPr lang="en-US" sz="2000" dirty="0"/>
              <a:t> apps from Azure AD joined devices </a:t>
            </a:r>
          </a:p>
          <a:p>
            <a:pPr marL="285750" lvl="1" indent="-285750">
              <a:lnSpc>
                <a:spcPct val="114000"/>
              </a:lnSpc>
              <a:buFont typeface="Arial" pitchFamily="34" charset="0"/>
              <a:buChar char="•"/>
            </a:pPr>
            <a:r>
              <a:rPr lang="en-US" sz="2000" dirty="0"/>
              <a:t>Syncs Computer Accounts for enhanced Domain Join functionality. Requires certificate attribute on computer account is populated</a:t>
            </a:r>
          </a:p>
          <a:p>
            <a:pPr marL="285750" lvl="1" indent="-285750">
              <a:lnSpc>
                <a:spcPct val="114000"/>
              </a:lnSpc>
              <a:buFont typeface="Arial" pitchFamily="34" charset="0"/>
              <a:buChar char="•"/>
            </a:pPr>
            <a:r>
              <a:rPr lang="en-US" sz="2000" dirty="0"/>
              <a:t>Handled by default and no additional configuration required</a:t>
            </a:r>
          </a:p>
          <a:p>
            <a:r>
              <a:rPr lang="en-US" dirty="0"/>
              <a:t>Writeback</a:t>
            </a:r>
          </a:p>
          <a:p>
            <a:pPr marL="285750" lvl="1" indent="-285750">
              <a:lnSpc>
                <a:spcPct val="114000"/>
              </a:lnSpc>
              <a:buFont typeface="Arial" pitchFamily="34" charset="0"/>
              <a:buChar char="•"/>
            </a:pPr>
            <a:r>
              <a:rPr lang="en-US" sz="2000" dirty="0"/>
              <a:t>Microsoft Passport Credentials for login to AD DS and ADFS in WS2016 (TP4 or higher)</a:t>
            </a:r>
          </a:p>
        </p:txBody>
      </p:sp>
      <p:sp>
        <p:nvSpPr>
          <p:cNvPr id="2" name="Title 1"/>
          <p:cNvSpPr>
            <a:spLocks noGrp="1"/>
          </p:cNvSpPr>
          <p:nvPr>
            <p:ph type="title"/>
          </p:nvPr>
        </p:nvSpPr>
        <p:spPr/>
        <p:txBody>
          <a:bodyPr/>
          <a:lstStyle/>
          <a:p>
            <a:r>
              <a:rPr lang="en-US"/>
              <a:t>Azure AD Connect and Windows 10 devices</a:t>
            </a:r>
            <a:endParaRPr lang="en-US" dirty="0"/>
          </a:p>
        </p:txBody>
      </p:sp>
    </p:spTree>
    <p:extLst>
      <p:ext uri="{BB962C8B-B14F-4D97-AF65-F5344CB8AC3E}">
        <p14:creationId xmlns:p14="http://schemas.microsoft.com/office/powerpoint/2010/main" val="409705220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8" y="1212850"/>
            <a:ext cx="11702553" cy="4573560"/>
          </a:xfrm>
        </p:spPr>
        <p:txBody>
          <a:bodyPr/>
          <a:lstStyle/>
          <a:p>
            <a:r>
              <a:rPr lang="en-US" dirty="0"/>
              <a:t>Password Writeback</a:t>
            </a:r>
          </a:p>
          <a:p>
            <a:pPr marL="285750" lvl="1" indent="-285750">
              <a:lnSpc>
                <a:spcPct val="114000"/>
              </a:lnSpc>
              <a:buFont typeface="Arial" pitchFamily="34" charset="0"/>
              <a:buChar char="•"/>
            </a:pPr>
            <a:r>
              <a:rPr lang="en-US" sz="2000" dirty="0"/>
              <a:t>Pairs with one of the most popular features of Azure AD Premium (SSPR)</a:t>
            </a:r>
          </a:p>
          <a:p>
            <a:pPr marL="285750" lvl="1" indent="-285750">
              <a:lnSpc>
                <a:spcPct val="114000"/>
              </a:lnSpc>
              <a:buFont typeface="Arial" pitchFamily="34" charset="0"/>
              <a:buChar char="•"/>
            </a:pPr>
            <a:r>
              <a:rPr lang="en-US" sz="2000" dirty="0"/>
              <a:t>Ability to reset passwords on-</a:t>
            </a:r>
            <a:r>
              <a:rPr lang="en-US" sz="2000" dirty="0" err="1"/>
              <a:t>prem</a:t>
            </a:r>
            <a:r>
              <a:rPr lang="en-US" sz="2000" dirty="0"/>
              <a:t> (password sync and federation supported)</a:t>
            </a:r>
          </a:p>
          <a:p>
            <a:r>
              <a:rPr lang="en-US" dirty="0"/>
              <a:t>Group Writeback</a:t>
            </a:r>
          </a:p>
          <a:p>
            <a:pPr marL="285750" lvl="1" indent="-285750">
              <a:lnSpc>
                <a:spcPct val="114000"/>
              </a:lnSpc>
              <a:buFont typeface="Arial" pitchFamily="34" charset="0"/>
              <a:buChar char="•"/>
            </a:pPr>
            <a:r>
              <a:rPr lang="en-US" sz="2000" dirty="0"/>
              <a:t>Office 365 groups written back as DGs</a:t>
            </a:r>
          </a:p>
          <a:p>
            <a:pPr marL="285750" lvl="1" indent="-285750">
              <a:lnSpc>
                <a:spcPct val="114000"/>
              </a:lnSpc>
              <a:buFont typeface="Arial" pitchFamily="34" charset="0"/>
              <a:buChar char="•"/>
            </a:pPr>
            <a:r>
              <a:rPr lang="en-US" sz="2000" dirty="0"/>
              <a:t>Improves productivity in hybrid scenarios</a:t>
            </a:r>
          </a:p>
          <a:p>
            <a:r>
              <a:rPr lang="en-US" dirty="0"/>
              <a:t>Device Writeback</a:t>
            </a:r>
          </a:p>
          <a:p>
            <a:pPr marL="285750" lvl="1" indent="-285750">
              <a:lnSpc>
                <a:spcPct val="114000"/>
              </a:lnSpc>
              <a:buFont typeface="Arial" pitchFamily="34" charset="0"/>
              <a:buChar char="•"/>
            </a:pPr>
            <a:r>
              <a:rPr lang="en-US" sz="2000" dirty="0"/>
              <a:t>Supports ability to do conditional access in ADFS based on registered devices</a:t>
            </a:r>
          </a:p>
          <a:p>
            <a:r>
              <a:rPr lang="en-US" dirty="0"/>
              <a:t>Exchange Hybrid Writeback</a:t>
            </a:r>
          </a:p>
        </p:txBody>
      </p:sp>
      <p:sp>
        <p:nvSpPr>
          <p:cNvPr id="2" name="Title 1"/>
          <p:cNvSpPr>
            <a:spLocks noGrp="1"/>
          </p:cNvSpPr>
          <p:nvPr>
            <p:ph type="title"/>
          </p:nvPr>
        </p:nvSpPr>
        <p:spPr/>
        <p:txBody>
          <a:bodyPr/>
          <a:lstStyle/>
          <a:p>
            <a:r>
              <a:rPr lang="en-US" dirty="0"/>
              <a:t>Azure AD Connect and Writeback</a:t>
            </a:r>
          </a:p>
        </p:txBody>
      </p:sp>
    </p:spTree>
    <p:extLst>
      <p:ext uri="{BB962C8B-B14F-4D97-AF65-F5344CB8AC3E}">
        <p14:creationId xmlns:p14="http://schemas.microsoft.com/office/powerpoint/2010/main" val="92989608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ctive Directory</a:t>
            </a:r>
          </a:p>
        </p:txBody>
      </p:sp>
      <p:sp>
        <p:nvSpPr>
          <p:cNvPr id="4" name="Diamond 3">
            <a:extLst>
              <a:ext uri="{FF2B5EF4-FFF2-40B4-BE49-F238E27FC236}">
                <a16:creationId xmlns:a16="http://schemas.microsoft.com/office/drawing/2014/main" id="{1986CB9B-6539-4A3F-A07E-76233965C2C9}"/>
              </a:ext>
            </a:extLst>
          </p:cNvPr>
          <p:cNvSpPr/>
          <p:nvPr/>
        </p:nvSpPr>
        <p:spPr bwMode="auto">
          <a:xfrm>
            <a:off x="5303044" y="3802062"/>
            <a:ext cx="1828800" cy="182880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Freeform: Shape 2">
            <a:extLst>
              <a:ext uri="{FF2B5EF4-FFF2-40B4-BE49-F238E27FC236}">
                <a16:creationId xmlns:a16="http://schemas.microsoft.com/office/drawing/2014/main" id="{12796469-EC44-45E3-B804-F91481DCD810}"/>
              </a:ext>
            </a:extLst>
          </p:cNvPr>
          <p:cNvSpPr>
            <a:spLocks noChangeAspect="1"/>
          </p:cNvSpPr>
          <p:nvPr/>
        </p:nvSpPr>
        <p:spPr bwMode="auto">
          <a:xfrm flipV="1">
            <a:off x="5094465" y="3497262"/>
            <a:ext cx="2245958" cy="223143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7625729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deration</a:t>
            </a:r>
          </a:p>
        </p:txBody>
      </p:sp>
      <p:grpSp>
        <p:nvGrpSpPr>
          <p:cNvPr id="3" name="Group 2">
            <a:extLst>
              <a:ext uri="{FF2B5EF4-FFF2-40B4-BE49-F238E27FC236}">
                <a16:creationId xmlns:a16="http://schemas.microsoft.com/office/drawing/2014/main" id="{93FFF79E-10C5-4D58-9438-BDA3AA17FF55}"/>
              </a:ext>
            </a:extLst>
          </p:cNvPr>
          <p:cNvGrpSpPr/>
          <p:nvPr/>
        </p:nvGrpSpPr>
        <p:grpSpPr>
          <a:xfrm>
            <a:off x="5684044" y="3813175"/>
            <a:ext cx="2315766" cy="2491121"/>
            <a:chOff x="10409237" y="4737104"/>
            <a:chExt cx="674077" cy="858161"/>
          </a:xfrm>
        </p:grpSpPr>
        <p:sp>
          <p:nvSpPr>
            <p:cNvPr id="4" name="Freeform 836">
              <a:extLst>
                <a:ext uri="{FF2B5EF4-FFF2-40B4-BE49-F238E27FC236}">
                  <a16:creationId xmlns:a16="http://schemas.microsoft.com/office/drawing/2014/main" id="{6E762195-FD0D-4BA1-A69A-51F5561EBBC1}"/>
                </a:ext>
              </a:extLst>
            </p:cNvPr>
            <p:cNvSpPr>
              <a:spLocks noEditPoints="1"/>
            </p:cNvSpPr>
            <p:nvPr/>
          </p:nvSpPr>
          <p:spPr bwMode="auto">
            <a:xfrm>
              <a:off x="10409237" y="4832795"/>
              <a:ext cx="310576" cy="496181"/>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51304">
                <a:defRPr/>
              </a:pPr>
              <a:endParaRPr lang="en-GB" sz="1836" kern="0">
                <a:solidFill>
                  <a:srgbClr val="505050"/>
                </a:solidFill>
                <a:ea typeface="ＭＳ Ｐゴシック" charset="0"/>
              </a:endParaRPr>
            </a:p>
          </p:txBody>
        </p:sp>
        <p:sp>
          <p:nvSpPr>
            <p:cNvPr id="5" name="Freeform 836">
              <a:extLst>
                <a:ext uri="{FF2B5EF4-FFF2-40B4-BE49-F238E27FC236}">
                  <a16:creationId xmlns:a16="http://schemas.microsoft.com/office/drawing/2014/main" id="{08A4CEAA-2691-42FB-BC15-AA34E3E36D8A}"/>
                </a:ext>
              </a:extLst>
            </p:cNvPr>
            <p:cNvSpPr>
              <a:spLocks noEditPoints="1"/>
            </p:cNvSpPr>
            <p:nvPr/>
          </p:nvSpPr>
          <p:spPr bwMode="auto">
            <a:xfrm>
              <a:off x="10553747" y="4737104"/>
              <a:ext cx="310576" cy="496181"/>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51304">
                <a:defRPr/>
              </a:pPr>
              <a:endParaRPr lang="en-GB" sz="1836" kern="0">
                <a:solidFill>
                  <a:srgbClr val="505050"/>
                </a:solidFill>
                <a:ea typeface="ＭＳ Ｐゴシック" charset="0"/>
              </a:endParaRPr>
            </a:p>
          </p:txBody>
        </p:sp>
        <p:sp>
          <p:nvSpPr>
            <p:cNvPr id="6" name="TextBox 5">
              <a:extLst>
                <a:ext uri="{FF2B5EF4-FFF2-40B4-BE49-F238E27FC236}">
                  <a16:creationId xmlns:a16="http://schemas.microsoft.com/office/drawing/2014/main" id="{1241C22B-4CCF-4E4C-8E3B-3E72665BF77E}"/>
                </a:ext>
              </a:extLst>
            </p:cNvPr>
            <p:cNvSpPr txBox="1"/>
            <p:nvPr/>
          </p:nvSpPr>
          <p:spPr>
            <a:xfrm>
              <a:off x="10473714" y="5287712"/>
              <a:ext cx="609600" cy="307553"/>
            </a:xfrm>
            <a:prstGeom prst="rect">
              <a:avLst/>
            </a:prstGeom>
            <a:noFill/>
          </p:spPr>
          <p:txBody>
            <a:bodyPr wrap="square" lIns="182880" tIns="146304" rIns="182880" bIns="146304" rtlCol="0">
              <a:spAutoFit/>
            </a:bodyPr>
            <a:lstStyle/>
            <a:p>
              <a:pPr>
                <a:lnSpc>
                  <a:spcPct val="90000"/>
                </a:lnSpc>
                <a:spcAft>
                  <a:spcPts val="600"/>
                </a:spcAft>
              </a:pPr>
              <a:endParaRPr lang="en-US" sz="900" dirty="0">
                <a:gradFill>
                  <a:gsLst>
                    <a:gs pos="2917">
                      <a:srgbClr val="FFFFFF"/>
                    </a:gs>
                    <a:gs pos="30000">
                      <a:srgbClr val="FFFFFF"/>
                    </a:gs>
                  </a:gsLst>
                  <a:lin ang="5400000" scaled="0"/>
                </a:gradFill>
              </a:endParaRPr>
            </a:p>
          </p:txBody>
        </p:sp>
      </p:grpSp>
    </p:spTree>
    <p:extLst>
      <p:ext uri="{BB962C8B-B14F-4D97-AF65-F5344CB8AC3E}">
        <p14:creationId xmlns:p14="http://schemas.microsoft.com/office/powerpoint/2010/main" val="47634093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Federation</a:t>
            </a:r>
          </a:p>
        </p:txBody>
      </p:sp>
      <p:sp>
        <p:nvSpPr>
          <p:cNvPr id="7" name="Text Placeholder 3"/>
          <p:cNvSpPr txBox="1">
            <a:spLocks/>
          </p:cNvSpPr>
          <p:nvPr/>
        </p:nvSpPr>
        <p:spPr>
          <a:xfrm>
            <a:off x="366169" y="1212851"/>
            <a:ext cx="5013075" cy="5408611"/>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4000"/>
              </a:lnSpc>
              <a:buNone/>
            </a:pPr>
            <a:r>
              <a:rPr lang="en-US" sz="2400" dirty="0">
                <a:solidFill>
                  <a:schemeClr val="tx2"/>
                </a:solidFill>
              </a:rPr>
              <a:t>Use federation if:</a:t>
            </a:r>
          </a:p>
          <a:p>
            <a:pPr marL="285750" lvl="1" indent="-285750">
              <a:lnSpc>
                <a:spcPct val="114000"/>
              </a:lnSpc>
            </a:pPr>
            <a:r>
              <a:rPr lang="en-US" sz="1600" dirty="0"/>
              <a:t>Single sign-on is required</a:t>
            </a:r>
          </a:p>
          <a:p>
            <a:pPr marL="285750" lvl="1" indent="-285750">
              <a:lnSpc>
                <a:spcPct val="114000"/>
              </a:lnSpc>
            </a:pPr>
            <a:r>
              <a:rPr lang="en-US" sz="1600" dirty="0"/>
              <a:t>AD FS is already deployed</a:t>
            </a:r>
          </a:p>
          <a:p>
            <a:pPr marL="285750" lvl="1" indent="-285750">
              <a:lnSpc>
                <a:spcPct val="114000"/>
              </a:lnSpc>
            </a:pPr>
            <a:r>
              <a:rPr lang="en-US" sz="1600" dirty="0"/>
              <a:t>You use a third-party identity provider</a:t>
            </a:r>
          </a:p>
          <a:p>
            <a:pPr marL="285750" lvl="1" indent="-285750">
              <a:lnSpc>
                <a:spcPct val="114000"/>
              </a:lnSpc>
            </a:pPr>
            <a:r>
              <a:rPr lang="en-US" sz="1600" dirty="0"/>
              <a:t>You use Forefront Identity Manager 2010 R2 (does not support password hash synchronization)</a:t>
            </a:r>
          </a:p>
          <a:p>
            <a:pPr marL="285750" lvl="1" indent="-285750">
              <a:lnSpc>
                <a:spcPct val="114000"/>
              </a:lnSpc>
            </a:pPr>
            <a:r>
              <a:rPr lang="en-US" sz="1600" dirty="0"/>
              <a:t>You have an on-premises integrated smart  card or other MFA solution</a:t>
            </a:r>
          </a:p>
          <a:p>
            <a:pPr marL="285750" lvl="1" indent="-285750">
              <a:lnSpc>
                <a:spcPct val="114000"/>
              </a:lnSpc>
            </a:pPr>
            <a:r>
              <a:rPr lang="en-US" sz="1600" dirty="0"/>
              <a:t>You require sign-in audit and/or disablement of accounts</a:t>
            </a:r>
          </a:p>
          <a:p>
            <a:pPr marL="285750" lvl="1" indent="-285750">
              <a:lnSpc>
                <a:spcPct val="114000"/>
              </a:lnSpc>
            </a:pPr>
            <a:r>
              <a:rPr lang="en-US" sz="1600" dirty="0"/>
              <a:t>Your organization requires client sign-in restrictions by network location or work hours</a:t>
            </a:r>
          </a:p>
          <a:p>
            <a:pPr marL="285750" lvl="1" indent="-285750">
              <a:lnSpc>
                <a:spcPct val="114000"/>
              </a:lnSpc>
            </a:pPr>
            <a:r>
              <a:rPr lang="en-US" sz="1600" dirty="0"/>
              <a:t>Compliance with Federal Information Processing Standards (FIPS)</a:t>
            </a:r>
          </a:p>
          <a:p>
            <a:pPr marL="0" indent="0">
              <a:lnSpc>
                <a:spcPct val="114000"/>
              </a:lnSpc>
              <a:buNone/>
            </a:pPr>
            <a:endParaRPr lang="en-US" sz="2400" dirty="0">
              <a:solidFill>
                <a:schemeClr val="tx2"/>
              </a:solidFill>
            </a:endParaRPr>
          </a:p>
        </p:txBody>
      </p:sp>
      <p:sp>
        <p:nvSpPr>
          <p:cNvPr id="8" name="Text Placeholder 3"/>
          <p:cNvSpPr txBox="1">
            <a:spLocks/>
          </p:cNvSpPr>
          <p:nvPr/>
        </p:nvSpPr>
        <p:spPr>
          <a:xfrm>
            <a:off x="6421913" y="1212851"/>
            <a:ext cx="5013075" cy="5408611"/>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4000"/>
              </a:lnSpc>
              <a:buNone/>
            </a:pPr>
            <a:r>
              <a:rPr lang="en-US" sz="2400" dirty="0">
                <a:solidFill>
                  <a:schemeClr val="tx2"/>
                </a:solidFill>
              </a:rPr>
              <a:t>Requires infrastructure:</a:t>
            </a:r>
          </a:p>
          <a:p>
            <a:pPr marL="285750" lvl="1" indent="-285750">
              <a:lnSpc>
                <a:spcPct val="114000"/>
              </a:lnSpc>
            </a:pPr>
            <a:r>
              <a:rPr lang="en-US" sz="1600" dirty="0"/>
              <a:t>Can be virtualized</a:t>
            </a:r>
          </a:p>
          <a:p>
            <a:pPr marL="285750" lvl="1" indent="-285750">
              <a:lnSpc>
                <a:spcPct val="114000"/>
              </a:lnSpc>
            </a:pPr>
            <a:r>
              <a:rPr lang="en-US" sz="1600" dirty="0"/>
              <a:t>Can be in Azure IaaS</a:t>
            </a:r>
          </a:p>
          <a:p>
            <a:pPr marL="285750" lvl="1" indent="-285750">
              <a:lnSpc>
                <a:spcPct val="114000"/>
              </a:lnSpc>
            </a:pPr>
            <a:r>
              <a:rPr lang="en-US" sz="1600" dirty="0">
                <a:hlinkClick r:id="rId3"/>
              </a:rPr>
              <a:t>Example deployment</a:t>
            </a:r>
            <a:r>
              <a:rPr lang="en-US" sz="1600" dirty="0"/>
              <a:t> in Azure…</a:t>
            </a:r>
          </a:p>
          <a:p>
            <a:pPr marL="0" indent="0">
              <a:lnSpc>
                <a:spcPct val="114000"/>
              </a:lnSpc>
              <a:buNone/>
            </a:pPr>
            <a:endParaRPr lang="en-US" sz="2400" dirty="0">
              <a:solidFill>
                <a:schemeClr val="tx2"/>
              </a:solidFill>
            </a:endParaRPr>
          </a:p>
        </p:txBody>
      </p:sp>
      <p:sp>
        <p:nvSpPr>
          <p:cNvPr id="3" name="Rectangle 2">
            <a:extLst>
              <a:ext uri="{FF2B5EF4-FFF2-40B4-BE49-F238E27FC236}">
                <a16:creationId xmlns:a16="http://schemas.microsoft.com/office/drawing/2014/main" id="{34F4C32D-3AB1-4CA4-856B-38033EBF9A01}"/>
              </a:ext>
            </a:extLst>
          </p:cNvPr>
          <p:cNvSpPr/>
          <p:nvPr/>
        </p:nvSpPr>
        <p:spPr>
          <a:xfrm>
            <a:off x="502444" y="6436796"/>
            <a:ext cx="2084417" cy="369332"/>
          </a:xfrm>
          <a:prstGeom prst="rect">
            <a:avLst/>
          </a:prstGeom>
        </p:spPr>
        <p:txBody>
          <a:bodyPr wrap="none">
            <a:spAutoFit/>
          </a:bodyPr>
          <a:lstStyle/>
          <a:p>
            <a:r>
              <a:rPr lang="en-US" dirty="0">
                <a:hlinkClick r:id="rId4"/>
              </a:rPr>
              <a:t>aka.ms/</a:t>
            </a:r>
            <a:r>
              <a:rPr lang="en-US" dirty="0" err="1">
                <a:hlinkClick r:id="rId4"/>
              </a:rPr>
              <a:t>ADFSLinks</a:t>
            </a:r>
            <a:r>
              <a:rPr lang="en-US" dirty="0"/>
              <a:t> </a:t>
            </a:r>
          </a:p>
        </p:txBody>
      </p:sp>
      <p:pic>
        <p:nvPicPr>
          <p:cNvPr id="4" name="Picture 3">
            <a:extLst>
              <a:ext uri="{FF2B5EF4-FFF2-40B4-BE49-F238E27FC236}">
                <a16:creationId xmlns:a16="http://schemas.microsoft.com/office/drawing/2014/main" id="{DDA3F5F9-76B6-4D4B-862F-80C25EB027A7}"/>
              </a:ext>
            </a:extLst>
          </p:cNvPr>
          <p:cNvPicPr>
            <a:picLocks noChangeAspect="1"/>
          </p:cNvPicPr>
          <p:nvPr/>
        </p:nvPicPr>
        <p:blipFill>
          <a:blip r:embed="rId5"/>
          <a:stretch>
            <a:fillRect/>
          </a:stretch>
        </p:blipFill>
        <p:spPr>
          <a:xfrm>
            <a:off x="5664842" y="3192462"/>
            <a:ext cx="6635616" cy="3429000"/>
          </a:xfrm>
          <a:prstGeom prst="rect">
            <a:avLst/>
          </a:prstGeom>
        </p:spPr>
      </p:pic>
    </p:spTree>
    <p:extLst>
      <p:ext uri="{BB962C8B-B14F-4D97-AF65-F5344CB8AC3E}">
        <p14:creationId xmlns:p14="http://schemas.microsoft.com/office/powerpoint/2010/main" val="369703355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0" y="1212853"/>
            <a:ext cx="12434888" cy="57816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Text Placeholder 6"/>
          <p:cNvSpPr txBox="1">
            <a:spLocks/>
          </p:cNvSpPr>
          <p:nvPr/>
        </p:nvSpPr>
        <p:spPr>
          <a:xfrm>
            <a:off x="366169" y="1287462"/>
            <a:ext cx="5259317" cy="461641"/>
          </a:xfrm>
          <a:prstGeom prst="rect">
            <a:avLst/>
          </a:prstGeom>
        </p:spPr>
        <p:txBody>
          <a:bodyPr vert="horz" wrap="square" lIns="146285" tIns="91428" rIns="146285" bIns="91428" rtlCol="0" anchor="ctr" anchorCtr="0">
            <a:noAutofit/>
          </a:bodyPr>
          <a:lstStyle>
            <a:lvl1pPr marL="0" indent="0" algn="l" defTabSz="931684" rtl="0" fontAlgn="base">
              <a:lnSpc>
                <a:spcPct val="90000"/>
              </a:lnSpc>
              <a:spcBef>
                <a:spcPct val="20000"/>
              </a:spcBef>
              <a:spcAft>
                <a:spcPct val="0"/>
              </a:spcAft>
              <a:buSzPct val="90000"/>
              <a:buFont typeface="Arial" charset="0"/>
              <a:buNone/>
              <a:defRPr sz="2244" b="0" kern="1200">
                <a:solidFill>
                  <a:schemeClr val="accent2"/>
                </a:solidFill>
                <a:latin typeface="+mn-lt"/>
                <a:ea typeface="ＭＳ Ｐゴシック" charset="0"/>
                <a:cs typeface="ＭＳ Ｐゴシック" charset="0"/>
              </a:defRPr>
            </a:lvl1pPr>
            <a:lvl2pPr marL="342834" indent="0" algn="l" defTabSz="931684" rtl="0" fontAlgn="base">
              <a:lnSpc>
                <a:spcPct val="90000"/>
              </a:lnSpc>
              <a:spcBef>
                <a:spcPct val="20000"/>
              </a:spcBef>
              <a:spcAft>
                <a:spcPct val="0"/>
              </a:spcAft>
              <a:buSzPct val="90000"/>
              <a:buFont typeface="Arial" charset="0"/>
              <a:buNone/>
              <a:defRPr sz="2400" kern="1200">
                <a:gradFill>
                  <a:gsLst>
                    <a:gs pos="1250">
                      <a:schemeClr val="tx1"/>
                    </a:gs>
                    <a:gs pos="100000">
                      <a:schemeClr val="tx1"/>
                    </a:gs>
                  </a:gsLst>
                  <a:lin ang="5400000" scaled="0"/>
                </a:gradFill>
                <a:latin typeface="+mn-lt"/>
                <a:ea typeface="ＭＳ Ｐゴシック" charset="0"/>
                <a:cs typeface="+mn-cs"/>
              </a:defRPr>
            </a:lvl2pPr>
            <a:lvl3pPr marL="571390" indent="0" algn="l" defTabSz="931684" rtl="0" fontAlgn="base">
              <a:lnSpc>
                <a:spcPct val="90000"/>
              </a:lnSpc>
              <a:spcBef>
                <a:spcPct val="20000"/>
              </a:spcBef>
              <a:spcAft>
                <a:spcPct val="0"/>
              </a:spcAft>
              <a:buSzPct val="90000"/>
              <a:buFont typeface="Arial" charset="0"/>
              <a:buNone/>
              <a:defRPr sz="2000" kern="1200">
                <a:gradFill>
                  <a:gsLst>
                    <a:gs pos="1250">
                      <a:schemeClr val="tx1"/>
                    </a:gs>
                    <a:gs pos="100000">
                      <a:schemeClr val="tx1"/>
                    </a:gs>
                  </a:gsLst>
                  <a:lin ang="5400000" scaled="0"/>
                </a:gradFill>
                <a:latin typeface="+mn-lt"/>
                <a:ea typeface="ＭＳ Ｐゴシック" charset="0"/>
                <a:cs typeface="+mn-cs"/>
              </a:defRPr>
            </a:lvl3pPr>
            <a:lvl4pPr marL="799946"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28502"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1591">
              <a:defRPr/>
            </a:pPr>
            <a:r>
              <a:rPr lang="en-US" sz="2000" dirty="0">
                <a:solidFill>
                  <a:schemeClr val="bg1"/>
                </a:solidFill>
                <a:latin typeface="Segoe UI Semibold" panose="020B0702040204020203" pitchFamily="34" charset="0"/>
                <a:cs typeface="Segoe UI Semibold" panose="020B0702040204020203" pitchFamily="34" charset="0"/>
              </a:rPr>
              <a:t>Azure AD Connect Health</a:t>
            </a:r>
          </a:p>
        </p:txBody>
      </p:sp>
      <p:sp>
        <p:nvSpPr>
          <p:cNvPr id="3" name="Title 2"/>
          <p:cNvSpPr>
            <a:spLocks noGrp="1"/>
          </p:cNvSpPr>
          <p:nvPr>
            <p:ph type="title"/>
          </p:nvPr>
        </p:nvSpPr>
        <p:spPr/>
        <p:txBody>
          <a:bodyPr/>
          <a:lstStyle/>
          <a:p>
            <a:r>
              <a:rPr lang="en-US"/>
              <a:t>Monitor your Identity Bridge</a:t>
            </a:r>
            <a:br>
              <a:rPr lang="en-US"/>
            </a:br>
            <a:endParaRPr lang="en-US" dirty="0"/>
          </a:p>
        </p:txBody>
      </p:sp>
      <p:sp>
        <p:nvSpPr>
          <p:cNvPr id="6" name="TextBox 5"/>
          <p:cNvSpPr txBox="1"/>
          <p:nvPr/>
        </p:nvSpPr>
        <p:spPr>
          <a:xfrm>
            <a:off x="7215980" y="4185552"/>
            <a:ext cx="1307269" cy="527291"/>
          </a:xfrm>
          <a:prstGeom prst="rect">
            <a:avLst/>
          </a:prstGeom>
          <a:noFill/>
        </p:spPr>
        <p:txBody>
          <a:bodyPr wrap="square" lIns="186497" tIns="149198" rIns="186497" bIns="149198" rtlCol="0">
            <a:spAutoFit/>
          </a:bodyPr>
          <a:lstStyle/>
          <a:p>
            <a:pPr defTabSz="914309">
              <a:lnSpc>
                <a:spcPct val="90000"/>
              </a:lnSpc>
              <a:defRPr/>
            </a:pPr>
            <a:endParaRPr lang="en-US" sz="1632" kern="0" dirty="0">
              <a:gradFill>
                <a:gsLst>
                  <a:gs pos="2917">
                    <a:schemeClr val="tx1"/>
                  </a:gs>
                  <a:gs pos="30000">
                    <a:schemeClr val="tx1"/>
                  </a:gs>
                </a:gsLst>
                <a:lin ang="5400000" scaled="0"/>
              </a:gradFill>
            </a:endParaRPr>
          </a:p>
        </p:txBody>
      </p:sp>
      <p:grpSp>
        <p:nvGrpSpPr>
          <p:cNvPr id="7" name="Group 6"/>
          <p:cNvGrpSpPr/>
          <p:nvPr/>
        </p:nvGrpSpPr>
        <p:grpSpPr>
          <a:xfrm>
            <a:off x="7196369" y="4610779"/>
            <a:ext cx="4702115" cy="2383299"/>
            <a:chOff x="7055940" y="4520922"/>
            <a:chExt cx="4610923" cy="3140436"/>
          </a:xfrm>
        </p:grpSpPr>
        <p:sp>
          <p:nvSpPr>
            <p:cNvPr id="8" name="Rounded Rectangle 7"/>
            <p:cNvSpPr/>
            <p:nvPr/>
          </p:nvSpPr>
          <p:spPr bwMode="auto">
            <a:xfrm>
              <a:off x="7055940" y="4520922"/>
              <a:ext cx="4610923" cy="3140436"/>
            </a:xfrm>
            <a:prstGeom prst="roundRect">
              <a:avLst>
                <a:gd name="adj" fmla="val 11756"/>
              </a:avLst>
            </a:prstGeom>
            <a:solidFill>
              <a:schemeClr val="accent1">
                <a:lumMod val="20000"/>
                <a:lumOff val="80000"/>
              </a:schemeClr>
            </a:solidFill>
            <a:ln w="38100" cap="flat" cmpd="sng" algn="ctr">
              <a:solidFill>
                <a:schemeClr val="bg1">
                  <a:lumMod val="65000"/>
                </a:schemeClr>
              </a:solidFill>
              <a:prstDash val="sysDash"/>
              <a:headEnd type="none" w="med" len="med"/>
              <a:tailEnd type="none" w="med" len="med"/>
            </a:ln>
            <a:effectLst/>
          </p:spPr>
          <p:txBody>
            <a:bodyPr rot="0" spcFirstLastPara="0" vert="horz" wrap="square" lIns="190183" tIns="152147" rIns="190183" bIns="15214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69670" fontAlgn="base">
                <a:lnSpc>
                  <a:spcPct val="90000"/>
                </a:lnSpc>
                <a:spcBef>
                  <a:spcPct val="0"/>
                </a:spcBef>
                <a:spcAft>
                  <a:spcPct val="0"/>
                </a:spcAft>
                <a:defRPr/>
              </a:pPr>
              <a:endParaRPr lang="en-US" sz="249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Box 8"/>
            <p:cNvSpPr txBox="1"/>
            <p:nvPr/>
          </p:nvSpPr>
          <p:spPr>
            <a:xfrm>
              <a:off x="7075170" y="4554173"/>
              <a:ext cx="1281916" cy="1004465"/>
            </a:xfrm>
            <a:prstGeom prst="rect">
              <a:avLst/>
            </a:prstGeom>
            <a:noFill/>
          </p:spPr>
          <p:txBody>
            <a:bodyPr wrap="square" lIns="186497" tIns="149198" rIns="186497" bIns="149198" rtlCol="0">
              <a:spAutoFit/>
            </a:bodyPr>
            <a:lstStyle/>
            <a:p>
              <a:pPr defTabSz="914309">
                <a:lnSpc>
                  <a:spcPct val="90000"/>
                </a:lnSpc>
                <a:defRPr/>
              </a:pPr>
              <a:r>
                <a:rPr lang="en-US" sz="1632" kern="0" dirty="0">
                  <a:gradFill>
                    <a:gsLst>
                      <a:gs pos="2917">
                        <a:schemeClr val="tx1"/>
                      </a:gs>
                      <a:gs pos="30000">
                        <a:schemeClr val="tx1"/>
                      </a:gs>
                    </a:gsLst>
                    <a:lin ang="5400000" scaled="0"/>
                  </a:gradFill>
                </a:rPr>
                <a:t>Corporate network</a:t>
              </a:r>
            </a:p>
          </p:txBody>
        </p:sp>
      </p:grpSp>
      <p:sp>
        <p:nvSpPr>
          <p:cNvPr id="10" name="Rectangle 9"/>
          <p:cNvSpPr>
            <a:spLocks noChangeArrowheads="1"/>
          </p:cNvSpPr>
          <p:nvPr/>
        </p:nvSpPr>
        <p:spPr bwMode="auto">
          <a:xfrm>
            <a:off x="7559439" y="6094176"/>
            <a:ext cx="76959" cy="2522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091" tIns="47545" rIns="95091" bIns="4754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878" fontAlgn="base">
              <a:spcBef>
                <a:spcPct val="0"/>
              </a:spcBef>
              <a:spcAft>
                <a:spcPct val="0"/>
              </a:spcAft>
              <a:defRPr/>
            </a:pPr>
            <a:endParaRPr lang="en-US" sz="1873">
              <a:solidFill>
                <a:srgbClr val="505050"/>
              </a:solidFill>
              <a:latin typeface="Segoe UI" charset="0"/>
              <a:ea typeface="ＭＳ Ｐゴシック" charset="0"/>
            </a:endParaRPr>
          </a:p>
        </p:txBody>
      </p:sp>
      <p:sp>
        <p:nvSpPr>
          <p:cNvPr id="11" name="Oval 10"/>
          <p:cNvSpPr>
            <a:spLocks noChangeArrowheads="1"/>
          </p:cNvSpPr>
          <p:nvPr/>
        </p:nvSpPr>
        <p:spPr bwMode="auto">
          <a:xfrm>
            <a:off x="7423015" y="5881198"/>
            <a:ext cx="383522" cy="33260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91" tIns="47545" rIns="95091" bIns="4754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878" fontAlgn="base">
              <a:spcBef>
                <a:spcPct val="0"/>
              </a:spcBef>
              <a:spcAft>
                <a:spcPct val="0"/>
              </a:spcAft>
              <a:defRPr/>
            </a:pPr>
            <a:endParaRPr lang="en-US" sz="1873">
              <a:solidFill>
                <a:srgbClr val="505050"/>
              </a:solidFill>
              <a:latin typeface="Segoe UI" charset="0"/>
              <a:ea typeface="ＭＳ Ｐゴシック" charset="0"/>
            </a:endParaRPr>
          </a:p>
        </p:txBody>
      </p:sp>
      <p:sp>
        <p:nvSpPr>
          <p:cNvPr id="12" name="Oval 11"/>
          <p:cNvSpPr>
            <a:spLocks noChangeArrowheads="1"/>
          </p:cNvSpPr>
          <p:nvPr/>
        </p:nvSpPr>
        <p:spPr bwMode="auto">
          <a:xfrm>
            <a:off x="7467745" y="5719108"/>
            <a:ext cx="280909" cy="24443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91" tIns="47545" rIns="95091" bIns="4754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878" fontAlgn="base">
              <a:spcBef>
                <a:spcPct val="0"/>
              </a:spcBef>
              <a:spcAft>
                <a:spcPct val="0"/>
              </a:spcAft>
              <a:defRPr/>
            </a:pPr>
            <a:endParaRPr lang="en-US" sz="1873">
              <a:solidFill>
                <a:srgbClr val="505050"/>
              </a:solidFill>
              <a:latin typeface="Segoe UI" charset="0"/>
              <a:ea typeface="ＭＳ Ｐゴシック" charset="0"/>
            </a:endParaRPr>
          </a:p>
        </p:txBody>
      </p:sp>
      <p:sp>
        <p:nvSpPr>
          <p:cNvPr id="13" name="Freeform 12"/>
          <p:cNvSpPr>
            <a:spLocks/>
          </p:cNvSpPr>
          <p:nvPr/>
        </p:nvSpPr>
        <p:spPr bwMode="auto">
          <a:xfrm>
            <a:off x="6788697" y="6174365"/>
            <a:ext cx="3427241" cy="477697"/>
          </a:xfrm>
          <a:custGeom>
            <a:avLst/>
            <a:gdLst>
              <a:gd name="T0" fmla="*/ 709 w 1146"/>
              <a:gd name="T1" fmla="*/ 12 h 238"/>
              <a:gd name="T2" fmla="*/ 696 w 1146"/>
              <a:gd name="T3" fmla="*/ 10 h 238"/>
              <a:gd name="T4" fmla="*/ 673 w 1146"/>
              <a:gd name="T5" fmla="*/ 38 h 238"/>
              <a:gd name="T6" fmla="*/ 613 w 1146"/>
              <a:gd name="T7" fmla="*/ 65 h 238"/>
              <a:gd name="T8" fmla="*/ 566 w 1146"/>
              <a:gd name="T9" fmla="*/ 39 h 238"/>
              <a:gd name="T10" fmla="*/ 566 w 1146"/>
              <a:gd name="T11" fmla="*/ 0 h 238"/>
              <a:gd name="T12" fmla="*/ 0 w 1146"/>
              <a:gd name="T13" fmla="*/ 238 h 238"/>
              <a:gd name="T14" fmla="*/ 406 w 1146"/>
              <a:gd name="T15" fmla="*/ 238 h 238"/>
              <a:gd name="T16" fmla="*/ 1146 w 1146"/>
              <a:gd name="T17" fmla="*/ 238 h 238"/>
              <a:gd name="T18" fmla="*/ 709 w 1146"/>
              <a:gd name="T19" fmla="*/ 1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6" h="238">
                <a:moveTo>
                  <a:pt x="709" y="12"/>
                </a:moveTo>
                <a:cubicBezTo>
                  <a:pt x="705" y="11"/>
                  <a:pt x="700" y="10"/>
                  <a:pt x="696" y="10"/>
                </a:cubicBezTo>
                <a:cubicBezTo>
                  <a:pt x="688" y="21"/>
                  <a:pt x="680" y="30"/>
                  <a:pt x="673" y="38"/>
                </a:cubicBezTo>
                <a:cubicBezTo>
                  <a:pt x="655" y="57"/>
                  <a:pt x="637" y="65"/>
                  <a:pt x="613" y="65"/>
                </a:cubicBezTo>
                <a:cubicBezTo>
                  <a:pt x="591" y="65"/>
                  <a:pt x="574" y="57"/>
                  <a:pt x="566" y="39"/>
                </a:cubicBezTo>
                <a:cubicBezTo>
                  <a:pt x="562" y="29"/>
                  <a:pt x="561" y="16"/>
                  <a:pt x="566" y="0"/>
                </a:cubicBezTo>
                <a:cubicBezTo>
                  <a:pt x="361" y="2"/>
                  <a:pt x="157" y="81"/>
                  <a:pt x="0" y="238"/>
                </a:cubicBezTo>
                <a:cubicBezTo>
                  <a:pt x="406" y="238"/>
                  <a:pt x="406" y="238"/>
                  <a:pt x="406" y="238"/>
                </a:cubicBezTo>
                <a:cubicBezTo>
                  <a:pt x="1146" y="238"/>
                  <a:pt x="1146" y="238"/>
                  <a:pt x="1146" y="238"/>
                </a:cubicBezTo>
                <a:cubicBezTo>
                  <a:pt x="1023" y="114"/>
                  <a:pt x="869" y="39"/>
                  <a:pt x="709" y="1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91" tIns="47545" rIns="95091" bIns="4754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878" fontAlgn="base">
              <a:spcBef>
                <a:spcPct val="0"/>
              </a:spcBef>
              <a:spcAft>
                <a:spcPct val="0"/>
              </a:spcAft>
              <a:defRPr/>
            </a:pPr>
            <a:endParaRPr lang="en-US" sz="1873">
              <a:solidFill>
                <a:srgbClr val="505050"/>
              </a:solidFill>
              <a:latin typeface="Segoe UI" charset="0"/>
              <a:ea typeface="ＭＳ Ｐゴシック" charset="0"/>
            </a:endParaRPr>
          </a:p>
        </p:txBody>
      </p:sp>
      <p:sp>
        <p:nvSpPr>
          <p:cNvPr id="14" name="Freeform 13"/>
          <p:cNvSpPr>
            <a:spLocks/>
          </p:cNvSpPr>
          <p:nvPr/>
        </p:nvSpPr>
        <p:spPr bwMode="auto">
          <a:xfrm>
            <a:off x="10682793" y="6038202"/>
            <a:ext cx="1753424" cy="613861"/>
          </a:xfrm>
          <a:custGeom>
            <a:avLst/>
            <a:gdLst>
              <a:gd name="T0" fmla="*/ 0 w 760"/>
              <a:gd name="T1" fmla="*/ 306 h 306"/>
              <a:gd name="T2" fmla="*/ 499 w 760"/>
              <a:gd name="T3" fmla="*/ 306 h 306"/>
              <a:gd name="T4" fmla="*/ 760 w 760"/>
              <a:gd name="T5" fmla="*/ 306 h 306"/>
              <a:gd name="T6" fmla="*/ 760 w 760"/>
              <a:gd name="T7" fmla="*/ 15 h 306"/>
              <a:gd name="T8" fmla="*/ 0 w 760"/>
              <a:gd name="T9" fmla="*/ 306 h 306"/>
            </a:gdLst>
            <a:ahLst/>
            <a:cxnLst>
              <a:cxn ang="0">
                <a:pos x="T0" y="T1"/>
              </a:cxn>
              <a:cxn ang="0">
                <a:pos x="T2" y="T3"/>
              </a:cxn>
              <a:cxn ang="0">
                <a:pos x="T4" y="T5"/>
              </a:cxn>
              <a:cxn ang="0">
                <a:pos x="T6" y="T7"/>
              </a:cxn>
              <a:cxn ang="0">
                <a:pos x="T8" y="T9"/>
              </a:cxn>
            </a:cxnLst>
            <a:rect l="0" t="0" r="r" b="b"/>
            <a:pathLst>
              <a:path w="760" h="306">
                <a:moveTo>
                  <a:pt x="0" y="306"/>
                </a:moveTo>
                <a:cubicBezTo>
                  <a:pt x="499" y="306"/>
                  <a:pt x="499" y="306"/>
                  <a:pt x="499" y="306"/>
                </a:cubicBezTo>
                <a:cubicBezTo>
                  <a:pt x="760" y="306"/>
                  <a:pt x="760" y="306"/>
                  <a:pt x="760" y="306"/>
                </a:cubicBezTo>
                <a:cubicBezTo>
                  <a:pt x="760" y="15"/>
                  <a:pt x="760" y="15"/>
                  <a:pt x="760" y="15"/>
                </a:cubicBezTo>
                <a:cubicBezTo>
                  <a:pt x="487" y="0"/>
                  <a:pt x="208" y="97"/>
                  <a:pt x="0" y="306"/>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91" tIns="47545" rIns="95091" bIns="4754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878" fontAlgn="base">
              <a:spcBef>
                <a:spcPct val="0"/>
              </a:spcBef>
              <a:spcAft>
                <a:spcPct val="0"/>
              </a:spcAft>
              <a:defRPr/>
            </a:pPr>
            <a:endParaRPr lang="en-US" sz="1873">
              <a:solidFill>
                <a:srgbClr val="505050"/>
              </a:solidFill>
              <a:latin typeface="Segoe UI" charset="0"/>
              <a:ea typeface="ＭＳ Ｐゴシック" charset="0"/>
            </a:endParaRPr>
          </a:p>
        </p:txBody>
      </p:sp>
      <p:sp>
        <p:nvSpPr>
          <p:cNvPr id="15" name="Freeform 14"/>
          <p:cNvSpPr>
            <a:spLocks/>
          </p:cNvSpPr>
          <p:nvPr/>
        </p:nvSpPr>
        <p:spPr bwMode="auto">
          <a:xfrm>
            <a:off x="9154705" y="6202269"/>
            <a:ext cx="2202364" cy="449794"/>
          </a:xfrm>
          <a:custGeom>
            <a:avLst/>
            <a:gdLst>
              <a:gd name="T0" fmla="*/ 591 w 955"/>
              <a:gd name="T1" fmla="*/ 35 h 224"/>
              <a:gd name="T2" fmla="*/ 0 w 955"/>
              <a:gd name="T3" fmla="*/ 224 h 224"/>
              <a:gd name="T4" fmla="*/ 338 w 955"/>
              <a:gd name="T5" fmla="*/ 224 h 224"/>
              <a:gd name="T6" fmla="*/ 955 w 955"/>
              <a:gd name="T7" fmla="*/ 224 h 224"/>
              <a:gd name="T8" fmla="*/ 591 w 955"/>
              <a:gd name="T9" fmla="*/ 35 h 224"/>
            </a:gdLst>
            <a:ahLst/>
            <a:cxnLst>
              <a:cxn ang="0">
                <a:pos x="T0" y="T1"/>
              </a:cxn>
              <a:cxn ang="0">
                <a:pos x="T2" y="T3"/>
              </a:cxn>
              <a:cxn ang="0">
                <a:pos x="T4" y="T5"/>
              </a:cxn>
              <a:cxn ang="0">
                <a:pos x="T6" y="T7"/>
              </a:cxn>
              <a:cxn ang="0">
                <a:pos x="T8" y="T9"/>
              </a:cxn>
            </a:cxnLst>
            <a:rect l="0" t="0" r="r" b="b"/>
            <a:pathLst>
              <a:path w="955" h="224">
                <a:moveTo>
                  <a:pt x="591" y="35"/>
                </a:moveTo>
                <a:cubicBezTo>
                  <a:pt x="383" y="0"/>
                  <a:pt x="161" y="63"/>
                  <a:pt x="0" y="224"/>
                </a:cubicBezTo>
                <a:cubicBezTo>
                  <a:pt x="338" y="224"/>
                  <a:pt x="338" y="224"/>
                  <a:pt x="338" y="224"/>
                </a:cubicBezTo>
                <a:cubicBezTo>
                  <a:pt x="955" y="224"/>
                  <a:pt x="955" y="224"/>
                  <a:pt x="955" y="224"/>
                </a:cubicBezTo>
                <a:cubicBezTo>
                  <a:pt x="852" y="121"/>
                  <a:pt x="724" y="58"/>
                  <a:pt x="591" y="35"/>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91" tIns="47545" rIns="95091" bIns="4754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878" fontAlgn="base">
              <a:spcBef>
                <a:spcPct val="0"/>
              </a:spcBef>
              <a:spcAft>
                <a:spcPct val="0"/>
              </a:spcAft>
              <a:defRPr/>
            </a:pPr>
            <a:endParaRPr lang="en-US" sz="1873" dirty="0">
              <a:solidFill>
                <a:srgbClr val="505050"/>
              </a:solidFill>
              <a:latin typeface="Segoe UI" charset="0"/>
              <a:ea typeface="ＭＳ Ｐゴシック" charset="0"/>
            </a:endParaRPr>
          </a:p>
        </p:txBody>
      </p:sp>
      <p:pic>
        <p:nvPicPr>
          <p:cNvPr id="16" name="Picture 1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180350" y="4956053"/>
            <a:ext cx="1085274" cy="1390364"/>
          </a:xfrm>
          <a:prstGeom prst="rect">
            <a:avLst/>
          </a:prstGeom>
        </p:spPr>
      </p:pic>
      <p:grpSp>
        <p:nvGrpSpPr>
          <p:cNvPr id="18" name="Group 2"/>
          <p:cNvGrpSpPr/>
          <p:nvPr/>
        </p:nvGrpSpPr>
        <p:grpSpPr>
          <a:xfrm>
            <a:off x="6751680" y="6652105"/>
            <a:ext cx="5682327" cy="360943"/>
            <a:chOff x="5993465" y="4572002"/>
            <a:chExt cx="5684796" cy="1390336"/>
          </a:xfrm>
        </p:grpSpPr>
        <p:sp>
          <p:nvSpPr>
            <p:cNvPr id="20" name="TextBox 5"/>
            <p:cNvSpPr txBox="1"/>
            <p:nvPr/>
          </p:nvSpPr>
          <p:spPr>
            <a:xfrm>
              <a:off x="5993465" y="4572002"/>
              <a:ext cx="2896720" cy="1390014"/>
            </a:xfrm>
            <a:prstGeom prst="rect">
              <a:avLst/>
            </a:prstGeom>
            <a:solidFill>
              <a:srgbClr val="006256"/>
            </a:solidFill>
          </p:spPr>
          <p:txBody>
            <a:bodyPr wrap="square" lIns="466242" tIns="139873" rIns="372993" rtlCol="0">
              <a:noAutofit/>
            </a:bodyPr>
            <a:lstStyle/>
            <a:p>
              <a:pPr defTabSz="932044">
                <a:lnSpc>
                  <a:spcPts val="3000"/>
                </a:lnSpc>
                <a:defRPr/>
              </a:pPr>
              <a:endParaRPr lang="en-US" sz="2856" kern="0" dirty="0">
                <a:solidFill>
                  <a:srgbClr val="FFFFFF"/>
                </a:solidFill>
                <a:latin typeface="Segoe UI Light"/>
              </a:endParaRPr>
            </a:p>
          </p:txBody>
        </p:sp>
        <p:sp>
          <p:nvSpPr>
            <p:cNvPr id="21" name="TextBox 6"/>
            <p:cNvSpPr txBox="1"/>
            <p:nvPr/>
          </p:nvSpPr>
          <p:spPr>
            <a:xfrm>
              <a:off x="8890185" y="4572324"/>
              <a:ext cx="2788076" cy="1390014"/>
            </a:xfrm>
            <a:prstGeom prst="rect">
              <a:avLst/>
            </a:prstGeom>
            <a:solidFill>
              <a:srgbClr val="004139"/>
            </a:solidFill>
          </p:spPr>
          <p:txBody>
            <a:bodyPr wrap="square" lIns="466242" tIns="139873" rIns="652739" rtlCol="0">
              <a:noAutofit/>
            </a:bodyPr>
            <a:lstStyle/>
            <a:p>
              <a:pPr defTabSz="932044">
                <a:lnSpc>
                  <a:spcPts val="3000"/>
                </a:lnSpc>
                <a:defRPr/>
              </a:pPr>
              <a:endParaRPr lang="en-US" sz="2856" kern="0" dirty="0">
                <a:solidFill>
                  <a:srgbClr val="FFFFFF"/>
                </a:solidFill>
                <a:latin typeface="Segoe UI Light"/>
              </a:endParaRPr>
            </a:p>
          </p:txBody>
        </p:sp>
      </p:grpSp>
      <p:grpSp>
        <p:nvGrpSpPr>
          <p:cNvPr id="22" name="Group 21"/>
          <p:cNvGrpSpPr/>
          <p:nvPr/>
        </p:nvGrpSpPr>
        <p:grpSpPr>
          <a:xfrm>
            <a:off x="7550547" y="1038785"/>
            <a:ext cx="3336809" cy="2166994"/>
            <a:chOff x="4358971" y="1214997"/>
            <a:chExt cx="4306940" cy="2797019"/>
          </a:xfrm>
        </p:grpSpPr>
        <p:sp>
          <p:nvSpPr>
            <p:cNvPr id="23" name="Freeform 95"/>
            <p:cNvSpPr>
              <a:spLocks/>
            </p:cNvSpPr>
            <p:nvPr/>
          </p:nvSpPr>
          <p:spPr bwMode="auto">
            <a:xfrm flipH="1">
              <a:off x="4358971" y="1214997"/>
              <a:ext cx="4306940" cy="27970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14309">
                <a:defRPr/>
              </a:pPr>
              <a:endParaRPr lang="en-US" sz="1836" kern="0">
                <a:solidFill>
                  <a:srgbClr val="505050"/>
                </a:solidFill>
              </a:endParaRPr>
            </a:p>
          </p:txBody>
        </p:sp>
        <p:pic>
          <p:nvPicPr>
            <p:cNvPr id="24" name="Picture 2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983785" y="2011748"/>
              <a:ext cx="1022759" cy="1022758"/>
            </a:xfrm>
            <a:prstGeom prst="rect">
              <a:avLst/>
            </a:prstGeom>
          </p:spPr>
        </p:pic>
      </p:grpSp>
      <p:sp>
        <p:nvSpPr>
          <p:cNvPr id="25" name="Text Box 118"/>
          <p:cNvSpPr txBox="1"/>
          <p:nvPr/>
        </p:nvSpPr>
        <p:spPr>
          <a:xfrm>
            <a:off x="9381577" y="5091595"/>
            <a:ext cx="775057" cy="261388"/>
          </a:xfrm>
          <a:prstGeom prst="rect">
            <a:avLst/>
          </a:prstGeom>
          <a:solidFill>
            <a:srgbClr val="61A298"/>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defPPr>
              <a:defRPr lang="en-US"/>
            </a:defPPr>
            <a:lvl1pPr marR="0" lvl="0" indent="0" algn="ctr" defTabSz="914102" fontAlgn="base">
              <a:lnSpc>
                <a:spcPct val="100000"/>
              </a:lnSpc>
              <a:spcBef>
                <a:spcPct val="0"/>
              </a:spcBef>
              <a:spcAft>
                <a:spcPct val="0"/>
              </a:spcAft>
              <a:buClrTx/>
              <a:buSzTx/>
              <a:buFontTx/>
              <a:buNone/>
              <a:tabLst/>
              <a:defRPr kumimoji="0" b="0" i="0" u="none" strike="noStrike" kern="0" cap="none" spc="0" normalizeH="0" baseline="0">
                <a:ln>
                  <a:noFill/>
                </a:ln>
                <a:gradFill>
                  <a:gsLst>
                    <a:gs pos="0">
                      <a:srgbClr val="FFFFFF"/>
                    </a:gs>
                    <a:gs pos="100000">
                      <a:srgbClr val="FFFFFF"/>
                    </a:gs>
                  </a:gsLst>
                  <a:lin ang="5400000" scaled="0"/>
                </a:gradFill>
                <a:effectLst/>
                <a:uLnTx/>
                <a:uFillTx/>
                <a:latin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914011">
              <a:defRPr/>
            </a:pPr>
            <a:r>
              <a:rPr lang="en-US" sz="1224" dirty="0"/>
              <a:t>ADFS</a:t>
            </a:r>
          </a:p>
        </p:txBody>
      </p:sp>
      <p:sp>
        <p:nvSpPr>
          <p:cNvPr id="26" name="Up Arrow 25"/>
          <p:cNvSpPr/>
          <p:nvPr/>
        </p:nvSpPr>
        <p:spPr bwMode="auto">
          <a:xfrm>
            <a:off x="9301249" y="3169014"/>
            <a:ext cx="344679" cy="1944962"/>
          </a:xfrm>
          <a:prstGeom prst="upArrow">
            <a:avLst/>
          </a:prstGeom>
          <a:solidFill>
            <a:srgbClr val="61A29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Arrow Connector 26"/>
          <p:cNvCxnSpPr>
            <a:endCxn id="26" idx="0"/>
          </p:cNvCxnSpPr>
          <p:nvPr/>
        </p:nvCxnSpPr>
        <p:spPr>
          <a:xfrm flipV="1">
            <a:off x="9473587" y="3169015"/>
            <a:ext cx="0" cy="2183904"/>
          </a:xfrm>
          <a:prstGeom prst="straightConnector1">
            <a:avLst/>
          </a:prstGeom>
          <a:ln w="50800">
            <a:solidFill>
              <a:srgbClr val="426884"/>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27299" y="5452754"/>
            <a:ext cx="944999" cy="621711"/>
          </a:xfrm>
          <a:prstGeom prst="rect">
            <a:avLst/>
          </a:prstGeom>
        </p:spPr>
      </p:pic>
      <p:pic>
        <p:nvPicPr>
          <p:cNvPr id="29" name="Picture 28"/>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920627" y="2367076"/>
            <a:ext cx="862968" cy="1195678"/>
          </a:xfrm>
          <a:prstGeom prst="rect">
            <a:avLst/>
          </a:prstGeom>
        </p:spPr>
      </p:pic>
      <p:pic>
        <p:nvPicPr>
          <p:cNvPr id="30" name="Picture 2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722986" y="3450508"/>
            <a:ext cx="1523025" cy="1060371"/>
          </a:xfrm>
          <a:prstGeom prst="rect">
            <a:avLst/>
          </a:prstGeom>
        </p:spPr>
      </p:pic>
      <p:sp>
        <p:nvSpPr>
          <p:cNvPr id="31" name="Rectangle 30"/>
          <p:cNvSpPr/>
          <p:nvPr>
            <p:custDataLst>
              <p:tags r:id="rId1"/>
            </p:custDataLst>
          </p:nvPr>
        </p:nvSpPr>
        <p:spPr bwMode="auto">
          <a:xfrm>
            <a:off x="267926" y="2448451"/>
            <a:ext cx="6780766" cy="1129909"/>
          </a:xfrm>
          <a:prstGeom prst="rect">
            <a:avLst/>
          </a:prstGeom>
          <a:ln>
            <a:noFill/>
          </a:ln>
        </p:spPr>
        <p:txBody>
          <a:bodyPr vert="horz" wrap="square" lIns="186497" tIns="0" rIns="0" bIns="0" rtlCol="0">
            <a:spAutoFit/>
          </a:bodyPr>
          <a:lstStyle/>
          <a:p>
            <a:pPr defTabSz="932504">
              <a:defRPr/>
            </a:pPr>
            <a:r>
              <a:rPr lang="en-US" sz="1836" kern="0" dirty="0">
                <a:solidFill>
                  <a:schemeClr val="bg1"/>
                </a:solidFill>
                <a:ea typeface="Calibri" panose="020F0502020204030204" pitchFamily="34" charset="0"/>
              </a:rPr>
              <a:t>Monitor and gain insights into the identity infrastructure used to extend on-premises identities to Azure Active Directory and Office 365.</a:t>
            </a:r>
          </a:p>
          <a:p>
            <a:pPr defTabSz="932504">
              <a:defRPr/>
            </a:pPr>
            <a:endParaRPr lang="en-US" sz="1836" kern="0" dirty="0">
              <a:solidFill>
                <a:schemeClr val="bg1"/>
              </a:solidFill>
              <a:ea typeface="Calibri" panose="020F0502020204030204" pitchFamily="34" charset="0"/>
            </a:endParaRPr>
          </a:p>
        </p:txBody>
      </p:sp>
      <p:sp>
        <p:nvSpPr>
          <p:cNvPr id="32" name="Rectangle 31"/>
          <p:cNvSpPr/>
          <p:nvPr/>
        </p:nvSpPr>
        <p:spPr>
          <a:xfrm>
            <a:off x="709263" y="4514858"/>
            <a:ext cx="4236686" cy="738527"/>
          </a:xfrm>
          <a:prstGeom prst="rect">
            <a:avLst/>
          </a:prstGeom>
        </p:spPr>
        <p:txBody>
          <a:bodyPr wrap="square" lIns="182831" tIns="146264" rIns="182831" bIns="146264">
            <a:spAutoFit/>
          </a:bodyPr>
          <a:lstStyle/>
          <a:p>
            <a:pPr defTabSz="913832" fontAlgn="base">
              <a:lnSpc>
                <a:spcPct val="90000"/>
              </a:lnSpc>
              <a:spcBef>
                <a:spcPts val="600"/>
              </a:spcBef>
              <a:spcAft>
                <a:spcPct val="0"/>
              </a:spcAft>
              <a:defRPr/>
            </a:pPr>
            <a:r>
              <a:rPr lang="en-US" sz="1600" kern="0" dirty="0">
                <a:solidFill>
                  <a:schemeClr val="bg1"/>
                </a:solidFill>
              </a:rPr>
              <a:t>Active Directory Federation Server (ADFS) infrastructure health</a:t>
            </a:r>
          </a:p>
        </p:txBody>
      </p:sp>
      <p:sp>
        <p:nvSpPr>
          <p:cNvPr id="33" name="Rectangle 32"/>
          <p:cNvSpPr/>
          <p:nvPr/>
        </p:nvSpPr>
        <p:spPr>
          <a:xfrm>
            <a:off x="709262" y="5227693"/>
            <a:ext cx="4856862" cy="1661913"/>
          </a:xfrm>
          <a:prstGeom prst="rect">
            <a:avLst/>
          </a:prstGeom>
        </p:spPr>
        <p:txBody>
          <a:bodyPr wrap="square" lIns="182831" tIns="146264" rIns="182831" bIns="146264">
            <a:spAutoFit/>
          </a:bodyPr>
          <a:lstStyle/>
          <a:p>
            <a:pPr defTabSz="913832" fontAlgn="base">
              <a:lnSpc>
                <a:spcPct val="90000"/>
              </a:lnSpc>
              <a:spcBef>
                <a:spcPts val="600"/>
              </a:spcBef>
              <a:spcAft>
                <a:spcPct val="0"/>
              </a:spcAft>
              <a:defRPr/>
            </a:pPr>
            <a:r>
              <a:rPr lang="en-US" sz="1600" kern="0" dirty="0">
                <a:solidFill>
                  <a:schemeClr val="bg1"/>
                </a:solidFill>
              </a:rPr>
              <a:t>On-premises Active Directory Domain Services health</a:t>
            </a:r>
          </a:p>
          <a:p>
            <a:pPr defTabSz="913832" fontAlgn="base">
              <a:lnSpc>
                <a:spcPct val="90000"/>
              </a:lnSpc>
              <a:spcBef>
                <a:spcPts val="600"/>
              </a:spcBef>
              <a:spcAft>
                <a:spcPct val="0"/>
              </a:spcAft>
              <a:defRPr/>
            </a:pPr>
            <a:endParaRPr lang="en-US" sz="1600" kern="0" dirty="0">
              <a:solidFill>
                <a:schemeClr val="bg1"/>
              </a:solidFill>
            </a:endParaRPr>
          </a:p>
          <a:p>
            <a:pPr defTabSz="913832" fontAlgn="base">
              <a:lnSpc>
                <a:spcPct val="90000"/>
              </a:lnSpc>
              <a:spcBef>
                <a:spcPts val="600"/>
              </a:spcBef>
              <a:spcAft>
                <a:spcPct val="0"/>
              </a:spcAft>
              <a:defRPr/>
            </a:pPr>
            <a:r>
              <a:rPr lang="en-US" sz="1600" dirty="0">
                <a:solidFill>
                  <a:schemeClr val="bg1"/>
                </a:solidFill>
              </a:rPr>
              <a:t> aka.ms/azure/ConnectHealth </a:t>
            </a:r>
          </a:p>
          <a:p>
            <a:pPr defTabSz="913832" fontAlgn="base">
              <a:lnSpc>
                <a:spcPct val="90000"/>
              </a:lnSpc>
              <a:spcBef>
                <a:spcPts val="600"/>
              </a:spcBef>
              <a:spcAft>
                <a:spcPct val="0"/>
              </a:spcAft>
              <a:defRPr/>
            </a:pPr>
            <a:endParaRPr lang="en-US" sz="1600" kern="0" dirty="0">
              <a:solidFill>
                <a:schemeClr val="bg1"/>
              </a:solidFill>
            </a:endParaRPr>
          </a:p>
        </p:txBody>
      </p:sp>
      <p:sp>
        <p:nvSpPr>
          <p:cNvPr id="35" name="Rectangle 34"/>
          <p:cNvSpPr/>
          <p:nvPr/>
        </p:nvSpPr>
        <p:spPr>
          <a:xfrm>
            <a:off x="709263" y="3802023"/>
            <a:ext cx="4882296" cy="516956"/>
          </a:xfrm>
          <a:prstGeom prst="rect">
            <a:avLst/>
          </a:prstGeom>
        </p:spPr>
        <p:txBody>
          <a:bodyPr wrap="square" lIns="182831" tIns="146264" rIns="182831" bIns="146264">
            <a:spAutoFit/>
          </a:bodyPr>
          <a:lstStyle/>
          <a:p>
            <a:pPr defTabSz="913832" fontAlgn="base">
              <a:lnSpc>
                <a:spcPct val="90000"/>
              </a:lnSpc>
              <a:spcBef>
                <a:spcPts val="600"/>
              </a:spcBef>
              <a:spcAft>
                <a:spcPct val="0"/>
              </a:spcAft>
              <a:defRPr/>
            </a:pPr>
            <a:r>
              <a:rPr lang="en-US" sz="1600" kern="0" dirty="0">
                <a:solidFill>
                  <a:schemeClr val="bg1"/>
                </a:solidFill>
              </a:rPr>
              <a:t>The Azure AD Connect sync engine health</a:t>
            </a:r>
          </a:p>
        </p:txBody>
      </p:sp>
      <p:grpSp>
        <p:nvGrpSpPr>
          <p:cNvPr id="36" name="Group 35"/>
          <p:cNvGrpSpPr/>
          <p:nvPr/>
        </p:nvGrpSpPr>
        <p:grpSpPr>
          <a:xfrm>
            <a:off x="420405" y="3900131"/>
            <a:ext cx="288858" cy="288860"/>
            <a:chOff x="5372581" y="1617831"/>
            <a:chExt cx="498112" cy="498112"/>
          </a:xfrm>
          <a:solidFill>
            <a:schemeClr val="bg1"/>
          </a:solidFill>
        </p:grpSpPr>
        <p:sp>
          <p:nvSpPr>
            <p:cNvPr id="37" name="Oval 36"/>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algn="ctr" defTabSz="932021" fontAlgn="base">
                <a:spcBef>
                  <a:spcPct val="0"/>
                </a:spcBef>
                <a:spcAft>
                  <a:spcPct val="0"/>
                </a:spcAft>
                <a:defRPr/>
              </a:pPr>
              <a:endParaRPr lang="en-US" sz="2800" kern="0" dirty="0">
                <a:gradFill>
                  <a:gsLst>
                    <a:gs pos="0">
                      <a:srgbClr val="FFFFFF"/>
                    </a:gs>
                    <a:gs pos="100000">
                      <a:srgbClr val="FFFFFF"/>
                    </a:gs>
                  </a:gsLst>
                  <a:lin ang="5400000" scaled="0"/>
                </a:gradFill>
                <a:latin typeface="Segoe UI"/>
              </a:endParaRPr>
            </a:p>
          </p:txBody>
        </p:sp>
        <p:sp>
          <p:nvSpPr>
            <p:cNvPr id="38" name="Isosceles Triangle 37"/>
            <p:cNvSpPr/>
            <p:nvPr/>
          </p:nvSpPr>
          <p:spPr bwMode="auto">
            <a:xfrm rot="5400000">
              <a:off x="5559440" y="1802229"/>
              <a:ext cx="181888" cy="130330"/>
            </a:xfrm>
            <a:prstGeom prst="triangl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800" b="1" kern="0" dirty="0">
                <a:solidFill>
                  <a:srgbClr val="FFFFFF"/>
                </a:solidFill>
                <a:latin typeface="Segoe UI Light"/>
                <a:ea typeface="Segoe UI" pitchFamily="34" charset="0"/>
                <a:cs typeface="Segoe UI" pitchFamily="34" charset="0"/>
              </a:endParaRPr>
            </a:p>
          </p:txBody>
        </p:sp>
      </p:grpSp>
      <p:grpSp>
        <p:nvGrpSpPr>
          <p:cNvPr id="39" name="Group 38"/>
          <p:cNvGrpSpPr/>
          <p:nvPr/>
        </p:nvGrpSpPr>
        <p:grpSpPr>
          <a:xfrm>
            <a:off x="420405" y="5307104"/>
            <a:ext cx="288858" cy="288860"/>
            <a:chOff x="5372581" y="1617831"/>
            <a:chExt cx="498112" cy="498112"/>
          </a:xfrm>
          <a:solidFill>
            <a:schemeClr val="bg1"/>
          </a:solidFill>
        </p:grpSpPr>
        <p:sp>
          <p:nvSpPr>
            <p:cNvPr id="40" name="Oval 39"/>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algn="ctr" defTabSz="932021" fontAlgn="base">
                <a:spcBef>
                  <a:spcPct val="0"/>
                </a:spcBef>
                <a:spcAft>
                  <a:spcPct val="0"/>
                </a:spcAft>
                <a:defRPr/>
              </a:pPr>
              <a:endParaRPr lang="en-US" sz="2800" kern="0" dirty="0">
                <a:gradFill>
                  <a:gsLst>
                    <a:gs pos="0">
                      <a:srgbClr val="FFFFFF"/>
                    </a:gs>
                    <a:gs pos="100000">
                      <a:srgbClr val="FFFFFF"/>
                    </a:gs>
                  </a:gsLst>
                  <a:lin ang="5400000" scaled="0"/>
                </a:gradFill>
                <a:latin typeface="Segoe UI"/>
              </a:endParaRPr>
            </a:p>
          </p:txBody>
        </p:sp>
        <p:sp>
          <p:nvSpPr>
            <p:cNvPr id="41" name="Isosceles Triangle 42"/>
            <p:cNvSpPr/>
            <p:nvPr/>
          </p:nvSpPr>
          <p:spPr bwMode="auto">
            <a:xfrm rot="5400000">
              <a:off x="5559440" y="1802229"/>
              <a:ext cx="181888" cy="130330"/>
            </a:xfrm>
            <a:prstGeom prst="triangl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800" b="1" kern="0" dirty="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420405" y="4603617"/>
            <a:ext cx="288858" cy="288860"/>
            <a:chOff x="5372581" y="1617831"/>
            <a:chExt cx="498112" cy="498112"/>
          </a:xfrm>
          <a:solidFill>
            <a:schemeClr val="bg1"/>
          </a:solidFill>
        </p:grpSpPr>
        <p:sp>
          <p:nvSpPr>
            <p:cNvPr id="43" name="Oval 42"/>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algn="ctr" defTabSz="932021" fontAlgn="base">
                <a:spcBef>
                  <a:spcPct val="0"/>
                </a:spcBef>
                <a:spcAft>
                  <a:spcPct val="0"/>
                </a:spcAft>
                <a:defRPr/>
              </a:pPr>
              <a:endParaRPr lang="en-US" sz="2800" kern="0" dirty="0">
                <a:gradFill>
                  <a:gsLst>
                    <a:gs pos="0">
                      <a:srgbClr val="FFFFFF"/>
                    </a:gs>
                    <a:gs pos="100000">
                      <a:srgbClr val="FFFFFF"/>
                    </a:gs>
                  </a:gsLst>
                  <a:lin ang="5400000" scaled="0"/>
                </a:gradFill>
                <a:latin typeface="Segoe UI"/>
              </a:endParaRPr>
            </a:p>
          </p:txBody>
        </p:sp>
        <p:sp>
          <p:nvSpPr>
            <p:cNvPr id="44" name="Isosceles Triangle 42"/>
            <p:cNvSpPr/>
            <p:nvPr/>
          </p:nvSpPr>
          <p:spPr bwMode="auto">
            <a:xfrm rot="5400000">
              <a:off x="5559440" y="1802229"/>
              <a:ext cx="181888" cy="130330"/>
            </a:xfrm>
            <a:prstGeom prst="triangl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800" b="1"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7154205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2">
            <a:extLst>
              <a:ext uri="{FF2B5EF4-FFF2-40B4-BE49-F238E27FC236}">
                <a16:creationId xmlns:a16="http://schemas.microsoft.com/office/drawing/2014/main" id="{43276C70-5849-40CC-8AAC-5570BF4AA896}"/>
              </a:ext>
            </a:extLst>
          </p:cNvPr>
          <p:cNvSpPr>
            <a:spLocks noGrp="1"/>
          </p:cNvSpPr>
          <p:nvPr>
            <p:ph type="body" sz="quarter" idx="10"/>
          </p:nvPr>
        </p:nvSpPr>
        <p:spPr>
          <a:xfrm>
            <a:off x="366168" y="1212851"/>
            <a:ext cx="11702553" cy="5152180"/>
          </a:xfrm>
        </p:spPr>
        <p:txBody>
          <a:bodyPr/>
          <a:lstStyle/>
          <a:p>
            <a:pPr marL="0" indent="0">
              <a:buNone/>
            </a:pPr>
            <a:r>
              <a:rPr lang="en-US" dirty="0"/>
              <a:t>Configure both sync and sign-on</a:t>
            </a:r>
          </a:p>
          <a:p>
            <a:pPr marL="0" indent="0">
              <a:buNone/>
            </a:pPr>
            <a:r>
              <a:rPr lang="en-US" dirty="0"/>
              <a:t>Supports any LDAP v3 directory</a:t>
            </a:r>
          </a:p>
          <a:p>
            <a:pPr marL="273089" lvl="1" indent="0">
              <a:buNone/>
            </a:pPr>
            <a:r>
              <a:rPr lang="en-US" dirty="0"/>
              <a:t>Un-trusted forests</a:t>
            </a:r>
          </a:p>
          <a:p>
            <a:pPr marL="273089" lvl="1" indent="0">
              <a:buNone/>
            </a:pPr>
            <a:r>
              <a:rPr lang="en-US" dirty="0"/>
              <a:t>DMZ forests</a:t>
            </a:r>
          </a:p>
          <a:p>
            <a:pPr marL="273089" lvl="1" indent="0">
              <a:buNone/>
            </a:pPr>
            <a:r>
              <a:rPr lang="en-US" dirty="0"/>
              <a:t>3</a:t>
            </a:r>
            <a:r>
              <a:rPr lang="en-US" baseline="30000" dirty="0"/>
              <a:t>rd</a:t>
            </a:r>
            <a:r>
              <a:rPr lang="en-US" dirty="0"/>
              <a:t> party directories</a:t>
            </a:r>
          </a:p>
          <a:p>
            <a:pPr marL="273089" lvl="1" indent="0">
              <a:buNone/>
            </a:pPr>
            <a:r>
              <a:rPr lang="en-US" dirty="0"/>
              <a:t>Can support multiple LDAP directories</a:t>
            </a:r>
          </a:p>
          <a:p>
            <a:pPr marL="0" indent="0">
              <a:buNone/>
            </a:pPr>
            <a:r>
              <a:rPr lang="en-US" dirty="0"/>
              <a:t>Available today</a:t>
            </a:r>
          </a:p>
          <a:p>
            <a:pPr marL="273089" lvl="1" indent="0">
              <a:buNone/>
            </a:pPr>
            <a:r>
              <a:rPr lang="en-US" dirty="0"/>
              <a:t>Windows Server 2016</a:t>
            </a:r>
          </a:p>
          <a:p>
            <a:pPr marL="273089" lvl="1" indent="0">
              <a:buNone/>
            </a:pPr>
            <a:r>
              <a:rPr lang="en-US" dirty="0">
                <a:hlinkClick r:id="rId3"/>
              </a:rPr>
              <a:t>Configure ADFS for LDAP</a:t>
            </a:r>
            <a:endParaRPr lang="en-US" dirty="0"/>
          </a:p>
          <a:p>
            <a:pPr marL="0" indent="0">
              <a:buNone/>
            </a:pPr>
            <a:endParaRPr lang="en-US" dirty="0"/>
          </a:p>
          <a:p>
            <a:endParaRPr lang="en-US" dirty="0"/>
          </a:p>
        </p:txBody>
      </p:sp>
      <p:sp>
        <p:nvSpPr>
          <p:cNvPr id="77" name="Title 1">
            <a:extLst>
              <a:ext uri="{FF2B5EF4-FFF2-40B4-BE49-F238E27FC236}">
                <a16:creationId xmlns:a16="http://schemas.microsoft.com/office/drawing/2014/main" id="{E1E75101-5119-40CC-8FA7-179A89C7E4EB}"/>
              </a:ext>
            </a:extLst>
          </p:cNvPr>
          <p:cNvSpPr>
            <a:spLocks noGrp="1"/>
          </p:cNvSpPr>
          <p:nvPr>
            <p:ph type="title"/>
          </p:nvPr>
        </p:nvSpPr>
        <p:spPr/>
        <p:txBody>
          <a:bodyPr/>
          <a:lstStyle/>
          <a:p>
            <a:r>
              <a:rPr lang="en-US" dirty="0"/>
              <a:t>Use identities from an LDAP directory</a:t>
            </a:r>
          </a:p>
        </p:txBody>
      </p:sp>
      <p:grpSp>
        <p:nvGrpSpPr>
          <p:cNvPr id="4" name="Group 3">
            <a:extLst>
              <a:ext uri="{FF2B5EF4-FFF2-40B4-BE49-F238E27FC236}">
                <a16:creationId xmlns:a16="http://schemas.microsoft.com/office/drawing/2014/main" id="{4ECE75C2-D197-4232-A294-1E43FFB6AB39}"/>
              </a:ext>
            </a:extLst>
          </p:cNvPr>
          <p:cNvGrpSpPr/>
          <p:nvPr/>
        </p:nvGrpSpPr>
        <p:grpSpPr>
          <a:xfrm>
            <a:off x="8503444" y="4389240"/>
            <a:ext cx="1095375" cy="1172241"/>
            <a:chOff x="10409237" y="4737104"/>
            <a:chExt cx="674077" cy="858161"/>
          </a:xfrm>
        </p:grpSpPr>
        <p:sp>
          <p:nvSpPr>
            <p:cNvPr id="5" name="Freeform 836">
              <a:extLst>
                <a:ext uri="{FF2B5EF4-FFF2-40B4-BE49-F238E27FC236}">
                  <a16:creationId xmlns:a16="http://schemas.microsoft.com/office/drawing/2014/main" id="{2CCBBEA4-6058-40CA-85E9-9AB6D1AD2E57}"/>
                </a:ext>
              </a:extLst>
            </p:cNvPr>
            <p:cNvSpPr>
              <a:spLocks noEditPoints="1"/>
            </p:cNvSpPr>
            <p:nvPr/>
          </p:nvSpPr>
          <p:spPr bwMode="auto">
            <a:xfrm>
              <a:off x="10409237" y="4832795"/>
              <a:ext cx="310576" cy="496181"/>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51304">
                <a:defRPr/>
              </a:pPr>
              <a:endParaRPr lang="en-GB" sz="1836" kern="0">
                <a:solidFill>
                  <a:srgbClr val="505050"/>
                </a:solidFill>
                <a:ea typeface="ＭＳ Ｐゴシック" charset="0"/>
              </a:endParaRPr>
            </a:p>
          </p:txBody>
        </p:sp>
        <p:sp>
          <p:nvSpPr>
            <p:cNvPr id="6" name="Freeform 836">
              <a:extLst>
                <a:ext uri="{FF2B5EF4-FFF2-40B4-BE49-F238E27FC236}">
                  <a16:creationId xmlns:a16="http://schemas.microsoft.com/office/drawing/2014/main" id="{ED916906-B22D-436F-9CB7-8AE665170E9D}"/>
                </a:ext>
              </a:extLst>
            </p:cNvPr>
            <p:cNvSpPr>
              <a:spLocks noEditPoints="1"/>
            </p:cNvSpPr>
            <p:nvPr/>
          </p:nvSpPr>
          <p:spPr bwMode="auto">
            <a:xfrm>
              <a:off x="10553747" y="4737104"/>
              <a:ext cx="310576" cy="496181"/>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51304">
                <a:defRPr/>
              </a:pPr>
              <a:endParaRPr lang="en-GB" sz="1836" kern="0">
                <a:solidFill>
                  <a:srgbClr val="505050"/>
                </a:solidFill>
                <a:ea typeface="ＭＳ Ｐゴシック" charset="0"/>
              </a:endParaRPr>
            </a:p>
          </p:txBody>
        </p:sp>
        <p:sp>
          <p:nvSpPr>
            <p:cNvPr id="7" name="TextBox 6">
              <a:extLst>
                <a:ext uri="{FF2B5EF4-FFF2-40B4-BE49-F238E27FC236}">
                  <a16:creationId xmlns:a16="http://schemas.microsoft.com/office/drawing/2014/main" id="{782A64FE-FC2D-4975-9B91-3157100B9BFD}"/>
                </a:ext>
              </a:extLst>
            </p:cNvPr>
            <p:cNvSpPr txBox="1"/>
            <p:nvPr/>
          </p:nvSpPr>
          <p:spPr>
            <a:xfrm>
              <a:off x="10473714" y="5287712"/>
              <a:ext cx="609600" cy="307553"/>
            </a:xfrm>
            <a:prstGeom prst="rect">
              <a:avLst/>
            </a:prstGeom>
            <a:noFill/>
          </p:spPr>
          <p:txBody>
            <a:bodyPr wrap="square" lIns="182880" tIns="146304" rIns="182880" bIns="146304" rtlCol="0">
              <a:spAutoFit/>
            </a:bodyPr>
            <a:lstStyle/>
            <a:p>
              <a:pPr>
                <a:lnSpc>
                  <a:spcPct val="90000"/>
                </a:lnSpc>
                <a:spcAft>
                  <a:spcPts val="600"/>
                </a:spcAft>
              </a:pPr>
              <a:r>
                <a:rPr lang="en-US" sz="900" dirty="0">
                  <a:gradFill>
                    <a:gsLst>
                      <a:gs pos="2917">
                        <a:srgbClr val="FFFFFF"/>
                      </a:gs>
                      <a:gs pos="30000">
                        <a:srgbClr val="FFFFFF"/>
                      </a:gs>
                    </a:gsLst>
                    <a:lin ang="5400000" scaled="0"/>
                  </a:gradFill>
                </a:rPr>
                <a:t>ADFS</a:t>
              </a:r>
            </a:p>
          </p:txBody>
        </p:sp>
      </p:grpSp>
      <p:grpSp>
        <p:nvGrpSpPr>
          <p:cNvPr id="8" name="Group 7">
            <a:extLst>
              <a:ext uri="{FF2B5EF4-FFF2-40B4-BE49-F238E27FC236}">
                <a16:creationId xmlns:a16="http://schemas.microsoft.com/office/drawing/2014/main" id="{3715D20D-277F-4118-9FC0-5839A2A91BC2}"/>
              </a:ext>
            </a:extLst>
          </p:cNvPr>
          <p:cNvGrpSpPr/>
          <p:nvPr/>
        </p:nvGrpSpPr>
        <p:grpSpPr>
          <a:xfrm>
            <a:off x="9598821" y="5999074"/>
            <a:ext cx="990600" cy="946229"/>
            <a:chOff x="10126331" y="5837972"/>
            <a:chExt cx="741644" cy="723888"/>
          </a:xfrm>
        </p:grpSpPr>
        <p:pic>
          <p:nvPicPr>
            <p:cNvPr id="9" name="Picture 8">
              <a:extLst>
                <a:ext uri="{FF2B5EF4-FFF2-40B4-BE49-F238E27FC236}">
                  <a16:creationId xmlns:a16="http://schemas.microsoft.com/office/drawing/2014/main" id="{027F9449-4B8C-43E0-9672-EF27D297F74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26331" y="5837972"/>
              <a:ext cx="710971" cy="470444"/>
            </a:xfrm>
            <a:prstGeom prst="rect">
              <a:avLst/>
            </a:prstGeom>
          </p:spPr>
        </p:pic>
        <p:sp>
          <p:nvSpPr>
            <p:cNvPr id="10" name="TextBox 9">
              <a:extLst>
                <a:ext uri="{FF2B5EF4-FFF2-40B4-BE49-F238E27FC236}">
                  <a16:creationId xmlns:a16="http://schemas.microsoft.com/office/drawing/2014/main" id="{33CA4471-859A-4EFE-9C9C-614C86EC36CF}"/>
                </a:ext>
              </a:extLst>
            </p:cNvPr>
            <p:cNvSpPr txBox="1"/>
            <p:nvPr/>
          </p:nvSpPr>
          <p:spPr>
            <a:xfrm>
              <a:off x="10168313" y="6240462"/>
              <a:ext cx="699662" cy="321398"/>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schemeClr val="tx1">
                      <a:lumMod val="50000"/>
                    </a:schemeClr>
                  </a:solidFill>
                </a:rPr>
                <a:t>ADDS</a:t>
              </a:r>
              <a:endParaRPr lang="en-US" sz="800" dirty="0">
                <a:solidFill>
                  <a:schemeClr val="tx1">
                    <a:lumMod val="50000"/>
                  </a:schemeClr>
                </a:solidFill>
              </a:endParaRPr>
            </a:p>
          </p:txBody>
        </p:sp>
      </p:grpSp>
      <p:grpSp>
        <p:nvGrpSpPr>
          <p:cNvPr id="11" name="Group 10">
            <a:extLst>
              <a:ext uri="{FF2B5EF4-FFF2-40B4-BE49-F238E27FC236}">
                <a16:creationId xmlns:a16="http://schemas.microsoft.com/office/drawing/2014/main" id="{10DDC3D7-E018-4B74-BAC2-F504120F9874}"/>
              </a:ext>
            </a:extLst>
          </p:cNvPr>
          <p:cNvGrpSpPr/>
          <p:nvPr/>
        </p:nvGrpSpPr>
        <p:grpSpPr>
          <a:xfrm>
            <a:off x="7389021" y="5805456"/>
            <a:ext cx="1151860" cy="1215544"/>
            <a:chOff x="9864863" y="5434938"/>
            <a:chExt cx="999460" cy="1083648"/>
          </a:xfrm>
        </p:grpSpPr>
        <p:pic>
          <p:nvPicPr>
            <p:cNvPr id="12" name="Picture 11">
              <a:extLst>
                <a:ext uri="{FF2B5EF4-FFF2-40B4-BE49-F238E27FC236}">
                  <a16:creationId xmlns:a16="http://schemas.microsoft.com/office/drawing/2014/main" id="{F963ECF7-428D-4773-BFD6-A5553DB6B0C5}"/>
                </a:ext>
              </a:extLst>
            </p:cNvPr>
            <p:cNvPicPr>
              <a:picLocks noChangeAspect="1"/>
            </p:cNvPicPr>
            <p:nvPr/>
          </p:nvPicPr>
          <p:blipFill>
            <a:blip r:embed="rId5"/>
            <a:stretch>
              <a:fillRect/>
            </a:stretch>
          </p:blipFill>
          <p:spPr>
            <a:xfrm>
              <a:off x="9908836" y="5434938"/>
              <a:ext cx="366507" cy="513929"/>
            </a:xfrm>
            <a:prstGeom prst="rect">
              <a:avLst/>
            </a:prstGeom>
          </p:spPr>
        </p:pic>
        <p:pic>
          <p:nvPicPr>
            <p:cNvPr id="13" name="Picture 12">
              <a:extLst>
                <a:ext uri="{FF2B5EF4-FFF2-40B4-BE49-F238E27FC236}">
                  <a16:creationId xmlns:a16="http://schemas.microsoft.com/office/drawing/2014/main" id="{B000BE40-9A05-44DD-8FEE-35027CE9E9B8}"/>
                </a:ext>
              </a:extLst>
            </p:cNvPr>
            <p:cNvPicPr>
              <a:picLocks noChangeAspect="1"/>
            </p:cNvPicPr>
            <p:nvPr/>
          </p:nvPicPr>
          <p:blipFill>
            <a:blip r:embed="rId5"/>
            <a:stretch>
              <a:fillRect/>
            </a:stretch>
          </p:blipFill>
          <p:spPr>
            <a:xfrm>
              <a:off x="10090394" y="5537060"/>
              <a:ext cx="366507" cy="513929"/>
            </a:xfrm>
            <a:prstGeom prst="rect">
              <a:avLst/>
            </a:prstGeom>
          </p:spPr>
        </p:pic>
        <p:sp>
          <p:nvSpPr>
            <p:cNvPr id="14" name="TextBox 13">
              <a:extLst>
                <a:ext uri="{FF2B5EF4-FFF2-40B4-BE49-F238E27FC236}">
                  <a16:creationId xmlns:a16="http://schemas.microsoft.com/office/drawing/2014/main" id="{FF2DCF28-2928-48C1-9D46-313C0D09D0E6}"/>
                </a:ext>
              </a:extLst>
            </p:cNvPr>
            <p:cNvSpPr txBox="1"/>
            <p:nvPr/>
          </p:nvSpPr>
          <p:spPr>
            <a:xfrm>
              <a:off x="9864863" y="6032932"/>
              <a:ext cx="999460" cy="485654"/>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schemeClr val="tx1">
                      <a:lumMod val="50000"/>
                    </a:schemeClr>
                  </a:solidFill>
                </a:rPr>
                <a:t>LDAP Directories</a:t>
              </a:r>
            </a:p>
          </p:txBody>
        </p:sp>
      </p:grpSp>
      <p:cxnSp>
        <p:nvCxnSpPr>
          <p:cNvPr id="15" name="Straight Arrow Connector 14">
            <a:extLst>
              <a:ext uri="{FF2B5EF4-FFF2-40B4-BE49-F238E27FC236}">
                <a16:creationId xmlns:a16="http://schemas.microsoft.com/office/drawing/2014/main" id="{0A79FD59-5335-4EB4-9937-31A4EA94DC00}"/>
              </a:ext>
            </a:extLst>
          </p:cNvPr>
          <p:cNvCxnSpPr>
            <a:stCxn id="7" idx="1"/>
          </p:cNvCxnSpPr>
          <p:nvPr/>
        </p:nvCxnSpPr>
        <p:spPr>
          <a:xfrm flipH="1">
            <a:off x="8071335" y="5351424"/>
            <a:ext cx="536884" cy="5685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58D899B7-63DE-47D4-99C1-20EE2980D7EC}"/>
              </a:ext>
            </a:extLst>
          </p:cNvPr>
          <p:cNvCxnSpPr/>
          <p:nvPr/>
        </p:nvCxnSpPr>
        <p:spPr>
          <a:xfrm>
            <a:off x="9242959" y="5351423"/>
            <a:ext cx="584462" cy="74227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123445C-04A3-4DBD-AF19-F00ADE739387}"/>
              </a:ext>
            </a:extLst>
          </p:cNvPr>
          <p:cNvCxnSpPr>
            <a:cxnSpLocks/>
          </p:cNvCxnSpPr>
          <p:nvPr/>
        </p:nvCxnSpPr>
        <p:spPr>
          <a:xfrm flipH="1" flipV="1">
            <a:off x="7970044" y="3878262"/>
            <a:ext cx="710417" cy="49901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EBDBB54-126E-4E36-9F7F-E764A0C32111}"/>
              </a:ext>
            </a:extLst>
          </p:cNvPr>
          <p:cNvCxnSpPr/>
          <p:nvPr/>
        </p:nvCxnSpPr>
        <p:spPr>
          <a:xfrm>
            <a:off x="9195404" y="3093839"/>
            <a:ext cx="27966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81F025A9-4C13-4BB3-8EB0-8567BEE0FE67}"/>
              </a:ext>
            </a:extLst>
          </p:cNvPr>
          <p:cNvGrpSpPr/>
          <p:nvPr/>
        </p:nvGrpSpPr>
        <p:grpSpPr>
          <a:xfrm>
            <a:off x="8344635" y="2361359"/>
            <a:ext cx="990600" cy="1027230"/>
            <a:chOff x="9231251" y="1316982"/>
            <a:chExt cx="990600" cy="1027230"/>
          </a:xfrm>
          <a:solidFill>
            <a:srgbClr val="92D050"/>
          </a:solidFill>
        </p:grpSpPr>
        <p:grpSp>
          <p:nvGrpSpPr>
            <p:cNvPr id="20" name="Group 4">
              <a:extLst>
                <a:ext uri="{FF2B5EF4-FFF2-40B4-BE49-F238E27FC236}">
                  <a16:creationId xmlns:a16="http://schemas.microsoft.com/office/drawing/2014/main" id="{40EC3A8F-4629-4763-93AA-81F05B29C848}"/>
                </a:ext>
              </a:extLst>
            </p:cNvPr>
            <p:cNvGrpSpPr>
              <a:grpSpLocks noChangeAspect="1"/>
            </p:cNvGrpSpPr>
            <p:nvPr/>
          </p:nvGrpSpPr>
          <p:grpSpPr bwMode="auto">
            <a:xfrm>
              <a:off x="9329196" y="1687440"/>
              <a:ext cx="660939" cy="656772"/>
              <a:chOff x="3125" y="1415"/>
              <a:chExt cx="1586" cy="1576"/>
            </a:xfrm>
            <a:grpFill/>
          </p:grpSpPr>
          <p:sp>
            <p:nvSpPr>
              <p:cNvPr id="22" name="Freeform 5">
                <a:extLst>
                  <a:ext uri="{FF2B5EF4-FFF2-40B4-BE49-F238E27FC236}">
                    <a16:creationId xmlns:a16="http://schemas.microsoft.com/office/drawing/2014/main" id="{FFEDA702-CDC0-4B99-842C-96E22747FF6B}"/>
                  </a:ext>
                </a:extLst>
              </p:cNvPr>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1863" fontAlgn="base">
                  <a:spcBef>
                    <a:spcPct val="0"/>
                  </a:spcBef>
                  <a:spcAft>
                    <a:spcPct val="0"/>
                  </a:spcAft>
                </a:pPr>
                <a:endParaRPr lang="en-US">
                  <a:solidFill>
                    <a:srgbClr val="FFFFFF"/>
                  </a:solidFill>
                  <a:ea typeface="ＭＳ Ｐゴシック" charset="0"/>
                </a:endParaRPr>
              </a:p>
            </p:txBody>
          </p:sp>
          <p:sp>
            <p:nvSpPr>
              <p:cNvPr id="23" name="Freeform 6">
                <a:extLst>
                  <a:ext uri="{FF2B5EF4-FFF2-40B4-BE49-F238E27FC236}">
                    <a16:creationId xmlns:a16="http://schemas.microsoft.com/office/drawing/2014/main" id="{E4B937C5-CDE3-41E9-892A-DA42248160B9}"/>
                  </a:ext>
                </a:extLst>
              </p:cNvPr>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1863" fontAlgn="base">
                  <a:spcBef>
                    <a:spcPct val="0"/>
                  </a:spcBef>
                  <a:spcAft>
                    <a:spcPct val="0"/>
                  </a:spcAft>
                </a:pPr>
                <a:endParaRPr lang="en-US">
                  <a:solidFill>
                    <a:srgbClr val="FFFFFF"/>
                  </a:solidFill>
                  <a:ea typeface="ＭＳ Ｐゴシック" charset="0"/>
                </a:endParaRPr>
              </a:p>
            </p:txBody>
          </p:sp>
          <p:sp>
            <p:nvSpPr>
              <p:cNvPr id="24" name="Freeform 7">
                <a:extLst>
                  <a:ext uri="{FF2B5EF4-FFF2-40B4-BE49-F238E27FC236}">
                    <a16:creationId xmlns:a16="http://schemas.microsoft.com/office/drawing/2014/main" id="{9505B798-165C-4402-A0D7-F6C22B437B3F}"/>
                  </a:ext>
                </a:extLst>
              </p:cNvPr>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1863" fontAlgn="base">
                  <a:spcBef>
                    <a:spcPct val="0"/>
                  </a:spcBef>
                  <a:spcAft>
                    <a:spcPct val="0"/>
                  </a:spcAft>
                </a:pPr>
                <a:endParaRPr lang="en-US">
                  <a:solidFill>
                    <a:srgbClr val="FFFFFF"/>
                  </a:solidFill>
                  <a:ea typeface="ＭＳ Ｐゴシック" charset="0"/>
                </a:endParaRPr>
              </a:p>
            </p:txBody>
          </p:sp>
        </p:grpSp>
        <p:sp>
          <p:nvSpPr>
            <p:cNvPr id="21" name="TextBox 20">
              <a:extLst>
                <a:ext uri="{FF2B5EF4-FFF2-40B4-BE49-F238E27FC236}">
                  <a16:creationId xmlns:a16="http://schemas.microsoft.com/office/drawing/2014/main" id="{F107478D-39E3-4032-A6D7-936A970C7A3C}"/>
                </a:ext>
              </a:extLst>
            </p:cNvPr>
            <p:cNvSpPr txBox="1"/>
            <p:nvPr/>
          </p:nvSpPr>
          <p:spPr>
            <a:xfrm>
              <a:off x="9231251" y="1316982"/>
              <a:ext cx="990600"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schemeClr val="tx1">
                      <a:lumMod val="50000"/>
                    </a:schemeClr>
                  </a:solidFill>
                </a:rPr>
                <a:t>Azure AD</a:t>
              </a:r>
            </a:p>
          </p:txBody>
        </p:sp>
      </p:grpSp>
      <p:grpSp>
        <p:nvGrpSpPr>
          <p:cNvPr id="25" name="Group 24">
            <a:extLst>
              <a:ext uri="{FF2B5EF4-FFF2-40B4-BE49-F238E27FC236}">
                <a16:creationId xmlns:a16="http://schemas.microsoft.com/office/drawing/2014/main" id="{CDCCB123-C388-4956-9280-F9C5B18362FC}"/>
              </a:ext>
            </a:extLst>
          </p:cNvPr>
          <p:cNvGrpSpPr/>
          <p:nvPr/>
        </p:nvGrpSpPr>
        <p:grpSpPr>
          <a:xfrm>
            <a:off x="6063251" y="4253701"/>
            <a:ext cx="1486192" cy="1014070"/>
            <a:chOff x="9521740" y="1887431"/>
            <a:chExt cx="2313049" cy="1597107"/>
          </a:xfrm>
        </p:grpSpPr>
        <p:grpSp>
          <p:nvGrpSpPr>
            <p:cNvPr id="26" name="Group 25">
              <a:extLst>
                <a:ext uri="{FF2B5EF4-FFF2-40B4-BE49-F238E27FC236}">
                  <a16:creationId xmlns:a16="http://schemas.microsoft.com/office/drawing/2014/main" id="{DB8B5863-FC10-421D-BC81-68092B7B6919}"/>
                </a:ext>
              </a:extLst>
            </p:cNvPr>
            <p:cNvGrpSpPr/>
            <p:nvPr/>
          </p:nvGrpSpPr>
          <p:grpSpPr>
            <a:xfrm>
              <a:off x="9521740" y="3041563"/>
              <a:ext cx="652316" cy="406532"/>
              <a:chOff x="5556947" y="2637516"/>
              <a:chExt cx="869608" cy="541950"/>
            </a:xfrm>
          </p:grpSpPr>
          <p:grpSp>
            <p:nvGrpSpPr>
              <p:cNvPr id="74" name="Group 115">
                <a:extLst>
                  <a:ext uri="{FF2B5EF4-FFF2-40B4-BE49-F238E27FC236}">
                    <a16:creationId xmlns:a16="http://schemas.microsoft.com/office/drawing/2014/main" id="{8F6F931C-77B8-48A3-9B2B-6DBFD800F879}"/>
                  </a:ext>
                </a:extLst>
              </p:cNvPr>
              <p:cNvGrpSpPr>
                <a:grpSpLocks/>
              </p:cNvGrpSpPr>
              <p:nvPr/>
            </p:nvGrpSpPr>
            <p:grpSpPr bwMode="auto">
              <a:xfrm>
                <a:off x="5556947" y="2637516"/>
                <a:ext cx="869608" cy="541950"/>
                <a:chOff x="5437366" y="1237061"/>
                <a:chExt cx="4432300" cy="2764080"/>
              </a:xfrm>
            </p:grpSpPr>
            <p:sp>
              <p:nvSpPr>
                <p:cNvPr id="76" name="Rectangle 75">
                  <a:extLst>
                    <a:ext uri="{FF2B5EF4-FFF2-40B4-BE49-F238E27FC236}">
                      <a16:creationId xmlns:a16="http://schemas.microsoft.com/office/drawing/2014/main" id="{83C1CD34-CD23-48C4-AE2D-E8018F64EBC2}"/>
                    </a:ext>
                  </a:extLst>
                </p:cNvPr>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79" name="Oval 78">
                  <a:extLst>
                    <a:ext uri="{FF2B5EF4-FFF2-40B4-BE49-F238E27FC236}">
                      <a16:creationId xmlns:a16="http://schemas.microsoft.com/office/drawing/2014/main" id="{AC2B519F-5484-4E2C-A3C7-74D0F5673187}"/>
                    </a:ext>
                  </a:extLst>
                </p:cNvPr>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80" name="Rectangle 79">
                  <a:extLst>
                    <a:ext uri="{FF2B5EF4-FFF2-40B4-BE49-F238E27FC236}">
                      <a16:creationId xmlns:a16="http://schemas.microsoft.com/office/drawing/2014/main" id="{2925DBE1-7CD3-4E2B-B927-A5764B2CD7B2}"/>
                    </a:ext>
                  </a:extLst>
                </p:cNvPr>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81" name="Oval 80">
                  <a:extLst>
                    <a:ext uri="{FF2B5EF4-FFF2-40B4-BE49-F238E27FC236}">
                      <a16:creationId xmlns:a16="http://schemas.microsoft.com/office/drawing/2014/main" id="{1F60F329-9927-4EEA-BDEA-DA528C57CD9C}"/>
                    </a:ext>
                  </a:extLst>
                </p:cNvPr>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grpSp>
          <p:sp>
            <p:nvSpPr>
              <p:cNvPr id="75" name="icon GEARS">
                <a:extLst>
                  <a:ext uri="{FF2B5EF4-FFF2-40B4-BE49-F238E27FC236}">
                    <a16:creationId xmlns:a16="http://schemas.microsoft.com/office/drawing/2014/main" id="{F4197BC9-1F9A-40BA-9634-C11F74179FF8}"/>
                  </a:ext>
                </a:extLst>
              </p:cNvPr>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007233"/>
              </a:solidFill>
              <a:ln>
                <a:noFill/>
              </a:ln>
              <a:extLst/>
            </p:spPr>
            <p:txBody>
              <a:bodyPr/>
              <a:lstStyle/>
              <a:p>
                <a:pPr defTabSz="931596" fontAlgn="base">
                  <a:spcBef>
                    <a:spcPct val="0"/>
                  </a:spcBef>
                  <a:spcAft>
                    <a:spcPct val="0"/>
                  </a:spcAft>
                </a:pPr>
                <a:endParaRPr lang="en-US" sz="2000">
                  <a:noFill/>
                  <a:ea typeface="ＭＳ Ｐゴシック" charset="0"/>
                </a:endParaRPr>
              </a:p>
            </p:txBody>
          </p:sp>
        </p:grpSp>
        <p:grpSp>
          <p:nvGrpSpPr>
            <p:cNvPr id="27" name="Group 26">
              <a:extLst>
                <a:ext uri="{FF2B5EF4-FFF2-40B4-BE49-F238E27FC236}">
                  <a16:creationId xmlns:a16="http://schemas.microsoft.com/office/drawing/2014/main" id="{0D68DF46-15C6-4E0A-8235-2C33A35DC5FB}"/>
                </a:ext>
              </a:extLst>
            </p:cNvPr>
            <p:cNvGrpSpPr/>
            <p:nvPr/>
          </p:nvGrpSpPr>
          <p:grpSpPr>
            <a:xfrm>
              <a:off x="9871859" y="1887431"/>
              <a:ext cx="652316" cy="406532"/>
              <a:chOff x="5556947" y="2637516"/>
              <a:chExt cx="869608" cy="541950"/>
            </a:xfrm>
          </p:grpSpPr>
          <p:grpSp>
            <p:nvGrpSpPr>
              <p:cNvPr id="68" name="Group 115">
                <a:extLst>
                  <a:ext uri="{FF2B5EF4-FFF2-40B4-BE49-F238E27FC236}">
                    <a16:creationId xmlns:a16="http://schemas.microsoft.com/office/drawing/2014/main" id="{FF70CE7E-F080-4797-80F9-ABAC366B9037}"/>
                  </a:ext>
                </a:extLst>
              </p:cNvPr>
              <p:cNvGrpSpPr>
                <a:grpSpLocks/>
              </p:cNvGrpSpPr>
              <p:nvPr/>
            </p:nvGrpSpPr>
            <p:grpSpPr bwMode="auto">
              <a:xfrm>
                <a:off x="5556947" y="2637516"/>
                <a:ext cx="869608" cy="541950"/>
                <a:chOff x="5437366" y="1237061"/>
                <a:chExt cx="4432300" cy="2764080"/>
              </a:xfrm>
            </p:grpSpPr>
            <p:sp>
              <p:nvSpPr>
                <p:cNvPr id="70" name="Rectangle 69">
                  <a:extLst>
                    <a:ext uri="{FF2B5EF4-FFF2-40B4-BE49-F238E27FC236}">
                      <a16:creationId xmlns:a16="http://schemas.microsoft.com/office/drawing/2014/main" id="{369BA0F8-F34D-4502-B038-ADBCC14B4B93}"/>
                    </a:ext>
                  </a:extLst>
                </p:cNvPr>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71" name="Oval 70">
                  <a:extLst>
                    <a:ext uri="{FF2B5EF4-FFF2-40B4-BE49-F238E27FC236}">
                      <a16:creationId xmlns:a16="http://schemas.microsoft.com/office/drawing/2014/main" id="{03F9A862-B962-4350-AEFE-BAF1D27FED3E}"/>
                    </a:ext>
                  </a:extLst>
                </p:cNvPr>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72" name="Rectangle 71">
                  <a:extLst>
                    <a:ext uri="{FF2B5EF4-FFF2-40B4-BE49-F238E27FC236}">
                      <a16:creationId xmlns:a16="http://schemas.microsoft.com/office/drawing/2014/main" id="{05F3B38B-A82F-4491-9449-07F98E8E7EFA}"/>
                    </a:ext>
                  </a:extLst>
                </p:cNvPr>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73" name="Oval 72">
                  <a:extLst>
                    <a:ext uri="{FF2B5EF4-FFF2-40B4-BE49-F238E27FC236}">
                      <a16:creationId xmlns:a16="http://schemas.microsoft.com/office/drawing/2014/main" id="{E2BEF9BC-D65C-49EF-AC0E-A0110AF15DA8}"/>
                    </a:ext>
                  </a:extLst>
                </p:cNvPr>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grpSp>
          <p:sp>
            <p:nvSpPr>
              <p:cNvPr id="69" name="icon GEARS">
                <a:extLst>
                  <a:ext uri="{FF2B5EF4-FFF2-40B4-BE49-F238E27FC236}">
                    <a16:creationId xmlns:a16="http://schemas.microsoft.com/office/drawing/2014/main" id="{77C5CC83-036B-40C3-8B5A-9CFF5C33DF0A}"/>
                  </a:ext>
                </a:extLst>
              </p:cNvPr>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442359"/>
              </a:solidFill>
              <a:ln>
                <a:noFill/>
              </a:ln>
              <a:extLst/>
            </p:spPr>
            <p:txBody>
              <a:bodyPr/>
              <a:lstStyle/>
              <a:p>
                <a:pPr defTabSz="931596" fontAlgn="base">
                  <a:spcBef>
                    <a:spcPct val="0"/>
                  </a:spcBef>
                  <a:spcAft>
                    <a:spcPct val="0"/>
                  </a:spcAft>
                </a:pPr>
                <a:endParaRPr lang="en-US" sz="2000">
                  <a:solidFill>
                    <a:srgbClr val="505050"/>
                  </a:solidFill>
                  <a:ea typeface="ＭＳ Ｐゴシック" charset="0"/>
                </a:endParaRPr>
              </a:p>
            </p:txBody>
          </p:sp>
        </p:grpSp>
        <p:grpSp>
          <p:nvGrpSpPr>
            <p:cNvPr id="28" name="Group 27">
              <a:extLst>
                <a:ext uri="{FF2B5EF4-FFF2-40B4-BE49-F238E27FC236}">
                  <a16:creationId xmlns:a16="http://schemas.microsoft.com/office/drawing/2014/main" id="{F4B446F3-A2FA-4F1E-8EFC-97005B796944}"/>
                </a:ext>
              </a:extLst>
            </p:cNvPr>
            <p:cNvGrpSpPr/>
            <p:nvPr/>
          </p:nvGrpSpPr>
          <p:grpSpPr>
            <a:xfrm>
              <a:off x="11182473" y="2625949"/>
              <a:ext cx="652316" cy="406532"/>
              <a:chOff x="5556947" y="2637516"/>
              <a:chExt cx="869608" cy="541950"/>
            </a:xfrm>
          </p:grpSpPr>
          <p:grpSp>
            <p:nvGrpSpPr>
              <p:cNvPr id="62" name="Group 115">
                <a:extLst>
                  <a:ext uri="{FF2B5EF4-FFF2-40B4-BE49-F238E27FC236}">
                    <a16:creationId xmlns:a16="http://schemas.microsoft.com/office/drawing/2014/main" id="{F166D06C-9B06-478F-A204-28AE2B010A85}"/>
                  </a:ext>
                </a:extLst>
              </p:cNvPr>
              <p:cNvGrpSpPr>
                <a:grpSpLocks/>
              </p:cNvGrpSpPr>
              <p:nvPr/>
            </p:nvGrpSpPr>
            <p:grpSpPr bwMode="auto">
              <a:xfrm>
                <a:off x="5556947" y="2637516"/>
                <a:ext cx="869608" cy="541950"/>
                <a:chOff x="5437366" y="1237061"/>
                <a:chExt cx="4432300" cy="2764080"/>
              </a:xfrm>
            </p:grpSpPr>
            <p:sp>
              <p:nvSpPr>
                <p:cNvPr id="64" name="Rectangle 63">
                  <a:extLst>
                    <a:ext uri="{FF2B5EF4-FFF2-40B4-BE49-F238E27FC236}">
                      <a16:creationId xmlns:a16="http://schemas.microsoft.com/office/drawing/2014/main" id="{F7C969F8-C94A-4BDA-B681-F5F7D49DF7F3}"/>
                    </a:ext>
                  </a:extLst>
                </p:cNvPr>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65" name="Oval 64">
                  <a:extLst>
                    <a:ext uri="{FF2B5EF4-FFF2-40B4-BE49-F238E27FC236}">
                      <a16:creationId xmlns:a16="http://schemas.microsoft.com/office/drawing/2014/main" id="{5B02DA61-47C7-4994-8794-2AA82047C576}"/>
                    </a:ext>
                  </a:extLst>
                </p:cNvPr>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66" name="Rectangle 65">
                  <a:extLst>
                    <a:ext uri="{FF2B5EF4-FFF2-40B4-BE49-F238E27FC236}">
                      <a16:creationId xmlns:a16="http://schemas.microsoft.com/office/drawing/2014/main" id="{2489E4F6-08BB-428E-BE0F-B2966B7C1A25}"/>
                    </a:ext>
                  </a:extLst>
                </p:cNvPr>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67" name="Oval 66">
                  <a:extLst>
                    <a:ext uri="{FF2B5EF4-FFF2-40B4-BE49-F238E27FC236}">
                      <a16:creationId xmlns:a16="http://schemas.microsoft.com/office/drawing/2014/main" id="{ACD7F846-72D7-4ACD-891E-3A05D796F7E7}"/>
                    </a:ext>
                  </a:extLst>
                </p:cNvPr>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grpSp>
          <p:sp>
            <p:nvSpPr>
              <p:cNvPr id="63" name="icon GEARS">
                <a:extLst>
                  <a:ext uri="{FF2B5EF4-FFF2-40B4-BE49-F238E27FC236}">
                    <a16:creationId xmlns:a16="http://schemas.microsoft.com/office/drawing/2014/main" id="{E00266E8-A164-4F54-950F-0FB273D3C27E}"/>
                  </a:ext>
                </a:extLst>
              </p:cNvPr>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8C00"/>
              </a:solidFill>
              <a:ln>
                <a:noFill/>
              </a:ln>
              <a:extLst/>
            </p:spPr>
            <p:txBody>
              <a:bodyPr/>
              <a:lstStyle/>
              <a:p>
                <a:pPr defTabSz="931596" fontAlgn="base">
                  <a:spcBef>
                    <a:spcPct val="0"/>
                  </a:spcBef>
                  <a:spcAft>
                    <a:spcPct val="0"/>
                  </a:spcAft>
                </a:pPr>
                <a:endParaRPr lang="en-US" sz="2000">
                  <a:solidFill>
                    <a:srgbClr val="505050"/>
                  </a:solidFill>
                  <a:ea typeface="ＭＳ Ｐゴシック" charset="0"/>
                </a:endParaRPr>
              </a:p>
            </p:txBody>
          </p:sp>
        </p:grpSp>
        <p:grpSp>
          <p:nvGrpSpPr>
            <p:cNvPr id="29" name="Group 28">
              <a:extLst>
                <a:ext uri="{FF2B5EF4-FFF2-40B4-BE49-F238E27FC236}">
                  <a16:creationId xmlns:a16="http://schemas.microsoft.com/office/drawing/2014/main" id="{7D978B5E-F8A6-44B4-A8F2-A50E14FB587F}"/>
                </a:ext>
              </a:extLst>
            </p:cNvPr>
            <p:cNvGrpSpPr/>
            <p:nvPr/>
          </p:nvGrpSpPr>
          <p:grpSpPr>
            <a:xfrm>
              <a:off x="9673563" y="1959773"/>
              <a:ext cx="1746705" cy="1524765"/>
              <a:chOff x="9673563" y="1959773"/>
              <a:chExt cx="1746705" cy="1524765"/>
            </a:xfrm>
          </p:grpSpPr>
          <p:grpSp>
            <p:nvGrpSpPr>
              <p:cNvPr id="30" name="Group 29">
                <a:extLst>
                  <a:ext uri="{FF2B5EF4-FFF2-40B4-BE49-F238E27FC236}">
                    <a16:creationId xmlns:a16="http://schemas.microsoft.com/office/drawing/2014/main" id="{2B008745-A504-4081-970F-BDC38958F2B8}"/>
                  </a:ext>
                </a:extLst>
              </p:cNvPr>
              <p:cNvGrpSpPr/>
              <p:nvPr/>
            </p:nvGrpSpPr>
            <p:grpSpPr>
              <a:xfrm>
                <a:off x="10137646" y="2215552"/>
                <a:ext cx="420672" cy="419860"/>
                <a:chOff x="12908129" y="6174892"/>
                <a:chExt cx="456988" cy="456106"/>
              </a:xfrm>
            </p:grpSpPr>
            <p:sp>
              <p:nvSpPr>
                <p:cNvPr id="58" name="Oval 12">
                  <a:extLst>
                    <a:ext uri="{FF2B5EF4-FFF2-40B4-BE49-F238E27FC236}">
                      <a16:creationId xmlns:a16="http://schemas.microsoft.com/office/drawing/2014/main" id="{AF2B2332-399B-4AE2-9CBE-A884302DDA0C}"/>
                    </a:ext>
                  </a:extLst>
                </p:cNvPr>
                <p:cNvSpPr>
                  <a:spLocks noChangeArrowheads="1"/>
                </p:cNvSpPr>
                <p:nvPr/>
              </p:nvSpPr>
              <p:spPr bwMode="auto">
                <a:xfrm>
                  <a:off x="12908129" y="6174892"/>
                  <a:ext cx="456988" cy="456106"/>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59" name="Freeform 13">
                  <a:extLst>
                    <a:ext uri="{FF2B5EF4-FFF2-40B4-BE49-F238E27FC236}">
                      <a16:creationId xmlns:a16="http://schemas.microsoft.com/office/drawing/2014/main" id="{160B9E08-8484-4C3F-9038-0B097CF0A54F}"/>
                    </a:ext>
                  </a:extLst>
                </p:cNvPr>
                <p:cNvSpPr>
                  <a:spLocks/>
                </p:cNvSpPr>
                <p:nvPr/>
              </p:nvSpPr>
              <p:spPr bwMode="auto">
                <a:xfrm>
                  <a:off x="13014672" y="6333385"/>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60" name="Freeform 14">
                  <a:extLst>
                    <a:ext uri="{FF2B5EF4-FFF2-40B4-BE49-F238E27FC236}">
                      <a16:creationId xmlns:a16="http://schemas.microsoft.com/office/drawing/2014/main" id="{C54379D7-CB14-49E5-8AF1-FEC11F2F81D0}"/>
                    </a:ext>
                  </a:extLst>
                </p:cNvPr>
                <p:cNvSpPr>
                  <a:spLocks/>
                </p:cNvSpPr>
                <p:nvPr/>
              </p:nvSpPr>
              <p:spPr bwMode="auto">
                <a:xfrm>
                  <a:off x="13137063" y="6333385"/>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61" name="Freeform 15">
                  <a:extLst>
                    <a:ext uri="{FF2B5EF4-FFF2-40B4-BE49-F238E27FC236}">
                      <a16:creationId xmlns:a16="http://schemas.microsoft.com/office/drawing/2014/main" id="{C95ACDC0-4FEA-41C1-9CB8-26E2679353AB}"/>
                    </a:ext>
                  </a:extLst>
                </p:cNvPr>
                <p:cNvSpPr>
                  <a:spLocks/>
                </p:cNvSpPr>
                <p:nvPr/>
              </p:nvSpPr>
              <p:spPr bwMode="auto">
                <a:xfrm>
                  <a:off x="13014672" y="6263824"/>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grpSp>
          <p:grpSp>
            <p:nvGrpSpPr>
              <p:cNvPr id="31" name="Group 30">
                <a:extLst>
                  <a:ext uri="{FF2B5EF4-FFF2-40B4-BE49-F238E27FC236}">
                    <a16:creationId xmlns:a16="http://schemas.microsoft.com/office/drawing/2014/main" id="{E821960C-8148-46E1-9A85-D0ECBE046407}"/>
                  </a:ext>
                </a:extLst>
              </p:cNvPr>
              <p:cNvGrpSpPr/>
              <p:nvPr/>
            </p:nvGrpSpPr>
            <p:grpSpPr>
              <a:xfrm>
                <a:off x="10821785" y="2860779"/>
                <a:ext cx="511793" cy="510805"/>
                <a:chOff x="12997613" y="6264976"/>
                <a:chExt cx="456988" cy="456106"/>
              </a:xfrm>
            </p:grpSpPr>
            <p:sp>
              <p:nvSpPr>
                <p:cNvPr id="54" name="Oval 12">
                  <a:extLst>
                    <a:ext uri="{FF2B5EF4-FFF2-40B4-BE49-F238E27FC236}">
                      <a16:creationId xmlns:a16="http://schemas.microsoft.com/office/drawing/2014/main" id="{07768706-4055-4D17-8BDC-4D161899B326}"/>
                    </a:ext>
                  </a:extLst>
                </p:cNvPr>
                <p:cNvSpPr>
                  <a:spLocks noChangeArrowheads="1"/>
                </p:cNvSpPr>
                <p:nvPr/>
              </p:nvSpPr>
              <p:spPr bwMode="auto">
                <a:xfrm>
                  <a:off x="12997613" y="6264976"/>
                  <a:ext cx="456988" cy="456106"/>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55" name="Freeform 13">
                  <a:extLst>
                    <a:ext uri="{FF2B5EF4-FFF2-40B4-BE49-F238E27FC236}">
                      <a16:creationId xmlns:a16="http://schemas.microsoft.com/office/drawing/2014/main" id="{C390AC16-4D96-48FB-847B-D4B74AD9062D}"/>
                    </a:ext>
                  </a:extLst>
                </p:cNvPr>
                <p:cNvSpPr>
                  <a:spLocks/>
                </p:cNvSpPr>
                <p:nvPr/>
              </p:nvSpPr>
              <p:spPr bwMode="auto">
                <a:xfrm>
                  <a:off x="13104157" y="6423474"/>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56" name="Freeform 14">
                  <a:extLst>
                    <a:ext uri="{FF2B5EF4-FFF2-40B4-BE49-F238E27FC236}">
                      <a16:creationId xmlns:a16="http://schemas.microsoft.com/office/drawing/2014/main" id="{A98A89B0-F847-422F-8318-6276133F7AFD}"/>
                    </a:ext>
                  </a:extLst>
                </p:cNvPr>
                <p:cNvSpPr>
                  <a:spLocks/>
                </p:cNvSpPr>
                <p:nvPr/>
              </p:nvSpPr>
              <p:spPr bwMode="auto">
                <a:xfrm>
                  <a:off x="13226548" y="6423474"/>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57" name="Freeform 15">
                  <a:extLst>
                    <a:ext uri="{FF2B5EF4-FFF2-40B4-BE49-F238E27FC236}">
                      <a16:creationId xmlns:a16="http://schemas.microsoft.com/office/drawing/2014/main" id="{35DF4EBC-792F-4F31-9AE0-0F6120DBC2CD}"/>
                    </a:ext>
                  </a:extLst>
                </p:cNvPr>
                <p:cNvSpPr>
                  <a:spLocks/>
                </p:cNvSpPr>
                <p:nvPr/>
              </p:nvSpPr>
              <p:spPr bwMode="auto">
                <a:xfrm>
                  <a:off x="13104157" y="6353913"/>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grpSp>
          <p:grpSp>
            <p:nvGrpSpPr>
              <p:cNvPr id="32" name="Group 31">
                <a:extLst>
                  <a:ext uri="{FF2B5EF4-FFF2-40B4-BE49-F238E27FC236}">
                    <a16:creationId xmlns:a16="http://schemas.microsoft.com/office/drawing/2014/main" id="{FB5DFEF3-1F61-4672-9426-3B5D43C5C455}"/>
                  </a:ext>
                </a:extLst>
              </p:cNvPr>
              <p:cNvGrpSpPr/>
              <p:nvPr/>
            </p:nvGrpSpPr>
            <p:grpSpPr>
              <a:xfrm>
                <a:off x="10454633" y="2215550"/>
                <a:ext cx="660034" cy="660031"/>
                <a:chOff x="13614635" y="6174652"/>
                <a:chExt cx="456987" cy="456987"/>
              </a:xfrm>
            </p:grpSpPr>
            <p:sp>
              <p:nvSpPr>
                <p:cNvPr id="49" name="Oval 7">
                  <a:extLst>
                    <a:ext uri="{FF2B5EF4-FFF2-40B4-BE49-F238E27FC236}">
                      <a16:creationId xmlns:a16="http://schemas.microsoft.com/office/drawing/2014/main" id="{C6AFD240-A795-48AE-9DE4-D1012BFABF90}"/>
                    </a:ext>
                  </a:extLst>
                </p:cNvPr>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50" name="Freeform 8">
                  <a:extLst>
                    <a:ext uri="{FF2B5EF4-FFF2-40B4-BE49-F238E27FC236}">
                      <a16:creationId xmlns:a16="http://schemas.microsoft.com/office/drawing/2014/main" id="{F7F85ED8-557F-41E0-84E6-199CB2875596}"/>
                    </a:ext>
                  </a:extLst>
                </p:cNvPr>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51" name="Freeform 9">
                  <a:extLst>
                    <a:ext uri="{FF2B5EF4-FFF2-40B4-BE49-F238E27FC236}">
                      <a16:creationId xmlns:a16="http://schemas.microsoft.com/office/drawing/2014/main" id="{D1EEA6D5-A950-4D70-8E87-549DCAAFB76E}"/>
                    </a:ext>
                  </a:extLst>
                </p:cNvPr>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52" name="Freeform 10">
                  <a:extLst>
                    <a:ext uri="{FF2B5EF4-FFF2-40B4-BE49-F238E27FC236}">
                      <a16:creationId xmlns:a16="http://schemas.microsoft.com/office/drawing/2014/main" id="{242862B6-D120-4717-A5B0-E42F71E1DCA2}"/>
                    </a:ext>
                  </a:extLst>
                </p:cNvPr>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53" name="Freeform 11">
                  <a:extLst>
                    <a:ext uri="{FF2B5EF4-FFF2-40B4-BE49-F238E27FC236}">
                      <a16:creationId xmlns:a16="http://schemas.microsoft.com/office/drawing/2014/main" id="{50176983-7FCA-4C8A-895C-999466419729}"/>
                    </a:ext>
                  </a:extLst>
                </p:cNvPr>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grpSp>
          <p:grpSp>
            <p:nvGrpSpPr>
              <p:cNvPr id="33" name="Group 7">
                <a:extLst>
                  <a:ext uri="{FF2B5EF4-FFF2-40B4-BE49-F238E27FC236}">
                    <a16:creationId xmlns:a16="http://schemas.microsoft.com/office/drawing/2014/main" id="{CAB07B61-341D-4CD1-B287-63A018EF7E78}"/>
                  </a:ext>
                </a:extLst>
              </p:cNvPr>
              <p:cNvGrpSpPr>
                <a:grpSpLocks/>
              </p:cNvGrpSpPr>
              <p:nvPr/>
            </p:nvGrpSpPr>
            <p:grpSpPr bwMode="auto">
              <a:xfrm>
                <a:off x="10909468" y="1959773"/>
                <a:ext cx="510800" cy="510658"/>
                <a:chOff x="5873289" y="2477014"/>
                <a:chExt cx="1305953" cy="1315159"/>
              </a:xfrm>
            </p:grpSpPr>
            <p:sp>
              <p:nvSpPr>
                <p:cNvPr id="45" name="Freeform 16">
                  <a:extLst>
                    <a:ext uri="{FF2B5EF4-FFF2-40B4-BE49-F238E27FC236}">
                      <a16:creationId xmlns:a16="http://schemas.microsoft.com/office/drawing/2014/main" id="{FDCF1EF8-C00B-4406-8198-63AC19B5326F}"/>
                    </a:ext>
                  </a:extLst>
                </p:cNvPr>
                <p:cNvSpPr>
                  <a:spLocks/>
                </p:cNvSpPr>
                <p:nvPr/>
              </p:nvSpPr>
              <p:spPr bwMode="auto">
                <a:xfrm>
                  <a:off x="5874461" y="2477826"/>
                  <a:ext cx="1304514" cy="1314071"/>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46" name="Freeform 19">
                  <a:extLst>
                    <a:ext uri="{FF2B5EF4-FFF2-40B4-BE49-F238E27FC236}">
                      <a16:creationId xmlns:a16="http://schemas.microsoft.com/office/drawing/2014/main" id="{96D58BCE-3B54-4501-8C0C-BF4CB169044C}"/>
                    </a:ext>
                  </a:extLst>
                </p:cNvPr>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47" name="Freeform 20">
                  <a:extLst>
                    <a:ext uri="{FF2B5EF4-FFF2-40B4-BE49-F238E27FC236}">
                      <a16:creationId xmlns:a16="http://schemas.microsoft.com/office/drawing/2014/main" id="{3B33DD30-99A8-4E13-92BA-1FE794345381}"/>
                    </a:ext>
                  </a:extLst>
                </p:cNvPr>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48" name="Freeform 21">
                  <a:extLst>
                    <a:ext uri="{FF2B5EF4-FFF2-40B4-BE49-F238E27FC236}">
                      <a16:creationId xmlns:a16="http://schemas.microsoft.com/office/drawing/2014/main" id="{E60E3F39-8E68-4805-ACF7-2E4034EBE0CF}"/>
                    </a:ext>
                  </a:extLst>
                </p:cNvPr>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grpSp>
          <p:grpSp>
            <p:nvGrpSpPr>
              <p:cNvPr id="34" name="Group 7">
                <a:extLst>
                  <a:ext uri="{FF2B5EF4-FFF2-40B4-BE49-F238E27FC236}">
                    <a16:creationId xmlns:a16="http://schemas.microsoft.com/office/drawing/2014/main" id="{70BD030D-55AE-4CA2-80D6-A16B318CA7A5}"/>
                  </a:ext>
                </a:extLst>
              </p:cNvPr>
              <p:cNvGrpSpPr>
                <a:grpSpLocks/>
              </p:cNvGrpSpPr>
              <p:nvPr/>
            </p:nvGrpSpPr>
            <p:grpSpPr bwMode="auto">
              <a:xfrm>
                <a:off x="10119414" y="2912481"/>
                <a:ext cx="572217" cy="572057"/>
                <a:chOff x="5873289" y="2477014"/>
                <a:chExt cx="1305953" cy="1315159"/>
              </a:xfrm>
            </p:grpSpPr>
            <p:sp>
              <p:nvSpPr>
                <p:cNvPr id="41" name="Freeform 16">
                  <a:extLst>
                    <a:ext uri="{FF2B5EF4-FFF2-40B4-BE49-F238E27FC236}">
                      <a16:creationId xmlns:a16="http://schemas.microsoft.com/office/drawing/2014/main" id="{95C9FC19-7BC3-4E02-A13B-803F2F85CB76}"/>
                    </a:ext>
                  </a:extLst>
                </p:cNvPr>
                <p:cNvSpPr>
                  <a:spLocks/>
                </p:cNvSpPr>
                <p:nvPr/>
              </p:nvSpPr>
              <p:spPr bwMode="auto">
                <a:xfrm>
                  <a:off x="5874461" y="2477826"/>
                  <a:ext cx="1304514" cy="1314071"/>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42" name="Freeform 19">
                  <a:extLst>
                    <a:ext uri="{FF2B5EF4-FFF2-40B4-BE49-F238E27FC236}">
                      <a16:creationId xmlns:a16="http://schemas.microsoft.com/office/drawing/2014/main" id="{78F41DDD-91CC-4E51-9995-7C65878B2763}"/>
                    </a:ext>
                  </a:extLst>
                </p:cNvPr>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43" name="Freeform 20">
                  <a:extLst>
                    <a:ext uri="{FF2B5EF4-FFF2-40B4-BE49-F238E27FC236}">
                      <a16:creationId xmlns:a16="http://schemas.microsoft.com/office/drawing/2014/main" id="{8FF90031-1EE1-41C1-B291-48A78A20D2EC}"/>
                    </a:ext>
                  </a:extLst>
                </p:cNvPr>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44" name="Freeform 21">
                  <a:extLst>
                    <a:ext uri="{FF2B5EF4-FFF2-40B4-BE49-F238E27FC236}">
                      <a16:creationId xmlns:a16="http://schemas.microsoft.com/office/drawing/2014/main" id="{ECE0B083-E9D4-4D4F-A24F-B132F9F25D86}"/>
                    </a:ext>
                  </a:extLst>
                </p:cNvPr>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grpSp>
          <p:grpSp>
            <p:nvGrpSpPr>
              <p:cNvPr id="35" name="Group 34">
                <a:extLst>
                  <a:ext uri="{FF2B5EF4-FFF2-40B4-BE49-F238E27FC236}">
                    <a16:creationId xmlns:a16="http://schemas.microsoft.com/office/drawing/2014/main" id="{461FEFC5-A98A-4D92-9F4D-8946B010EA53}"/>
                  </a:ext>
                </a:extLst>
              </p:cNvPr>
              <p:cNvGrpSpPr/>
              <p:nvPr/>
            </p:nvGrpSpPr>
            <p:grpSpPr>
              <a:xfrm>
                <a:off x="9673563" y="2526268"/>
                <a:ext cx="441321" cy="441319"/>
                <a:chOff x="13614635" y="6174652"/>
                <a:chExt cx="456987" cy="456987"/>
              </a:xfrm>
            </p:grpSpPr>
            <p:sp>
              <p:nvSpPr>
                <p:cNvPr id="36" name="Oval 7">
                  <a:extLst>
                    <a:ext uri="{FF2B5EF4-FFF2-40B4-BE49-F238E27FC236}">
                      <a16:creationId xmlns:a16="http://schemas.microsoft.com/office/drawing/2014/main" id="{EFD7EB3F-FAEF-420A-A96A-25C0696858FC}"/>
                    </a:ext>
                  </a:extLst>
                </p:cNvPr>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37" name="Freeform 8">
                  <a:extLst>
                    <a:ext uri="{FF2B5EF4-FFF2-40B4-BE49-F238E27FC236}">
                      <a16:creationId xmlns:a16="http://schemas.microsoft.com/office/drawing/2014/main" id="{58252CC2-6515-4BA4-A6E5-E5AFB34FE371}"/>
                    </a:ext>
                  </a:extLst>
                </p:cNvPr>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38" name="Freeform 9">
                  <a:extLst>
                    <a:ext uri="{FF2B5EF4-FFF2-40B4-BE49-F238E27FC236}">
                      <a16:creationId xmlns:a16="http://schemas.microsoft.com/office/drawing/2014/main" id="{07EBC166-5EDD-4430-9055-8A71EF07D151}"/>
                    </a:ext>
                  </a:extLst>
                </p:cNvPr>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39" name="Freeform 10">
                  <a:extLst>
                    <a:ext uri="{FF2B5EF4-FFF2-40B4-BE49-F238E27FC236}">
                      <a16:creationId xmlns:a16="http://schemas.microsoft.com/office/drawing/2014/main" id="{025D9DF4-8DD2-4E8D-BA85-FD2D6CBF8C84}"/>
                    </a:ext>
                  </a:extLst>
                </p:cNvPr>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sp>
              <p:nvSpPr>
                <p:cNvPr id="40" name="Freeform 11">
                  <a:extLst>
                    <a:ext uri="{FF2B5EF4-FFF2-40B4-BE49-F238E27FC236}">
                      <a16:creationId xmlns:a16="http://schemas.microsoft.com/office/drawing/2014/main" id="{16537E84-EB2A-4A0C-9813-1EA485B45915}"/>
                    </a:ext>
                  </a:extLst>
                </p:cNvPr>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a:solidFill>
                      <a:srgbClr val="505050"/>
                    </a:solidFill>
                    <a:ea typeface="ＭＳ Ｐゴシック" charset="0"/>
                  </a:endParaRPr>
                </a:p>
              </p:txBody>
            </p:sp>
          </p:grpSp>
        </p:grpSp>
      </p:grpSp>
      <p:sp>
        <p:nvSpPr>
          <p:cNvPr id="82" name="TextBox 81">
            <a:extLst>
              <a:ext uri="{FF2B5EF4-FFF2-40B4-BE49-F238E27FC236}">
                <a16:creationId xmlns:a16="http://schemas.microsoft.com/office/drawing/2014/main" id="{29C7A7B1-E2A4-4009-B636-BE8052A4FE31}"/>
              </a:ext>
            </a:extLst>
          </p:cNvPr>
          <p:cNvSpPr txBox="1"/>
          <p:nvPr/>
        </p:nvSpPr>
        <p:spPr>
          <a:xfrm>
            <a:off x="6260643" y="5266315"/>
            <a:ext cx="990600"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gradFill>
                  <a:gsLst>
                    <a:gs pos="2917">
                      <a:srgbClr val="FFFFFF"/>
                    </a:gs>
                    <a:gs pos="30000">
                      <a:srgbClr val="FFFFFF"/>
                    </a:gs>
                  </a:gsLst>
                  <a:lin ang="5400000" scaled="0"/>
                </a:gradFill>
              </a:rPr>
              <a:t>LOB Apps</a:t>
            </a:r>
          </a:p>
        </p:txBody>
      </p:sp>
      <p:grpSp>
        <p:nvGrpSpPr>
          <p:cNvPr id="83" name="Group 82">
            <a:extLst>
              <a:ext uri="{FF2B5EF4-FFF2-40B4-BE49-F238E27FC236}">
                <a16:creationId xmlns:a16="http://schemas.microsoft.com/office/drawing/2014/main" id="{E2369C35-6C2F-4B80-A051-208BC8B51C60}"/>
              </a:ext>
            </a:extLst>
          </p:cNvPr>
          <p:cNvGrpSpPr/>
          <p:nvPr/>
        </p:nvGrpSpPr>
        <p:grpSpPr>
          <a:xfrm>
            <a:off x="9379197" y="2369462"/>
            <a:ext cx="2816052" cy="2150490"/>
            <a:chOff x="8822416" y="4079997"/>
            <a:chExt cx="3026266" cy="2424511"/>
          </a:xfrm>
        </p:grpSpPr>
        <p:sp>
          <p:nvSpPr>
            <p:cNvPr id="84" name="Rectangle 83">
              <a:extLst>
                <a:ext uri="{FF2B5EF4-FFF2-40B4-BE49-F238E27FC236}">
                  <a16:creationId xmlns:a16="http://schemas.microsoft.com/office/drawing/2014/main" id="{E4E59A57-5200-4B89-8139-CCBDB0084EDE}"/>
                </a:ext>
              </a:extLst>
            </p:cNvPr>
            <p:cNvSpPr/>
            <p:nvPr/>
          </p:nvSpPr>
          <p:spPr bwMode="auto">
            <a:xfrm>
              <a:off x="8822416" y="5921686"/>
              <a:ext cx="3026266" cy="582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45" tIns="182845" rIns="0" bIns="46627"/>
            <a:lstStyle/>
            <a:p>
              <a:pPr algn="ctr" defTabSz="932205" fontAlgn="base">
                <a:lnSpc>
                  <a:spcPct val="90000"/>
                </a:lnSpc>
                <a:spcBef>
                  <a:spcPct val="0"/>
                </a:spcBef>
                <a:spcAft>
                  <a:spcPct val="0"/>
                </a:spcAft>
                <a:defRPr/>
              </a:pPr>
              <a:endParaRPr lang="en-US" dirty="0">
                <a:solidFill>
                  <a:srgbClr val="FFFFFF">
                    <a:lumMod val="85000"/>
                  </a:srgbClr>
                </a:solidFill>
                <a:latin typeface="Segoe UI Light"/>
              </a:endParaRPr>
            </a:p>
          </p:txBody>
        </p:sp>
        <p:grpSp>
          <p:nvGrpSpPr>
            <p:cNvPr id="85" name="Group 84">
              <a:extLst>
                <a:ext uri="{FF2B5EF4-FFF2-40B4-BE49-F238E27FC236}">
                  <a16:creationId xmlns:a16="http://schemas.microsoft.com/office/drawing/2014/main" id="{011996B5-1E56-49F6-B390-A2E8FA7A5EDE}"/>
                </a:ext>
              </a:extLst>
            </p:cNvPr>
            <p:cNvGrpSpPr/>
            <p:nvPr/>
          </p:nvGrpSpPr>
          <p:grpSpPr>
            <a:xfrm>
              <a:off x="8944775" y="4079997"/>
              <a:ext cx="2892258" cy="1980669"/>
              <a:chOff x="9418029" y="3256415"/>
              <a:chExt cx="2767201" cy="1895027"/>
            </a:xfrm>
          </p:grpSpPr>
          <p:grpSp>
            <p:nvGrpSpPr>
              <p:cNvPr id="86" name="Group 85">
                <a:extLst>
                  <a:ext uri="{FF2B5EF4-FFF2-40B4-BE49-F238E27FC236}">
                    <a16:creationId xmlns:a16="http://schemas.microsoft.com/office/drawing/2014/main" id="{A11A9F2C-8EAC-4A42-B91D-0C33A1FFFD9A}"/>
                  </a:ext>
                </a:extLst>
              </p:cNvPr>
              <p:cNvGrpSpPr/>
              <p:nvPr/>
            </p:nvGrpSpPr>
            <p:grpSpPr>
              <a:xfrm>
                <a:off x="10726740" y="3256415"/>
                <a:ext cx="1458490" cy="980587"/>
                <a:chOff x="10567039" y="3271142"/>
                <a:chExt cx="1458490" cy="980587"/>
              </a:xfrm>
            </p:grpSpPr>
            <p:pic>
              <p:nvPicPr>
                <p:cNvPr id="93" name="Picture 92">
                  <a:extLst>
                    <a:ext uri="{FF2B5EF4-FFF2-40B4-BE49-F238E27FC236}">
                      <a16:creationId xmlns:a16="http://schemas.microsoft.com/office/drawing/2014/main" id="{4C41856D-7824-4D58-B445-F2BDAA79DB79}"/>
                    </a:ext>
                  </a:extLst>
                </p:cNvPr>
                <p:cNvPicPr>
                  <a:picLocks noChangeAspect="1"/>
                </p:cNvPicPr>
                <p:nvPr/>
              </p:nvPicPr>
              <p:blipFill>
                <a:blip r:embed="rId6"/>
                <a:stretch>
                  <a:fillRect/>
                </a:stretch>
              </p:blipFill>
              <p:spPr>
                <a:xfrm>
                  <a:off x="10567039" y="3271142"/>
                  <a:ext cx="1458490" cy="980587"/>
                </a:xfrm>
                <a:prstGeom prst="rect">
                  <a:avLst/>
                </a:prstGeom>
              </p:spPr>
            </p:pic>
            <p:sp>
              <p:nvSpPr>
                <p:cNvPr id="94" name="TextBox 93">
                  <a:extLst>
                    <a:ext uri="{FF2B5EF4-FFF2-40B4-BE49-F238E27FC236}">
                      <a16:creationId xmlns:a16="http://schemas.microsoft.com/office/drawing/2014/main" id="{93BF7397-B6A4-45DA-AB12-5D817679A128}"/>
                    </a:ext>
                  </a:extLst>
                </p:cNvPr>
                <p:cNvSpPr txBox="1"/>
                <p:nvPr/>
              </p:nvSpPr>
              <p:spPr>
                <a:xfrm>
                  <a:off x="10691609" y="3647935"/>
                  <a:ext cx="1333920" cy="212017"/>
                </a:xfrm>
                <a:prstGeom prst="rect">
                  <a:avLst/>
                </a:prstGeom>
              </p:spPr>
              <p:txBody>
                <a:bodyPr wrap="square" lIns="0" tIns="0" rIns="0" bIns="0" rtlCol="0">
                  <a:spAutoFit/>
                </a:bodyPr>
                <a:lstStyle/>
                <a:p>
                  <a:pPr algn="ctr" defTabSz="913923" fontAlgn="base">
                    <a:lnSpc>
                      <a:spcPct val="90000"/>
                    </a:lnSpc>
                    <a:spcBef>
                      <a:spcPct val="0"/>
                    </a:spcBef>
                    <a:spcAft>
                      <a:spcPct val="0"/>
                    </a:spcAft>
                    <a:buSzPct val="80000"/>
                  </a:pPr>
                  <a:r>
                    <a:rPr lang="en-US" sz="1600" dirty="0">
                      <a:solidFill>
                        <a:srgbClr val="FFFFFF"/>
                      </a:solidFill>
                      <a:latin typeface="Segoe UI Light"/>
                      <a:ea typeface="ＭＳ Ｐゴシック" charset="0"/>
                      <a:cs typeface="Segoe UI Light"/>
                    </a:rPr>
                    <a:t>SaaS</a:t>
                  </a:r>
                </a:p>
              </p:txBody>
            </p:sp>
          </p:grpSp>
          <p:grpSp>
            <p:nvGrpSpPr>
              <p:cNvPr id="87" name="Group 86">
                <a:extLst>
                  <a:ext uri="{FF2B5EF4-FFF2-40B4-BE49-F238E27FC236}">
                    <a16:creationId xmlns:a16="http://schemas.microsoft.com/office/drawing/2014/main" id="{C24853F8-91D9-4EF6-BE95-A28E9C3B338D}"/>
                  </a:ext>
                </a:extLst>
              </p:cNvPr>
              <p:cNvGrpSpPr/>
              <p:nvPr/>
            </p:nvGrpSpPr>
            <p:grpSpPr>
              <a:xfrm>
                <a:off x="9418029" y="3373118"/>
                <a:ext cx="1641567" cy="1112793"/>
                <a:chOff x="9408112" y="3317093"/>
                <a:chExt cx="1292341" cy="876058"/>
              </a:xfrm>
            </p:grpSpPr>
            <p:pic>
              <p:nvPicPr>
                <p:cNvPr id="91" name="Picture 90">
                  <a:extLst>
                    <a:ext uri="{FF2B5EF4-FFF2-40B4-BE49-F238E27FC236}">
                      <a16:creationId xmlns:a16="http://schemas.microsoft.com/office/drawing/2014/main" id="{76CD1B07-0562-4604-9DC1-88084E8CC59D}"/>
                    </a:ext>
                  </a:extLst>
                </p:cNvPr>
                <p:cNvPicPr>
                  <a:picLocks noChangeAspect="1"/>
                </p:cNvPicPr>
                <p:nvPr/>
              </p:nvPicPr>
              <p:blipFill>
                <a:blip r:embed="rId7"/>
                <a:stretch>
                  <a:fillRect/>
                </a:stretch>
              </p:blipFill>
              <p:spPr>
                <a:xfrm>
                  <a:off x="9408112" y="3317093"/>
                  <a:ext cx="1292341" cy="876058"/>
                </a:xfrm>
                <a:prstGeom prst="rect">
                  <a:avLst/>
                </a:prstGeom>
              </p:spPr>
            </p:pic>
            <p:sp>
              <p:nvSpPr>
                <p:cNvPr id="92" name="TextBox 91">
                  <a:extLst>
                    <a:ext uri="{FF2B5EF4-FFF2-40B4-BE49-F238E27FC236}">
                      <a16:creationId xmlns:a16="http://schemas.microsoft.com/office/drawing/2014/main" id="{10028FBD-17AF-45D0-A035-88EAA6374112}"/>
                    </a:ext>
                  </a:extLst>
                </p:cNvPr>
                <p:cNvSpPr txBox="1"/>
                <p:nvPr/>
              </p:nvSpPr>
              <p:spPr>
                <a:xfrm>
                  <a:off x="9442526" y="3700547"/>
                  <a:ext cx="1185112" cy="166913"/>
                </a:xfrm>
                <a:prstGeom prst="rect">
                  <a:avLst/>
                </a:prstGeom>
              </p:spPr>
              <p:txBody>
                <a:bodyPr wrap="square" lIns="0" tIns="0" rIns="0" bIns="0" rtlCol="0">
                  <a:spAutoFit/>
                </a:bodyPr>
                <a:lstStyle/>
                <a:p>
                  <a:pPr algn="ctr" defTabSz="913923" fontAlgn="base">
                    <a:lnSpc>
                      <a:spcPct val="90000"/>
                    </a:lnSpc>
                    <a:spcBef>
                      <a:spcPct val="0"/>
                    </a:spcBef>
                    <a:spcAft>
                      <a:spcPct val="0"/>
                    </a:spcAft>
                    <a:buSzPct val="80000"/>
                  </a:pPr>
                  <a:r>
                    <a:rPr lang="en-US" sz="1600" dirty="0">
                      <a:solidFill>
                        <a:srgbClr val="FFFFFF"/>
                      </a:solidFill>
                      <a:latin typeface="Segoe UI Light"/>
                      <a:ea typeface="ＭＳ Ｐゴシック" charset="0"/>
                      <a:cs typeface="Segoe UI Light"/>
                    </a:rPr>
                    <a:t>Azure</a:t>
                  </a:r>
                </a:p>
              </p:txBody>
            </p:sp>
          </p:grpSp>
          <p:grpSp>
            <p:nvGrpSpPr>
              <p:cNvPr id="88" name="Group 87">
                <a:extLst>
                  <a:ext uri="{FF2B5EF4-FFF2-40B4-BE49-F238E27FC236}">
                    <a16:creationId xmlns:a16="http://schemas.microsoft.com/office/drawing/2014/main" id="{5D6CDD64-B431-4612-AA13-F018748A932D}"/>
                  </a:ext>
                </a:extLst>
              </p:cNvPr>
              <p:cNvGrpSpPr/>
              <p:nvPr/>
            </p:nvGrpSpPr>
            <p:grpSpPr>
              <a:xfrm>
                <a:off x="9885190" y="3976743"/>
                <a:ext cx="1740922" cy="1174699"/>
                <a:chOff x="9677491" y="3833539"/>
                <a:chExt cx="1740922" cy="1174699"/>
              </a:xfrm>
            </p:grpSpPr>
            <p:pic>
              <p:nvPicPr>
                <p:cNvPr id="89" name="Picture 88">
                  <a:extLst>
                    <a:ext uri="{FF2B5EF4-FFF2-40B4-BE49-F238E27FC236}">
                      <a16:creationId xmlns:a16="http://schemas.microsoft.com/office/drawing/2014/main" id="{479617DE-162D-410A-980D-AD0FDAEC62E0}"/>
                    </a:ext>
                  </a:extLst>
                </p:cNvPr>
                <p:cNvPicPr>
                  <a:picLocks noChangeAspect="1"/>
                </p:cNvPicPr>
                <p:nvPr/>
              </p:nvPicPr>
              <p:blipFill>
                <a:blip r:embed="rId8"/>
                <a:stretch>
                  <a:fillRect/>
                </a:stretch>
              </p:blipFill>
              <p:spPr>
                <a:xfrm>
                  <a:off x="9677491" y="3833539"/>
                  <a:ext cx="1740922" cy="1174699"/>
                </a:xfrm>
                <a:prstGeom prst="rect">
                  <a:avLst/>
                </a:prstGeom>
              </p:spPr>
            </p:pic>
            <p:sp>
              <p:nvSpPr>
                <p:cNvPr id="90" name="TextBox 89">
                  <a:extLst>
                    <a:ext uri="{FF2B5EF4-FFF2-40B4-BE49-F238E27FC236}">
                      <a16:creationId xmlns:a16="http://schemas.microsoft.com/office/drawing/2014/main" id="{40694B22-2196-479D-8C55-02ABB53CDD2F}"/>
                    </a:ext>
                  </a:extLst>
                </p:cNvPr>
                <p:cNvSpPr txBox="1"/>
                <p:nvPr/>
              </p:nvSpPr>
              <p:spPr>
                <a:xfrm>
                  <a:off x="9857161" y="4375617"/>
                  <a:ext cx="1489586" cy="212017"/>
                </a:xfrm>
                <a:prstGeom prst="rect">
                  <a:avLst/>
                </a:prstGeom>
              </p:spPr>
              <p:txBody>
                <a:bodyPr wrap="square" lIns="0" tIns="0" rIns="0" bIns="0" rtlCol="0">
                  <a:spAutoFit/>
                </a:bodyPr>
                <a:lstStyle/>
                <a:p>
                  <a:pPr algn="ctr" defTabSz="913923" fontAlgn="base">
                    <a:lnSpc>
                      <a:spcPct val="90000"/>
                    </a:lnSpc>
                    <a:spcBef>
                      <a:spcPct val="0"/>
                    </a:spcBef>
                    <a:spcAft>
                      <a:spcPct val="0"/>
                    </a:spcAft>
                    <a:buSzPct val="80000"/>
                  </a:pPr>
                  <a:r>
                    <a:rPr lang="en-US" sz="1600" dirty="0">
                      <a:solidFill>
                        <a:srgbClr val="FFFFFF"/>
                      </a:solidFill>
                      <a:latin typeface="Segoe UI Light"/>
                      <a:ea typeface="ＭＳ Ｐゴシック" charset="0"/>
                      <a:cs typeface="Segoe UI Light"/>
                    </a:rPr>
                    <a:t>Office 365</a:t>
                  </a:r>
                </a:p>
              </p:txBody>
            </p:sp>
          </p:grpSp>
        </p:grpSp>
      </p:grpSp>
      <p:cxnSp>
        <p:nvCxnSpPr>
          <p:cNvPr id="95" name="Straight Arrow Connector 94">
            <a:extLst>
              <a:ext uri="{FF2B5EF4-FFF2-40B4-BE49-F238E27FC236}">
                <a16:creationId xmlns:a16="http://schemas.microsoft.com/office/drawing/2014/main" id="{0866AB54-FFC3-440D-8C5E-969BCAF1386F}"/>
              </a:ext>
            </a:extLst>
          </p:cNvPr>
          <p:cNvCxnSpPr/>
          <p:nvPr/>
        </p:nvCxnSpPr>
        <p:spPr>
          <a:xfrm flipH="1">
            <a:off x="7860137" y="4858842"/>
            <a:ext cx="47963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96" name="Picture 95">
            <a:extLst>
              <a:ext uri="{FF2B5EF4-FFF2-40B4-BE49-F238E27FC236}">
                <a16:creationId xmlns:a16="http://schemas.microsoft.com/office/drawing/2014/main" id="{CEA2D08F-6A7E-4307-88F8-5B038798B9EC}"/>
              </a:ext>
            </a:extLst>
          </p:cNvPr>
          <p:cNvPicPr>
            <a:picLocks noChangeAspect="1"/>
          </p:cNvPicPr>
          <p:nvPr/>
        </p:nvPicPr>
        <p:blipFill>
          <a:blip r:embed="rId8"/>
          <a:stretch>
            <a:fillRect/>
          </a:stretch>
        </p:blipFill>
        <p:spPr>
          <a:xfrm>
            <a:off x="6315812" y="2731817"/>
            <a:ext cx="1693204" cy="1089022"/>
          </a:xfrm>
          <a:prstGeom prst="rect">
            <a:avLst/>
          </a:prstGeom>
        </p:spPr>
      </p:pic>
      <p:sp>
        <p:nvSpPr>
          <p:cNvPr id="97" name="TextBox 96">
            <a:extLst>
              <a:ext uri="{FF2B5EF4-FFF2-40B4-BE49-F238E27FC236}">
                <a16:creationId xmlns:a16="http://schemas.microsoft.com/office/drawing/2014/main" id="{D7BBB697-07D5-464C-B1D2-4F0DC01CA2DF}"/>
              </a:ext>
            </a:extLst>
          </p:cNvPr>
          <p:cNvSpPr txBox="1"/>
          <p:nvPr/>
        </p:nvSpPr>
        <p:spPr>
          <a:xfrm>
            <a:off x="6490557" y="3234358"/>
            <a:ext cx="1448757" cy="443198"/>
          </a:xfrm>
          <a:prstGeom prst="rect">
            <a:avLst/>
          </a:prstGeom>
        </p:spPr>
        <p:txBody>
          <a:bodyPr wrap="square" lIns="0" tIns="0" rIns="0" bIns="0" rtlCol="0">
            <a:spAutoFit/>
          </a:bodyPr>
          <a:lstStyle/>
          <a:p>
            <a:pPr algn="ctr" defTabSz="913923" fontAlgn="base">
              <a:lnSpc>
                <a:spcPct val="90000"/>
              </a:lnSpc>
              <a:spcBef>
                <a:spcPct val="0"/>
              </a:spcBef>
              <a:spcAft>
                <a:spcPct val="0"/>
              </a:spcAft>
              <a:buSzPct val="80000"/>
            </a:pPr>
            <a:r>
              <a:rPr lang="en-US" sz="1600" dirty="0">
                <a:solidFill>
                  <a:srgbClr val="FFFFFF"/>
                </a:solidFill>
                <a:latin typeface="Segoe UI Light"/>
                <a:ea typeface="ＭＳ Ｐゴシック" charset="0"/>
                <a:cs typeface="Segoe UI Light"/>
              </a:rPr>
              <a:t>Partner </a:t>
            </a:r>
          </a:p>
          <a:p>
            <a:pPr algn="ctr" defTabSz="913923" fontAlgn="base">
              <a:lnSpc>
                <a:spcPct val="90000"/>
              </a:lnSpc>
              <a:spcBef>
                <a:spcPct val="0"/>
              </a:spcBef>
              <a:spcAft>
                <a:spcPct val="0"/>
              </a:spcAft>
              <a:buSzPct val="80000"/>
            </a:pPr>
            <a:r>
              <a:rPr lang="en-US" sz="1600" dirty="0">
                <a:solidFill>
                  <a:srgbClr val="FFFFFF"/>
                </a:solidFill>
                <a:latin typeface="Segoe UI Light"/>
                <a:ea typeface="ＭＳ Ｐゴシック" charset="0"/>
                <a:cs typeface="Segoe UI Light"/>
              </a:rPr>
              <a:t>Resources</a:t>
            </a:r>
          </a:p>
        </p:txBody>
      </p:sp>
      <p:cxnSp>
        <p:nvCxnSpPr>
          <p:cNvPr id="98" name="Straight Arrow Connector 97">
            <a:extLst>
              <a:ext uri="{FF2B5EF4-FFF2-40B4-BE49-F238E27FC236}">
                <a16:creationId xmlns:a16="http://schemas.microsoft.com/office/drawing/2014/main" id="{5D47C6D4-D422-4CAE-847F-DA84F1C7C879}"/>
              </a:ext>
            </a:extLst>
          </p:cNvPr>
          <p:cNvCxnSpPr/>
          <p:nvPr/>
        </p:nvCxnSpPr>
        <p:spPr>
          <a:xfrm flipH="1" flipV="1">
            <a:off x="8768620" y="3477937"/>
            <a:ext cx="23734" cy="83996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262553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76">
            <a:extLst>
              <a:ext uri="{FF2B5EF4-FFF2-40B4-BE49-F238E27FC236}">
                <a16:creationId xmlns:a16="http://schemas.microsoft.com/office/drawing/2014/main" id="{4E0F32DB-9129-4464-ABF7-1CA8902BD364}"/>
              </a:ext>
            </a:extLst>
          </p:cNvPr>
          <p:cNvPicPr>
            <a:picLocks noChangeAspect="1"/>
          </p:cNvPicPr>
          <p:nvPr/>
        </p:nvPicPr>
        <p:blipFill>
          <a:blip r:embed="rId3"/>
          <a:stretch>
            <a:fillRect/>
          </a:stretch>
        </p:blipFill>
        <p:spPr>
          <a:xfrm>
            <a:off x="5740973" y="0"/>
            <a:ext cx="6695502" cy="4411662"/>
          </a:xfrm>
          <a:prstGeom prst="rect">
            <a:avLst/>
          </a:prstGeom>
        </p:spPr>
      </p:pic>
      <p:sp>
        <p:nvSpPr>
          <p:cNvPr id="78" name="Title 4">
            <a:extLst>
              <a:ext uri="{FF2B5EF4-FFF2-40B4-BE49-F238E27FC236}">
                <a16:creationId xmlns:a16="http://schemas.microsoft.com/office/drawing/2014/main" id="{BCD8DCB1-9455-485B-990E-56A9202614E5}"/>
              </a:ext>
            </a:extLst>
          </p:cNvPr>
          <p:cNvSpPr>
            <a:spLocks noGrp="1"/>
          </p:cNvSpPr>
          <p:nvPr>
            <p:ph type="title"/>
          </p:nvPr>
        </p:nvSpPr>
        <p:spPr>
          <a:xfrm>
            <a:off x="279006" y="1502493"/>
            <a:ext cx="4892040" cy="849463"/>
          </a:xfrm>
        </p:spPr>
        <p:txBody>
          <a:bodyPr/>
          <a:lstStyle/>
          <a:p>
            <a:pPr algn="ctr"/>
            <a:r>
              <a:rPr lang="en-US"/>
              <a:t>AD FS Help</a:t>
            </a:r>
          </a:p>
        </p:txBody>
      </p:sp>
      <p:pic>
        <p:nvPicPr>
          <p:cNvPr id="79" name="Picture 78">
            <a:extLst>
              <a:ext uri="{FF2B5EF4-FFF2-40B4-BE49-F238E27FC236}">
                <a16:creationId xmlns:a16="http://schemas.microsoft.com/office/drawing/2014/main" id="{661092B6-6EC3-499C-9BF0-647F0219EBEE}"/>
              </a:ext>
            </a:extLst>
          </p:cNvPr>
          <p:cNvPicPr>
            <a:picLocks noChangeAspect="1"/>
          </p:cNvPicPr>
          <p:nvPr/>
        </p:nvPicPr>
        <p:blipFill rotWithShape="1">
          <a:blip r:embed="rId3"/>
          <a:srcRect t="-109" r="34104" b="109"/>
          <a:stretch/>
        </p:blipFill>
        <p:spPr>
          <a:xfrm>
            <a:off x="5441315" y="-7938"/>
            <a:ext cx="6995160" cy="6994525"/>
          </a:xfrm>
          <a:prstGeom prst="rect">
            <a:avLst/>
          </a:prstGeom>
        </p:spPr>
      </p:pic>
      <p:sp>
        <p:nvSpPr>
          <p:cNvPr id="80" name="TextBox 79">
            <a:extLst>
              <a:ext uri="{FF2B5EF4-FFF2-40B4-BE49-F238E27FC236}">
                <a16:creationId xmlns:a16="http://schemas.microsoft.com/office/drawing/2014/main" id="{1B1A1EB6-6FFC-48BC-B8A7-E5FC390CB03D}"/>
              </a:ext>
            </a:extLst>
          </p:cNvPr>
          <p:cNvSpPr txBox="1"/>
          <p:nvPr/>
        </p:nvSpPr>
        <p:spPr>
          <a:xfrm>
            <a:off x="431407" y="2582862"/>
            <a:ext cx="5029199" cy="2908489"/>
          </a:xfrm>
          <a:prstGeom prst="rect">
            <a:avLst/>
          </a:prstGeom>
          <a:noFill/>
        </p:spPr>
        <p:txBody>
          <a:bodyPr wrap="square" lIns="182880" tIns="146304" rIns="182880" bIns="146304" rtlCol="0" anchor="t">
            <a:spAutoFit/>
          </a:bodyPr>
          <a:lstStyle/>
          <a:p>
            <a:pPr algn="ctr">
              <a:lnSpc>
                <a:spcPct val="90000"/>
              </a:lnSpc>
              <a:spcAft>
                <a:spcPts val="600"/>
              </a:spcAft>
            </a:pPr>
            <a:r>
              <a:rPr lang="en-US" sz="2800" b="1">
                <a:gradFill>
                  <a:gsLst>
                    <a:gs pos="2917">
                      <a:schemeClr val="tx1"/>
                    </a:gs>
                    <a:gs pos="30000">
                      <a:schemeClr val="tx1"/>
                    </a:gs>
                  </a:gsLst>
                  <a:lin ang="5400000" scaled="0"/>
                </a:gradFill>
                <a:hlinkClick r:id="rId4"/>
              </a:rPr>
              <a:t>https://aka.ms/adfs</a:t>
            </a:r>
            <a:r>
              <a:rPr lang="en-US" sz="2800" b="1">
                <a:gradFill>
                  <a:gsLst>
                    <a:gs pos="2917">
                      <a:schemeClr val="tx1"/>
                    </a:gs>
                    <a:gs pos="30000">
                      <a:schemeClr val="tx1"/>
                    </a:gs>
                  </a:gsLst>
                  <a:lin ang="5400000" scaled="0"/>
                </a:gradFill>
                <a:hlinkClick r:id="rId5"/>
              </a:rPr>
              <a:t>help</a:t>
            </a:r>
            <a:r>
              <a:rPr lang="en-US" sz="2400" b="1">
                <a:gradFill>
                  <a:gsLst>
                    <a:gs pos="2917">
                      <a:schemeClr val="tx1"/>
                    </a:gs>
                    <a:gs pos="30000">
                      <a:schemeClr val="tx1"/>
                    </a:gs>
                  </a:gsLst>
                  <a:lin ang="5400000" scaled="0"/>
                </a:gradFill>
                <a:cs typeface="Segoe UI Semilight"/>
              </a:rPr>
              <a:t> </a:t>
            </a:r>
          </a:p>
          <a:p>
            <a:pPr>
              <a:lnSpc>
                <a:spcPct val="90000"/>
              </a:lnSpc>
              <a:spcAft>
                <a:spcPts val="600"/>
              </a:spcAft>
            </a:pPr>
            <a:r>
              <a:rPr lang="en-US" sz="2400">
                <a:gradFill>
                  <a:gsLst>
                    <a:gs pos="2917">
                      <a:schemeClr val="tx1"/>
                    </a:gs>
                    <a:gs pos="30000">
                      <a:schemeClr val="tx1"/>
                    </a:gs>
                  </a:gsLst>
                  <a:lin ang="5400000" scaled="0"/>
                </a:gradFill>
              </a:rPr>
              <a:t>One stop for resolving your federation issues</a:t>
            </a:r>
            <a:endParaRPr lang="en-US" sz="2400">
              <a:gradFill>
                <a:gsLst>
                  <a:gs pos="2917">
                    <a:schemeClr val="tx1"/>
                  </a:gs>
                  <a:gs pos="30000">
                    <a:schemeClr val="tx1"/>
                  </a:gs>
                </a:gsLst>
                <a:lin ang="5400000" scaled="0"/>
              </a:gradFill>
              <a:cs typeface="Segoe UI Semilight"/>
            </a:endParaRPr>
          </a:p>
          <a:p>
            <a:pPr>
              <a:lnSpc>
                <a:spcPct val="90000"/>
              </a:lnSpc>
              <a:spcAft>
                <a:spcPts val="600"/>
              </a:spcAft>
            </a:pPr>
            <a:endParaRPr lang="en-US" sz="2400">
              <a:gradFill>
                <a:gsLst>
                  <a:gs pos="2917">
                    <a:schemeClr val="tx1"/>
                  </a:gs>
                  <a:gs pos="30000">
                    <a:schemeClr val="tx1"/>
                  </a:gs>
                </a:gsLst>
                <a:lin ang="5400000" scaled="0"/>
              </a:gradFill>
            </a:endParaRPr>
          </a:p>
          <a:p>
            <a:pPr>
              <a:lnSpc>
                <a:spcPct val="90000"/>
              </a:lnSpc>
              <a:spcAft>
                <a:spcPts val="600"/>
              </a:spcAft>
            </a:pPr>
            <a:r>
              <a:rPr lang="en-US" sz="2400">
                <a:gradFill>
                  <a:gsLst>
                    <a:gs pos="2917">
                      <a:schemeClr val="tx1"/>
                    </a:gs>
                    <a:gs pos="30000">
                      <a:schemeClr val="tx1"/>
                    </a:gs>
                  </a:gsLst>
                  <a:lin ang="5400000" scaled="0"/>
                </a:gradFill>
              </a:rPr>
              <a:t>Visit today to try available tools to help you diagnose and troubleshoot AD FS issues</a:t>
            </a:r>
            <a:endParaRPr lang="en-US" sz="2400">
              <a:gradFill>
                <a:gsLst>
                  <a:gs pos="2917">
                    <a:schemeClr val="tx1"/>
                  </a:gs>
                  <a:gs pos="30000">
                    <a:schemeClr val="tx1"/>
                  </a:gs>
                </a:gsLst>
                <a:lin ang="5400000" scaled="0"/>
              </a:gradFill>
              <a:cs typeface="Segoe UI Semilight"/>
            </a:endParaRPr>
          </a:p>
        </p:txBody>
      </p:sp>
    </p:spTree>
    <p:extLst>
      <p:ext uri="{BB962C8B-B14F-4D97-AF65-F5344CB8AC3E}">
        <p14:creationId xmlns:p14="http://schemas.microsoft.com/office/powerpoint/2010/main" val="248327374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4AD4C8E-5CF2-4E70-BEDF-56E0B712E16A}"/>
              </a:ext>
            </a:extLst>
          </p:cNvPr>
          <p:cNvSpPr/>
          <p:nvPr/>
        </p:nvSpPr>
        <p:spPr bwMode="auto">
          <a:xfrm>
            <a:off x="457200" y="2125663"/>
            <a:ext cx="11274162" cy="427169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C0CD5C56-FDB3-46A7-9D5F-D1E971044225}"/>
              </a:ext>
            </a:extLst>
          </p:cNvPr>
          <p:cNvSpPr/>
          <p:nvPr/>
        </p:nvSpPr>
        <p:spPr>
          <a:xfrm flipH="1">
            <a:off x="4825479" y="1605397"/>
            <a:ext cx="2105945" cy="1384774"/>
          </a:xfrm>
          <a:custGeom>
            <a:avLst/>
            <a:gdLst>
              <a:gd name="connsiteX0" fmla="*/ 1627536 w 2877656"/>
              <a:gd name="connsiteY0" fmla="*/ 0 h 1892217"/>
              <a:gd name="connsiteX1" fmla="*/ 2425623 w 2877656"/>
              <a:gd name="connsiteY1" fmla="*/ 798431 h 1892217"/>
              <a:gd name="connsiteX2" fmla="*/ 2424542 w 2877656"/>
              <a:gd name="connsiteY2" fmla="*/ 836297 h 1892217"/>
              <a:gd name="connsiteX3" fmla="*/ 2877656 w 2877656"/>
              <a:gd name="connsiteY3" fmla="*/ 1361011 h 1892217"/>
              <a:gd name="connsiteX4" fmla="*/ 2347761 w 2877656"/>
              <a:gd name="connsiteY4" fmla="*/ 1892217 h 1892217"/>
              <a:gd name="connsiteX5" fmla="*/ 2316400 w 2877656"/>
              <a:gd name="connsiteY5" fmla="*/ 1891135 h 1892217"/>
              <a:gd name="connsiteX6" fmla="*/ 656421 w 2877656"/>
              <a:gd name="connsiteY6" fmla="*/ 1891135 h 1892217"/>
              <a:gd name="connsiteX7" fmla="*/ 621816 w 2877656"/>
              <a:gd name="connsiteY7" fmla="*/ 1892217 h 1892217"/>
              <a:gd name="connsiteX8" fmla="*/ 588292 w 2877656"/>
              <a:gd name="connsiteY8" fmla="*/ 1891135 h 1892217"/>
              <a:gd name="connsiteX9" fmla="*/ 587211 w 2877656"/>
              <a:gd name="connsiteY9" fmla="*/ 1891135 h 1892217"/>
              <a:gd name="connsiteX10" fmla="*/ 0 w 2877656"/>
              <a:gd name="connsiteY10" fmla="*/ 1270133 h 1892217"/>
              <a:gd name="connsiteX11" fmla="*/ 287658 w 2877656"/>
              <a:gd name="connsiteY11" fmla="*/ 745419 h 1892217"/>
              <a:gd name="connsiteX12" fmla="*/ 287658 w 2877656"/>
              <a:gd name="connsiteY12" fmla="*/ 736764 h 1892217"/>
              <a:gd name="connsiteX13" fmla="*/ 732121 w 2877656"/>
              <a:gd name="connsiteY13" fmla="*/ 292109 h 1892217"/>
              <a:gd name="connsiteX14" fmla="*/ 962463 w 2877656"/>
              <a:gd name="connsiteY14" fmla="*/ 357022 h 1892217"/>
              <a:gd name="connsiteX15" fmla="*/ 1627536 w 2877656"/>
              <a:gd name="connsiteY15" fmla="*/ 0 h 189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7656" h="1892217">
                <a:moveTo>
                  <a:pt x="1627536" y="0"/>
                </a:moveTo>
                <a:cubicBezTo>
                  <a:pt x="2067673" y="0"/>
                  <a:pt x="2425623" y="357022"/>
                  <a:pt x="2425623" y="798431"/>
                </a:cubicBezTo>
                <a:cubicBezTo>
                  <a:pt x="2425623" y="810332"/>
                  <a:pt x="2424542" y="823315"/>
                  <a:pt x="2424542" y="836297"/>
                </a:cubicBezTo>
                <a:cubicBezTo>
                  <a:pt x="2680838" y="873081"/>
                  <a:pt x="2877656" y="1093786"/>
                  <a:pt x="2877656" y="1361011"/>
                </a:cubicBezTo>
                <a:cubicBezTo>
                  <a:pt x="2877656" y="1655284"/>
                  <a:pt x="2640825" y="1892217"/>
                  <a:pt x="2347761" y="1892217"/>
                </a:cubicBezTo>
                <a:cubicBezTo>
                  <a:pt x="2336947" y="1892217"/>
                  <a:pt x="2326132" y="1892217"/>
                  <a:pt x="2316400" y="1891135"/>
                </a:cubicBezTo>
                <a:cubicBezTo>
                  <a:pt x="2316400" y="1891135"/>
                  <a:pt x="2316400" y="1891135"/>
                  <a:pt x="656421" y="1891135"/>
                </a:cubicBezTo>
                <a:cubicBezTo>
                  <a:pt x="644526" y="1892217"/>
                  <a:pt x="633712" y="1892217"/>
                  <a:pt x="621816" y="1892217"/>
                </a:cubicBezTo>
                <a:cubicBezTo>
                  <a:pt x="611002" y="1892217"/>
                  <a:pt x="599106" y="1892217"/>
                  <a:pt x="588292" y="1891135"/>
                </a:cubicBezTo>
                <a:cubicBezTo>
                  <a:pt x="588292" y="1891135"/>
                  <a:pt x="588292" y="1891135"/>
                  <a:pt x="587211" y="1891135"/>
                </a:cubicBezTo>
                <a:cubicBezTo>
                  <a:pt x="259541" y="1873825"/>
                  <a:pt x="0" y="1602272"/>
                  <a:pt x="0" y="1270133"/>
                </a:cubicBezTo>
                <a:cubicBezTo>
                  <a:pt x="0" y="1049429"/>
                  <a:pt x="114631" y="855771"/>
                  <a:pt x="287658" y="745419"/>
                </a:cubicBezTo>
                <a:cubicBezTo>
                  <a:pt x="287658" y="742173"/>
                  <a:pt x="287658" y="740009"/>
                  <a:pt x="287658" y="736764"/>
                </a:cubicBezTo>
                <a:cubicBezTo>
                  <a:pt x="287658" y="491176"/>
                  <a:pt x="486639" y="292109"/>
                  <a:pt x="732121" y="292109"/>
                </a:cubicBezTo>
                <a:cubicBezTo>
                  <a:pt x="816472" y="292109"/>
                  <a:pt x="895415" y="315911"/>
                  <a:pt x="962463" y="357022"/>
                </a:cubicBezTo>
                <a:cubicBezTo>
                  <a:pt x="1105210" y="141727"/>
                  <a:pt x="1349611" y="0"/>
                  <a:pt x="1627536" y="0"/>
                </a:cubicBezTo>
                <a:close/>
              </a:path>
            </a:pathLst>
          </a:custGeom>
          <a:blipFill dpi="0" rotWithShape="1">
            <a:blip r:embed="rId3">
              <a:extLst>
                <a:ext uri="{28A0092B-C50C-407E-A947-70E740481C1C}">
                  <a14:useLocalDpi xmlns:a14="http://schemas.microsoft.com/office/drawing/2010/main" val="0"/>
                </a:ext>
              </a:extLst>
            </a:blip>
            <a:srcRect/>
            <a:stretch>
              <a:fillRect/>
            </a:stretch>
          </a:blipFill>
          <a:ln w="12700">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275">
              <a:solidFill>
                <a:schemeClr val="tx1"/>
              </a:solidFill>
            </a:endParaRPr>
          </a:p>
        </p:txBody>
      </p:sp>
      <p:sp>
        <p:nvSpPr>
          <p:cNvPr id="11" name="Title 1">
            <a:extLst>
              <a:ext uri="{FF2B5EF4-FFF2-40B4-BE49-F238E27FC236}">
                <a16:creationId xmlns:a16="http://schemas.microsoft.com/office/drawing/2014/main" id="{027C0B65-FE7F-4EDB-9112-848C2B3E5986}"/>
              </a:ext>
            </a:extLst>
          </p:cNvPr>
          <p:cNvSpPr>
            <a:spLocks noGrp="1"/>
          </p:cNvSpPr>
          <p:nvPr>
            <p:ph type="title"/>
          </p:nvPr>
        </p:nvSpPr>
        <p:spPr>
          <a:xfrm>
            <a:off x="269240" y="289511"/>
            <a:ext cx="11655840" cy="899665"/>
          </a:xfrm>
        </p:spPr>
        <p:txBody>
          <a:bodyPr/>
          <a:lstStyle/>
          <a:p>
            <a:pPr algn="ctr"/>
            <a:r>
              <a:rPr lang="en-US" sz="4000" dirty="0"/>
              <a:t>Pass-Through Authentication (PTA)</a:t>
            </a:r>
            <a:br>
              <a:rPr lang="en-US" sz="4000" dirty="0"/>
            </a:br>
            <a:br>
              <a:rPr lang="en-US" sz="1250" dirty="0"/>
            </a:br>
            <a:r>
              <a:rPr lang="en-US" sz="2400" spc="0" dirty="0">
                <a:solidFill>
                  <a:srgbClr val="353535"/>
                </a:solidFill>
                <a:latin typeface="Segoe UI" panose="020B0502040204020203" pitchFamily="34" charset="0"/>
              </a:rPr>
              <a:t>Identity synchronization + Pass-through authentication with Seamless SSO</a:t>
            </a:r>
          </a:p>
        </p:txBody>
      </p:sp>
      <p:cxnSp>
        <p:nvCxnSpPr>
          <p:cNvPr id="12" name="Straight Arrow Connector 156">
            <a:extLst>
              <a:ext uri="{FF2B5EF4-FFF2-40B4-BE49-F238E27FC236}">
                <a16:creationId xmlns:a16="http://schemas.microsoft.com/office/drawing/2014/main" id="{AF412932-67CE-4FDE-9758-0CC61C8B53F4}"/>
              </a:ext>
            </a:extLst>
          </p:cNvPr>
          <p:cNvCxnSpPr>
            <a:cxnSpLocks/>
          </p:cNvCxnSpPr>
          <p:nvPr/>
        </p:nvCxnSpPr>
        <p:spPr>
          <a:xfrm>
            <a:off x="6890682" y="2732863"/>
            <a:ext cx="2133416" cy="1929189"/>
          </a:xfrm>
          <a:prstGeom prst="curvedConnector2">
            <a:avLst/>
          </a:prstGeom>
          <a:noFill/>
          <a:ln w="15875">
            <a:solidFill>
              <a:schemeClr val="tx1"/>
            </a:solidFill>
            <a:prstDash val="sysDash"/>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Arrow Connector 12">
            <a:extLst>
              <a:ext uri="{FF2B5EF4-FFF2-40B4-BE49-F238E27FC236}">
                <a16:creationId xmlns:a16="http://schemas.microsoft.com/office/drawing/2014/main" id="{9A0FC66C-6739-4806-BF9D-2103B31E3168}"/>
              </a:ext>
            </a:extLst>
          </p:cNvPr>
          <p:cNvCxnSpPr>
            <a:cxnSpLocks/>
          </p:cNvCxnSpPr>
          <p:nvPr/>
        </p:nvCxnSpPr>
        <p:spPr>
          <a:xfrm flipV="1">
            <a:off x="2386083" y="2860778"/>
            <a:ext cx="1545818" cy="423929"/>
          </a:xfrm>
          <a:prstGeom prst="straightConnector1">
            <a:avLst/>
          </a:prstGeom>
          <a:noFill/>
          <a:ln w="15875">
            <a:solidFill>
              <a:schemeClr val="tx1"/>
            </a:solidFill>
            <a:prstDash val="sysDash"/>
            <a:miter lim="800000"/>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sp>
        <p:nvSpPr>
          <p:cNvPr id="14" name="Rectangle 13">
            <a:extLst>
              <a:ext uri="{FF2B5EF4-FFF2-40B4-BE49-F238E27FC236}">
                <a16:creationId xmlns:a16="http://schemas.microsoft.com/office/drawing/2014/main" id="{FB208961-0E87-42A2-92B2-EF93B1129358}"/>
              </a:ext>
            </a:extLst>
          </p:cNvPr>
          <p:cNvSpPr/>
          <p:nvPr/>
        </p:nvSpPr>
        <p:spPr>
          <a:xfrm>
            <a:off x="8679916" y="3196766"/>
            <a:ext cx="1592295" cy="325730"/>
          </a:xfrm>
          <a:prstGeom prst="rect">
            <a:avLst/>
          </a:prstGeom>
          <a:noFill/>
          <a:ln>
            <a:noFill/>
          </a:ln>
        </p:spPr>
        <p:txBody>
          <a:bodyPr wrap="square" lIns="0" tIns="0" rIns="0" bIns="0" anchor="ctr">
            <a:spAutoFit/>
          </a:bodyPr>
          <a:lstStyle/>
          <a:p>
            <a:pPr defTabSz="1218316" fontAlgn="base">
              <a:lnSpc>
                <a:spcPct val="90000"/>
              </a:lnSpc>
              <a:spcBef>
                <a:spcPct val="20000"/>
              </a:spcBef>
              <a:spcAft>
                <a:spcPct val="0"/>
              </a:spcAft>
              <a:buSzPct val="80000"/>
              <a:defRPr/>
            </a:pPr>
            <a:r>
              <a:rPr lang="en-US" sz="1176" kern="0">
                <a:cs typeface="Segoe UI Semibold" panose="020B0702040204020203" pitchFamily="34" charset="0"/>
              </a:rPr>
              <a:t>Identity synchronization using Azure AD Connect</a:t>
            </a:r>
          </a:p>
        </p:txBody>
      </p:sp>
      <p:grpSp>
        <p:nvGrpSpPr>
          <p:cNvPr id="15" name="Group 14">
            <a:extLst>
              <a:ext uri="{FF2B5EF4-FFF2-40B4-BE49-F238E27FC236}">
                <a16:creationId xmlns:a16="http://schemas.microsoft.com/office/drawing/2014/main" id="{4177994F-3823-4BB3-82AF-D2B13335EC8A}"/>
              </a:ext>
            </a:extLst>
          </p:cNvPr>
          <p:cNvGrpSpPr>
            <a:grpSpLocks noChangeAspect="1"/>
          </p:cNvGrpSpPr>
          <p:nvPr/>
        </p:nvGrpSpPr>
        <p:grpSpPr>
          <a:xfrm>
            <a:off x="1843235" y="3467760"/>
            <a:ext cx="436011" cy="203002"/>
            <a:chOff x="-2435740" y="3938475"/>
            <a:chExt cx="1282955" cy="597330"/>
          </a:xfrm>
          <a:solidFill>
            <a:schemeClr val="accent4"/>
          </a:solidFill>
        </p:grpSpPr>
        <p:sp>
          <p:nvSpPr>
            <p:cNvPr id="16" name="Freeform 59">
              <a:extLst>
                <a:ext uri="{FF2B5EF4-FFF2-40B4-BE49-F238E27FC236}">
                  <a16:creationId xmlns:a16="http://schemas.microsoft.com/office/drawing/2014/main" id="{A2940F2D-CC19-4B94-BF48-D1BD261EC9C8}"/>
                </a:ext>
              </a:extLst>
            </p:cNvPr>
            <p:cNvSpPr>
              <a:spLocks noChangeAspect="1" noEditPoints="1"/>
            </p:cNvSpPr>
            <p:nvPr/>
          </p:nvSpPr>
          <p:spPr bwMode="auto">
            <a:xfrm>
              <a:off x="-2435740" y="4349790"/>
              <a:ext cx="274320" cy="127939"/>
            </a:xfrm>
            <a:custGeom>
              <a:avLst/>
              <a:gdLst>
                <a:gd name="T0" fmla="*/ 47 w 48"/>
                <a:gd name="T1" fmla="*/ 9 h 22"/>
                <a:gd name="T2" fmla="*/ 44 w 48"/>
                <a:gd name="T3" fmla="*/ 5 h 22"/>
                <a:gd name="T4" fmla="*/ 21 w 48"/>
                <a:gd name="T5" fmla="*/ 5 h 22"/>
                <a:gd name="T6" fmla="*/ 11 w 48"/>
                <a:gd name="T7" fmla="*/ 0 h 22"/>
                <a:gd name="T8" fmla="*/ 0 w 48"/>
                <a:gd name="T9" fmla="*/ 11 h 22"/>
                <a:gd name="T10" fmla="*/ 11 w 48"/>
                <a:gd name="T11" fmla="*/ 22 h 22"/>
                <a:gd name="T12" fmla="*/ 21 w 48"/>
                <a:gd name="T13" fmla="*/ 16 h 22"/>
                <a:gd name="T14" fmla="*/ 25 w 48"/>
                <a:gd name="T15" fmla="*/ 16 h 22"/>
                <a:gd name="T16" fmla="*/ 29 w 48"/>
                <a:gd name="T17" fmla="*/ 13 h 22"/>
                <a:gd name="T18" fmla="*/ 32 w 48"/>
                <a:gd name="T19" fmla="*/ 16 h 22"/>
                <a:gd name="T20" fmla="*/ 34 w 48"/>
                <a:gd name="T21" fmla="*/ 13 h 22"/>
                <a:gd name="T22" fmla="*/ 37 w 48"/>
                <a:gd name="T23" fmla="*/ 16 h 22"/>
                <a:gd name="T24" fmla="*/ 40 w 48"/>
                <a:gd name="T25" fmla="*/ 13 h 22"/>
                <a:gd name="T26" fmla="*/ 43 w 48"/>
                <a:gd name="T27" fmla="*/ 16 h 22"/>
                <a:gd name="T28" fmla="*/ 43 w 48"/>
                <a:gd name="T29" fmla="*/ 16 h 22"/>
                <a:gd name="T30" fmla="*/ 47 w 48"/>
                <a:gd name="T31" fmla="*/ 11 h 22"/>
                <a:gd name="T32" fmla="*/ 47 w 48"/>
                <a:gd name="T33" fmla="*/ 9 h 22"/>
                <a:gd name="T34" fmla="*/ 6 w 48"/>
                <a:gd name="T35" fmla="*/ 14 h 22"/>
                <a:gd name="T36" fmla="*/ 3 w 48"/>
                <a:gd name="T37" fmla="*/ 11 h 22"/>
                <a:gd name="T38" fmla="*/ 6 w 48"/>
                <a:gd name="T39" fmla="*/ 8 h 22"/>
                <a:gd name="T40" fmla="*/ 9 w 48"/>
                <a:gd name="T41" fmla="*/ 11 h 22"/>
                <a:gd name="T42" fmla="*/ 6 w 48"/>
                <a:gd name="T43"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22">
                  <a:moveTo>
                    <a:pt x="47" y="9"/>
                  </a:moveTo>
                  <a:cubicBezTo>
                    <a:pt x="44" y="5"/>
                    <a:pt x="44" y="5"/>
                    <a:pt x="44" y="5"/>
                  </a:cubicBezTo>
                  <a:cubicBezTo>
                    <a:pt x="21" y="5"/>
                    <a:pt x="21" y="5"/>
                    <a:pt x="21" y="5"/>
                  </a:cubicBezTo>
                  <a:cubicBezTo>
                    <a:pt x="19" y="2"/>
                    <a:pt x="15" y="0"/>
                    <a:pt x="11" y="0"/>
                  </a:cubicBezTo>
                  <a:cubicBezTo>
                    <a:pt x="5" y="0"/>
                    <a:pt x="0" y="5"/>
                    <a:pt x="0" y="11"/>
                  </a:cubicBezTo>
                  <a:cubicBezTo>
                    <a:pt x="0" y="17"/>
                    <a:pt x="5" y="22"/>
                    <a:pt x="11" y="22"/>
                  </a:cubicBezTo>
                  <a:cubicBezTo>
                    <a:pt x="15" y="22"/>
                    <a:pt x="19" y="20"/>
                    <a:pt x="21" y="16"/>
                  </a:cubicBezTo>
                  <a:cubicBezTo>
                    <a:pt x="25" y="16"/>
                    <a:pt x="25" y="16"/>
                    <a:pt x="25" y="16"/>
                  </a:cubicBezTo>
                  <a:cubicBezTo>
                    <a:pt x="29" y="13"/>
                    <a:pt x="29" y="13"/>
                    <a:pt x="29" y="13"/>
                  </a:cubicBezTo>
                  <a:cubicBezTo>
                    <a:pt x="32" y="16"/>
                    <a:pt x="32" y="16"/>
                    <a:pt x="32" y="16"/>
                  </a:cubicBezTo>
                  <a:cubicBezTo>
                    <a:pt x="34" y="13"/>
                    <a:pt x="34" y="13"/>
                    <a:pt x="34" y="13"/>
                  </a:cubicBezTo>
                  <a:cubicBezTo>
                    <a:pt x="37" y="16"/>
                    <a:pt x="37" y="16"/>
                    <a:pt x="37" y="16"/>
                  </a:cubicBezTo>
                  <a:cubicBezTo>
                    <a:pt x="40" y="13"/>
                    <a:pt x="40" y="13"/>
                    <a:pt x="40" y="13"/>
                  </a:cubicBezTo>
                  <a:cubicBezTo>
                    <a:pt x="43" y="16"/>
                    <a:pt x="43" y="16"/>
                    <a:pt x="43" y="16"/>
                  </a:cubicBezTo>
                  <a:cubicBezTo>
                    <a:pt x="43" y="16"/>
                    <a:pt x="43" y="16"/>
                    <a:pt x="43" y="16"/>
                  </a:cubicBezTo>
                  <a:cubicBezTo>
                    <a:pt x="47" y="11"/>
                    <a:pt x="47" y="11"/>
                    <a:pt x="47" y="11"/>
                  </a:cubicBezTo>
                  <a:cubicBezTo>
                    <a:pt x="48" y="10"/>
                    <a:pt x="48" y="10"/>
                    <a:pt x="47" y="9"/>
                  </a:cubicBezTo>
                  <a:close/>
                  <a:moveTo>
                    <a:pt x="6" y="14"/>
                  </a:moveTo>
                  <a:cubicBezTo>
                    <a:pt x="4" y="14"/>
                    <a:pt x="3" y="12"/>
                    <a:pt x="3" y="11"/>
                  </a:cubicBezTo>
                  <a:cubicBezTo>
                    <a:pt x="3" y="9"/>
                    <a:pt x="4" y="8"/>
                    <a:pt x="6" y="8"/>
                  </a:cubicBezTo>
                  <a:cubicBezTo>
                    <a:pt x="8" y="8"/>
                    <a:pt x="9" y="9"/>
                    <a:pt x="9" y="11"/>
                  </a:cubicBezTo>
                  <a:cubicBezTo>
                    <a:pt x="9" y="12"/>
                    <a:pt x="8" y="14"/>
                    <a:pt x="6" y="14"/>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endParaRPr lang="en-US" sz="2745" kern="0" spc="-69">
                <a:solidFill>
                  <a:schemeClr val="accent1"/>
                </a:solidFill>
              </a:endParaRPr>
            </a:p>
          </p:txBody>
        </p:sp>
        <p:sp>
          <p:nvSpPr>
            <p:cNvPr id="17" name="Freeform 60">
              <a:extLst>
                <a:ext uri="{FF2B5EF4-FFF2-40B4-BE49-F238E27FC236}">
                  <a16:creationId xmlns:a16="http://schemas.microsoft.com/office/drawing/2014/main" id="{2113916E-0F8E-439B-81A4-D6E2F2954BC6}"/>
                </a:ext>
              </a:extLst>
            </p:cNvPr>
            <p:cNvSpPr>
              <a:spLocks/>
            </p:cNvSpPr>
            <p:nvPr/>
          </p:nvSpPr>
          <p:spPr bwMode="auto">
            <a:xfrm>
              <a:off x="-2416337" y="3940934"/>
              <a:ext cx="235514" cy="239175"/>
            </a:xfrm>
            <a:custGeom>
              <a:avLst/>
              <a:gdLst>
                <a:gd name="T0" fmla="*/ 34 w 39"/>
                <a:gd name="T1" fmla="*/ 29 h 39"/>
                <a:gd name="T2" fmla="*/ 26 w 39"/>
                <a:gd name="T3" fmla="*/ 22 h 39"/>
                <a:gd name="T4" fmla="*/ 20 w 39"/>
                <a:gd name="T5" fmla="*/ 0 h 39"/>
                <a:gd name="T6" fmla="*/ 13 w 39"/>
                <a:gd name="T7" fmla="*/ 22 h 39"/>
                <a:gd name="T8" fmla="*/ 5 w 39"/>
                <a:gd name="T9" fmla="*/ 29 h 39"/>
                <a:gd name="T10" fmla="*/ 0 w 39"/>
                <a:gd name="T11" fmla="*/ 39 h 39"/>
                <a:gd name="T12" fmla="*/ 39 w 39"/>
                <a:gd name="T13" fmla="*/ 39 h 39"/>
                <a:gd name="T14" fmla="*/ 34 w 39"/>
                <a:gd name="T15" fmla="*/ 2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9">
                  <a:moveTo>
                    <a:pt x="34" y="29"/>
                  </a:moveTo>
                  <a:cubicBezTo>
                    <a:pt x="28" y="28"/>
                    <a:pt x="23" y="27"/>
                    <a:pt x="26" y="22"/>
                  </a:cubicBezTo>
                  <a:cubicBezTo>
                    <a:pt x="33" y="8"/>
                    <a:pt x="28" y="0"/>
                    <a:pt x="20" y="0"/>
                  </a:cubicBezTo>
                  <a:cubicBezTo>
                    <a:pt x="11" y="0"/>
                    <a:pt x="6" y="8"/>
                    <a:pt x="13" y="22"/>
                  </a:cubicBezTo>
                  <a:cubicBezTo>
                    <a:pt x="16" y="27"/>
                    <a:pt x="11" y="28"/>
                    <a:pt x="5" y="29"/>
                  </a:cubicBezTo>
                  <a:cubicBezTo>
                    <a:pt x="0" y="31"/>
                    <a:pt x="0" y="33"/>
                    <a:pt x="0" y="39"/>
                  </a:cubicBezTo>
                  <a:cubicBezTo>
                    <a:pt x="39" y="39"/>
                    <a:pt x="39" y="39"/>
                    <a:pt x="39" y="39"/>
                  </a:cubicBezTo>
                  <a:cubicBezTo>
                    <a:pt x="39" y="33"/>
                    <a:pt x="39" y="31"/>
                    <a:pt x="34" y="29"/>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endParaRPr lang="en-US" sz="2745" kern="0" spc="-69">
                <a:solidFill>
                  <a:schemeClr val="accent1"/>
                </a:solidFill>
              </a:endParaRPr>
            </a:p>
          </p:txBody>
        </p:sp>
        <p:sp>
          <p:nvSpPr>
            <p:cNvPr id="18" name="Freeform: Shape 17">
              <a:extLst>
                <a:ext uri="{FF2B5EF4-FFF2-40B4-BE49-F238E27FC236}">
                  <a16:creationId xmlns:a16="http://schemas.microsoft.com/office/drawing/2014/main" id="{46AC1AC9-F480-48E3-8020-EB144E6A40DC}"/>
                </a:ext>
              </a:extLst>
            </p:cNvPr>
            <p:cNvSpPr>
              <a:spLocks noChangeArrowheads="1"/>
            </p:cNvSpPr>
            <p:nvPr/>
          </p:nvSpPr>
          <p:spPr bwMode="auto">
            <a:xfrm>
              <a:off x="-2117244" y="4291713"/>
              <a:ext cx="964459" cy="244092"/>
            </a:xfrm>
            <a:custGeom>
              <a:avLst/>
              <a:gdLst>
                <a:gd name="connsiteX0" fmla="*/ 814493 w 964459"/>
                <a:gd name="connsiteY0" fmla="*/ 86821 h 244092"/>
                <a:gd name="connsiteX1" fmla="*/ 777917 w 964459"/>
                <a:gd name="connsiteY1" fmla="*/ 122046 h 244092"/>
                <a:gd name="connsiteX2" fmla="*/ 814493 w 964459"/>
                <a:gd name="connsiteY2" fmla="*/ 157271 h 244092"/>
                <a:gd name="connsiteX3" fmla="*/ 851069 w 964459"/>
                <a:gd name="connsiteY3" fmla="*/ 122046 h 244092"/>
                <a:gd name="connsiteX4" fmla="*/ 814493 w 964459"/>
                <a:gd name="connsiteY4" fmla="*/ 86821 h 244092"/>
                <a:gd name="connsiteX5" fmla="*/ 686493 w 964459"/>
                <a:gd name="connsiteY5" fmla="*/ 86821 h 244092"/>
                <a:gd name="connsiteX6" fmla="*/ 649917 w 964459"/>
                <a:gd name="connsiteY6" fmla="*/ 122046 h 244092"/>
                <a:gd name="connsiteX7" fmla="*/ 686493 w 964459"/>
                <a:gd name="connsiteY7" fmla="*/ 157271 h 244092"/>
                <a:gd name="connsiteX8" fmla="*/ 723069 w 964459"/>
                <a:gd name="connsiteY8" fmla="*/ 122046 h 244092"/>
                <a:gd name="connsiteX9" fmla="*/ 686493 w 964459"/>
                <a:gd name="connsiteY9" fmla="*/ 86821 h 244092"/>
                <a:gd name="connsiteX10" fmla="*/ 553533 w 964459"/>
                <a:gd name="connsiteY10" fmla="*/ 86821 h 244092"/>
                <a:gd name="connsiteX11" fmla="*/ 516957 w 964459"/>
                <a:gd name="connsiteY11" fmla="*/ 122046 h 244092"/>
                <a:gd name="connsiteX12" fmla="*/ 553533 w 964459"/>
                <a:gd name="connsiteY12" fmla="*/ 157271 h 244092"/>
                <a:gd name="connsiteX13" fmla="*/ 590109 w 964459"/>
                <a:gd name="connsiteY13" fmla="*/ 122046 h 244092"/>
                <a:gd name="connsiteX14" fmla="*/ 553533 w 964459"/>
                <a:gd name="connsiteY14" fmla="*/ 86821 h 244092"/>
                <a:gd name="connsiteX15" fmla="*/ 425534 w 964459"/>
                <a:gd name="connsiteY15" fmla="*/ 86821 h 244092"/>
                <a:gd name="connsiteX16" fmla="*/ 388958 w 964459"/>
                <a:gd name="connsiteY16" fmla="*/ 122046 h 244092"/>
                <a:gd name="connsiteX17" fmla="*/ 425534 w 964459"/>
                <a:gd name="connsiteY17" fmla="*/ 157271 h 244092"/>
                <a:gd name="connsiteX18" fmla="*/ 462110 w 964459"/>
                <a:gd name="connsiteY18" fmla="*/ 122046 h 244092"/>
                <a:gd name="connsiteX19" fmla="*/ 425534 w 964459"/>
                <a:gd name="connsiteY19" fmla="*/ 86821 h 244092"/>
                <a:gd name="connsiteX20" fmla="*/ 297534 w 964459"/>
                <a:gd name="connsiteY20" fmla="*/ 86821 h 244092"/>
                <a:gd name="connsiteX21" fmla="*/ 260958 w 964459"/>
                <a:gd name="connsiteY21" fmla="*/ 122046 h 244092"/>
                <a:gd name="connsiteX22" fmla="*/ 297534 w 964459"/>
                <a:gd name="connsiteY22" fmla="*/ 157271 h 244092"/>
                <a:gd name="connsiteX23" fmla="*/ 334110 w 964459"/>
                <a:gd name="connsiteY23" fmla="*/ 122046 h 244092"/>
                <a:gd name="connsiteX24" fmla="*/ 297534 w 964459"/>
                <a:gd name="connsiteY24" fmla="*/ 86821 h 244092"/>
                <a:gd name="connsiteX25" fmla="*/ 169535 w 964459"/>
                <a:gd name="connsiteY25" fmla="*/ 86821 h 244092"/>
                <a:gd name="connsiteX26" fmla="*/ 132959 w 964459"/>
                <a:gd name="connsiteY26" fmla="*/ 122046 h 244092"/>
                <a:gd name="connsiteX27" fmla="*/ 169535 w 964459"/>
                <a:gd name="connsiteY27" fmla="*/ 157271 h 244092"/>
                <a:gd name="connsiteX28" fmla="*/ 206111 w 964459"/>
                <a:gd name="connsiteY28" fmla="*/ 122046 h 244092"/>
                <a:gd name="connsiteX29" fmla="*/ 169535 w 964459"/>
                <a:gd name="connsiteY29" fmla="*/ 86821 h 244092"/>
                <a:gd name="connsiteX30" fmla="*/ 0 w 964459"/>
                <a:gd name="connsiteY30" fmla="*/ 0 h 244092"/>
                <a:gd name="connsiteX31" fmla="*/ 964459 w 964459"/>
                <a:gd name="connsiteY31" fmla="*/ 0 h 244092"/>
                <a:gd name="connsiteX32" fmla="*/ 964459 w 964459"/>
                <a:gd name="connsiteY32" fmla="*/ 244092 h 244092"/>
                <a:gd name="connsiteX33" fmla="*/ 0 w 964459"/>
                <a:gd name="connsiteY33" fmla="*/ 244092 h 244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64459" h="244092">
                  <a:moveTo>
                    <a:pt x="814493" y="86821"/>
                  </a:moveTo>
                  <a:cubicBezTo>
                    <a:pt x="794293" y="86821"/>
                    <a:pt x="777917" y="102592"/>
                    <a:pt x="777917" y="122046"/>
                  </a:cubicBezTo>
                  <a:cubicBezTo>
                    <a:pt x="777917" y="141500"/>
                    <a:pt x="794293" y="157271"/>
                    <a:pt x="814493" y="157271"/>
                  </a:cubicBezTo>
                  <a:cubicBezTo>
                    <a:pt x="834693" y="157271"/>
                    <a:pt x="851069" y="141500"/>
                    <a:pt x="851069" y="122046"/>
                  </a:cubicBezTo>
                  <a:cubicBezTo>
                    <a:pt x="851069" y="102592"/>
                    <a:pt x="834693" y="86821"/>
                    <a:pt x="814493" y="86821"/>
                  </a:cubicBezTo>
                  <a:close/>
                  <a:moveTo>
                    <a:pt x="686493" y="86821"/>
                  </a:moveTo>
                  <a:cubicBezTo>
                    <a:pt x="666293" y="86821"/>
                    <a:pt x="649917" y="102592"/>
                    <a:pt x="649917" y="122046"/>
                  </a:cubicBezTo>
                  <a:cubicBezTo>
                    <a:pt x="649917" y="141500"/>
                    <a:pt x="666293" y="157271"/>
                    <a:pt x="686493" y="157271"/>
                  </a:cubicBezTo>
                  <a:cubicBezTo>
                    <a:pt x="706693" y="157271"/>
                    <a:pt x="723069" y="141500"/>
                    <a:pt x="723069" y="122046"/>
                  </a:cubicBezTo>
                  <a:cubicBezTo>
                    <a:pt x="723069" y="102592"/>
                    <a:pt x="706693" y="86821"/>
                    <a:pt x="686493" y="86821"/>
                  </a:cubicBezTo>
                  <a:close/>
                  <a:moveTo>
                    <a:pt x="553533" y="86821"/>
                  </a:moveTo>
                  <a:cubicBezTo>
                    <a:pt x="533333" y="86821"/>
                    <a:pt x="516957" y="102592"/>
                    <a:pt x="516957" y="122046"/>
                  </a:cubicBezTo>
                  <a:cubicBezTo>
                    <a:pt x="516957" y="141500"/>
                    <a:pt x="533333" y="157271"/>
                    <a:pt x="553533" y="157271"/>
                  </a:cubicBezTo>
                  <a:cubicBezTo>
                    <a:pt x="573733" y="157271"/>
                    <a:pt x="590109" y="141500"/>
                    <a:pt x="590109" y="122046"/>
                  </a:cubicBezTo>
                  <a:cubicBezTo>
                    <a:pt x="590109" y="102592"/>
                    <a:pt x="573733" y="86821"/>
                    <a:pt x="553533" y="86821"/>
                  </a:cubicBezTo>
                  <a:close/>
                  <a:moveTo>
                    <a:pt x="425534" y="86821"/>
                  </a:moveTo>
                  <a:cubicBezTo>
                    <a:pt x="405334" y="86821"/>
                    <a:pt x="388958" y="102592"/>
                    <a:pt x="388958" y="122046"/>
                  </a:cubicBezTo>
                  <a:cubicBezTo>
                    <a:pt x="388958" y="141500"/>
                    <a:pt x="405334" y="157271"/>
                    <a:pt x="425534" y="157271"/>
                  </a:cubicBezTo>
                  <a:cubicBezTo>
                    <a:pt x="445734" y="157271"/>
                    <a:pt x="462110" y="141500"/>
                    <a:pt x="462110" y="122046"/>
                  </a:cubicBezTo>
                  <a:cubicBezTo>
                    <a:pt x="462110" y="102592"/>
                    <a:pt x="445734" y="86821"/>
                    <a:pt x="425534" y="86821"/>
                  </a:cubicBezTo>
                  <a:close/>
                  <a:moveTo>
                    <a:pt x="297534" y="86821"/>
                  </a:moveTo>
                  <a:cubicBezTo>
                    <a:pt x="277334" y="86821"/>
                    <a:pt x="260958" y="102592"/>
                    <a:pt x="260958" y="122046"/>
                  </a:cubicBezTo>
                  <a:cubicBezTo>
                    <a:pt x="260958" y="141500"/>
                    <a:pt x="277334" y="157271"/>
                    <a:pt x="297534" y="157271"/>
                  </a:cubicBezTo>
                  <a:cubicBezTo>
                    <a:pt x="317734" y="157271"/>
                    <a:pt x="334110" y="141500"/>
                    <a:pt x="334110" y="122046"/>
                  </a:cubicBezTo>
                  <a:cubicBezTo>
                    <a:pt x="334110" y="102592"/>
                    <a:pt x="317734" y="86821"/>
                    <a:pt x="297534" y="86821"/>
                  </a:cubicBezTo>
                  <a:close/>
                  <a:moveTo>
                    <a:pt x="169535" y="86821"/>
                  </a:moveTo>
                  <a:cubicBezTo>
                    <a:pt x="149335" y="86821"/>
                    <a:pt x="132959" y="102592"/>
                    <a:pt x="132959" y="122046"/>
                  </a:cubicBezTo>
                  <a:cubicBezTo>
                    <a:pt x="132959" y="141500"/>
                    <a:pt x="149335" y="157271"/>
                    <a:pt x="169535" y="157271"/>
                  </a:cubicBezTo>
                  <a:cubicBezTo>
                    <a:pt x="189735" y="157271"/>
                    <a:pt x="206111" y="141500"/>
                    <a:pt x="206111" y="122046"/>
                  </a:cubicBezTo>
                  <a:cubicBezTo>
                    <a:pt x="206111" y="102592"/>
                    <a:pt x="189735" y="86821"/>
                    <a:pt x="169535" y="86821"/>
                  </a:cubicBezTo>
                  <a:close/>
                  <a:moveTo>
                    <a:pt x="0" y="0"/>
                  </a:moveTo>
                  <a:lnTo>
                    <a:pt x="964459" y="0"/>
                  </a:lnTo>
                  <a:lnTo>
                    <a:pt x="964459" y="244092"/>
                  </a:lnTo>
                  <a:lnTo>
                    <a:pt x="0" y="244092"/>
                  </a:ln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endParaRPr lang="en-US" sz="2745" kern="0" spc="-69">
                <a:solidFill>
                  <a:schemeClr val="accent1"/>
                </a:solidFill>
              </a:endParaRPr>
            </a:p>
          </p:txBody>
        </p:sp>
        <p:sp>
          <p:nvSpPr>
            <p:cNvPr id="19" name="Freeform: Shape 18">
              <a:extLst>
                <a:ext uri="{FF2B5EF4-FFF2-40B4-BE49-F238E27FC236}">
                  <a16:creationId xmlns:a16="http://schemas.microsoft.com/office/drawing/2014/main" id="{296AB2EE-9DC6-4F3E-982C-ADCE64B60794}"/>
                </a:ext>
              </a:extLst>
            </p:cNvPr>
            <p:cNvSpPr>
              <a:spLocks noChangeArrowheads="1"/>
            </p:cNvSpPr>
            <p:nvPr/>
          </p:nvSpPr>
          <p:spPr bwMode="auto">
            <a:xfrm>
              <a:off x="-2117244" y="3938475"/>
              <a:ext cx="964459" cy="244092"/>
            </a:xfrm>
            <a:custGeom>
              <a:avLst/>
              <a:gdLst>
                <a:gd name="connsiteX0" fmla="*/ 814493 w 964459"/>
                <a:gd name="connsiteY0" fmla="*/ 86821 h 244092"/>
                <a:gd name="connsiteX1" fmla="*/ 777917 w 964459"/>
                <a:gd name="connsiteY1" fmla="*/ 122046 h 244092"/>
                <a:gd name="connsiteX2" fmla="*/ 814493 w 964459"/>
                <a:gd name="connsiteY2" fmla="*/ 157271 h 244092"/>
                <a:gd name="connsiteX3" fmla="*/ 851069 w 964459"/>
                <a:gd name="connsiteY3" fmla="*/ 122046 h 244092"/>
                <a:gd name="connsiteX4" fmla="*/ 814493 w 964459"/>
                <a:gd name="connsiteY4" fmla="*/ 86821 h 244092"/>
                <a:gd name="connsiteX5" fmla="*/ 685503 w 964459"/>
                <a:gd name="connsiteY5" fmla="*/ 86821 h 244092"/>
                <a:gd name="connsiteX6" fmla="*/ 648927 w 964459"/>
                <a:gd name="connsiteY6" fmla="*/ 122046 h 244092"/>
                <a:gd name="connsiteX7" fmla="*/ 685503 w 964459"/>
                <a:gd name="connsiteY7" fmla="*/ 157271 h 244092"/>
                <a:gd name="connsiteX8" fmla="*/ 722079 w 964459"/>
                <a:gd name="connsiteY8" fmla="*/ 122046 h 244092"/>
                <a:gd name="connsiteX9" fmla="*/ 685503 w 964459"/>
                <a:gd name="connsiteY9" fmla="*/ 86821 h 244092"/>
                <a:gd name="connsiteX10" fmla="*/ 556511 w 964459"/>
                <a:gd name="connsiteY10" fmla="*/ 86821 h 244092"/>
                <a:gd name="connsiteX11" fmla="*/ 519935 w 964459"/>
                <a:gd name="connsiteY11" fmla="*/ 122046 h 244092"/>
                <a:gd name="connsiteX12" fmla="*/ 556511 w 964459"/>
                <a:gd name="connsiteY12" fmla="*/ 157271 h 244092"/>
                <a:gd name="connsiteX13" fmla="*/ 593087 w 964459"/>
                <a:gd name="connsiteY13" fmla="*/ 122046 h 244092"/>
                <a:gd name="connsiteX14" fmla="*/ 556511 w 964459"/>
                <a:gd name="connsiteY14" fmla="*/ 86821 h 244092"/>
                <a:gd name="connsiteX15" fmla="*/ 427519 w 964459"/>
                <a:gd name="connsiteY15" fmla="*/ 86821 h 244092"/>
                <a:gd name="connsiteX16" fmla="*/ 390943 w 964459"/>
                <a:gd name="connsiteY16" fmla="*/ 122046 h 244092"/>
                <a:gd name="connsiteX17" fmla="*/ 427519 w 964459"/>
                <a:gd name="connsiteY17" fmla="*/ 157271 h 244092"/>
                <a:gd name="connsiteX18" fmla="*/ 464095 w 964459"/>
                <a:gd name="connsiteY18" fmla="*/ 122046 h 244092"/>
                <a:gd name="connsiteX19" fmla="*/ 427519 w 964459"/>
                <a:gd name="connsiteY19" fmla="*/ 86821 h 244092"/>
                <a:gd name="connsiteX20" fmla="*/ 298527 w 964459"/>
                <a:gd name="connsiteY20" fmla="*/ 86821 h 244092"/>
                <a:gd name="connsiteX21" fmla="*/ 261951 w 964459"/>
                <a:gd name="connsiteY21" fmla="*/ 122046 h 244092"/>
                <a:gd name="connsiteX22" fmla="*/ 298527 w 964459"/>
                <a:gd name="connsiteY22" fmla="*/ 157271 h 244092"/>
                <a:gd name="connsiteX23" fmla="*/ 335103 w 964459"/>
                <a:gd name="connsiteY23" fmla="*/ 122046 h 244092"/>
                <a:gd name="connsiteX24" fmla="*/ 298527 w 964459"/>
                <a:gd name="connsiteY24" fmla="*/ 86821 h 244092"/>
                <a:gd name="connsiteX25" fmla="*/ 169535 w 964459"/>
                <a:gd name="connsiteY25" fmla="*/ 86821 h 244092"/>
                <a:gd name="connsiteX26" fmla="*/ 132959 w 964459"/>
                <a:gd name="connsiteY26" fmla="*/ 122046 h 244092"/>
                <a:gd name="connsiteX27" fmla="*/ 169535 w 964459"/>
                <a:gd name="connsiteY27" fmla="*/ 157271 h 244092"/>
                <a:gd name="connsiteX28" fmla="*/ 206111 w 964459"/>
                <a:gd name="connsiteY28" fmla="*/ 122046 h 244092"/>
                <a:gd name="connsiteX29" fmla="*/ 169535 w 964459"/>
                <a:gd name="connsiteY29" fmla="*/ 86821 h 244092"/>
                <a:gd name="connsiteX30" fmla="*/ 0 w 964459"/>
                <a:gd name="connsiteY30" fmla="*/ 0 h 244092"/>
                <a:gd name="connsiteX31" fmla="*/ 964459 w 964459"/>
                <a:gd name="connsiteY31" fmla="*/ 0 h 244092"/>
                <a:gd name="connsiteX32" fmla="*/ 964459 w 964459"/>
                <a:gd name="connsiteY32" fmla="*/ 244092 h 244092"/>
                <a:gd name="connsiteX33" fmla="*/ 0 w 964459"/>
                <a:gd name="connsiteY33" fmla="*/ 244092 h 244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64459" h="244092">
                  <a:moveTo>
                    <a:pt x="814493" y="86821"/>
                  </a:moveTo>
                  <a:cubicBezTo>
                    <a:pt x="794293" y="86821"/>
                    <a:pt x="777917" y="102592"/>
                    <a:pt x="777917" y="122046"/>
                  </a:cubicBezTo>
                  <a:cubicBezTo>
                    <a:pt x="777917" y="141500"/>
                    <a:pt x="794293" y="157271"/>
                    <a:pt x="814493" y="157271"/>
                  </a:cubicBezTo>
                  <a:cubicBezTo>
                    <a:pt x="834693" y="157271"/>
                    <a:pt x="851069" y="141500"/>
                    <a:pt x="851069" y="122046"/>
                  </a:cubicBezTo>
                  <a:cubicBezTo>
                    <a:pt x="851069" y="102592"/>
                    <a:pt x="834693" y="86821"/>
                    <a:pt x="814493" y="86821"/>
                  </a:cubicBezTo>
                  <a:close/>
                  <a:moveTo>
                    <a:pt x="685503" y="86821"/>
                  </a:moveTo>
                  <a:cubicBezTo>
                    <a:pt x="665303" y="86821"/>
                    <a:pt x="648927" y="102592"/>
                    <a:pt x="648927" y="122046"/>
                  </a:cubicBezTo>
                  <a:cubicBezTo>
                    <a:pt x="648927" y="141500"/>
                    <a:pt x="665303" y="157271"/>
                    <a:pt x="685503" y="157271"/>
                  </a:cubicBezTo>
                  <a:cubicBezTo>
                    <a:pt x="705703" y="157271"/>
                    <a:pt x="722079" y="141500"/>
                    <a:pt x="722079" y="122046"/>
                  </a:cubicBezTo>
                  <a:cubicBezTo>
                    <a:pt x="722079" y="102592"/>
                    <a:pt x="705703" y="86821"/>
                    <a:pt x="685503" y="86821"/>
                  </a:cubicBezTo>
                  <a:close/>
                  <a:moveTo>
                    <a:pt x="556511" y="86821"/>
                  </a:moveTo>
                  <a:cubicBezTo>
                    <a:pt x="536311" y="86821"/>
                    <a:pt x="519935" y="102592"/>
                    <a:pt x="519935" y="122046"/>
                  </a:cubicBezTo>
                  <a:cubicBezTo>
                    <a:pt x="519935" y="141500"/>
                    <a:pt x="536311" y="157271"/>
                    <a:pt x="556511" y="157271"/>
                  </a:cubicBezTo>
                  <a:cubicBezTo>
                    <a:pt x="576711" y="157271"/>
                    <a:pt x="593087" y="141500"/>
                    <a:pt x="593087" y="122046"/>
                  </a:cubicBezTo>
                  <a:cubicBezTo>
                    <a:pt x="593087" y="102592"/>
                    <a:pt x="576711" y="86821"/>
                    <a:pt x="556511" y="86821"/>
                  </a:cubicBezTo>
                  <a:close/>
                  <a:moveTo>
                    <a:pt x="427519" y="86821"/>
                  </a:moveTo>
                  <a:cubicBezTo>
                    <a:pt x="407319" y="86821"/>
                    <a:pt x="390943" y="102592"/>
                    <a:pt x="390943" y="122046"/>
                  </a:cubicBezTo>
                  <a:cubicBezTo>
                    <a:pt x="390943" y="141500"/>
                    <a:pt x="407319" y="157271"/>
                    <a:pt x="427519" y="157271"/>
                  </a:cubicBezTo>
                  <a:cubicBezTo>
                    <a:pt x="447719" y="157271"/>
                    <a:pt x="464095" y="141500"/>
                    <a:pt x="464095" y="122046"/>
                  </a:cubicBezTo>
                  <a:cubicBezTo>
                    <a:pt x="464095" y="102592"/>
                    <a:pt x="447719" y="86821"/>
                    <a:pt x="427519" y="86821"/>
                  </a:cubicBezTo>
                  <a:close/>
                  <a:moveTo>
                    <a:pt x="298527" y="86821"/>
                  </a:moveTo>
                  <a:cubicBezTo>
                    <a:pt x="278327" y="86821"/>
                    <a:pt x="261951" y="102592"/>
                    <a:pt x="261951" y="122046"/>
                  </a:cubicBezTo>
                  <a:cubicBezTo>
                    <a:pt x="261951" y="141500"/>
                    <a:pt x="278327" y="157271"/>
                    <a:pt x="298527" y="157271"/>
                  </a:cubicBezTo>
                  <a:cubicBezTo>
                    <a:pt x="318727" y="157271"/>
                    <a:pt x="335103" y="141500"/>
                    <a:pt x="335103" y="122046"/>
                  </a:cubicBezTo>
                  <a:cubicBezTo>
                    <a:pt x="335103" y="102592"/>
                    <a:pt x="318727" y="86821"/>
                    <a:pt x="298527" y="86821"/>
                  </a:cubicBezTo>
                  <a:close/>
                  <a:moveTo>
                    <a:pt x="169535" y="86821"/>
                  </a:moveTo>
                  <a:cubicBezTo>
                    <a:pt x="149335" y="86821"/>
                    <a:pt x="132959" y="102592"/>
                    <a:pt x="132959" y="122046"/>
                  </a:cubicBezTo>
                  <a:cubicBezTo>
                    <a:pt x="132959" y="141500"/>
                    <a:pt x="149335" y="157271"/>
                    <a:pt x="169535" y="157271"/>
                  </a:cubicBezTo>
                  <a:cubicBezTo>
                    <a:pt x="189735" y="157271"/>
                    <a:pt x="206111" y="141500"/>
                    <a:pt x="206111" y="122046"/>
                  </a:cubicBezTo>
                  <a:cubicBezTo>
                    <a:pt x="206111" y="102592"/>
                    <a:pt x="189735" y="86821"/>
                    <a:pt x="169535" y="86821"/>
                  </a:cubicBezTo>
                  <a:close/>
                  <a:moveTo>
                    <a:pt x="0" y="0"/>
                  </a:moveTo>
                  <a:lnTo>
                    <a:pt x="964459" y="0"/>
                  </a:lnTo>
                  <a:lnTo>
                    <a:pt x="964459" y="244092"/>
                  </a:lnTo>
                  <a:lnTo>
                    <a:pt x="0" y="244092"/>
                  </a:ln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endParaRPr lang="en-US" sz="2745" kern="0" spc="-69">
                <a:solidFill>
                  <a:schemeClr val="accent1"/>
                </a:solidFill>
              </a:endParaRPr>
            </a:p>
          </p:txBody>
        </p:sp>
      </p:grpSp>
      <p:grpSp>
        <p:nvGrpSpPr>
          <p:cNvPr id="20" name="Group 19">
            <a:extLst>
              <a:ext uri="{FF2B5EF4-FFF2-40B4-BE49-F238E27FC236}">
                <a16:creationId xmlns:a16="http://schemas.microsoft.com/office/drawing/2014/main" id="{5263F623-A800-4F71-8C5B-782E7F828E3A}"/>
              </a:ext>
            </a:extLst>
          </p:cNvPr>
          <p:cNvGrpSpPr/>
          <p:nvPr/>
        </p:nvGrpSpPr>
        <p:grpSpPr>
          <a:xfrm>
            <a:off x="7459558" y="4662052"/>
            <a:ext cx="3129080" cy="1792666"/>
            <a:chOff x="7985545" y="4468077"/>
            <a:chExt cx="3129080" cy="1792666"/>
          </a:xfrm>
        </p:grpSpPr>
        <p:sp>
          <p:nvSpPr>
            <p:cNvPr id="21" name="Freeform 280">
              <a:extLst>
                <a:ext uri="{FF2B5EF4-FFF2-40B4-BE49-F238E27FC236}">
                  <a16:creationId xmlns:a16="http://schemas.microsoft.com/office/drawing/2014/main" id="{9EE83B37-CC41-4AA8-8296-B8CC6B8FF189}"/>
                </a:ext>
              </a:extLst>
            </p:cNvPr>
            <p:cNvSpPr/>
            <p:nvPr/>
          </p:nvSpPr>
          <p:spPr bwMode="auto">
            <a:xfrm>
              <a:off x="7985545" y="4468077"/>
              <a:ext cx="3129080" cy="1792666"/>
            </a:xfrm>
            <a:prstGeom prst="triangle">
              <a:avLst/>
            </a:prstGeom>
            <a:solidFill>
              <a:srgbClr val="F2F2F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cs typeface="Segoe UI" pitchFamily="34" charset="0"/>
              </a:endParaRPr>
            </a:p>
          </p:txBody>
        </p:sp>
        <p:sp>
          <p:nvSpPr>
            <p:cNvPr id="22" name="Rectangle 21">
              <a:extLst>
                <a:ext uri="{FF2B5EF4-FFF2-40B4-BE49-F238E27FC236}">
                  <a16:creationId xmlns:a16="http://schemas.microsoft.com/office/drawing/2014/main" id="{71C670BE-FE6C-49D8-A0B9-4E357F212D83}"/>
                </a:ext>
              </a:extLst>
            </p:cNvPr>
            <p:cNvSpPr/>
            <p:nvPr/>
          </p:nvSpPr>
          <p:spPr bwMode="auto">
            <a:xfrm>
              <a:off x="9497910" y="5128798"/>
              <a:ext cx="1341506" cy="1120654"/>
            </a:xfrm>
            <a:prstGeom prst="rect">
              <a:avLst/>
            </a:prstGeom>
          </p:spPr>
          <p:txBody>
            <a:bodyPr vert="horz" wrap="square" lIns="146304" tIns="91440" rIns="146304" bIns="91440" rtlCol="0" anchor="t">
              <a:noAutofit/>
            </a:bodyPr>
            <a:lstStyle/>
            <a:p>
              <a:pPr>
                <a:lnSpc>
                  <a:spcPct val="90000"/>
                </a:lnSpc>
                <a:spcBef>
                  <a:spcPct val="0"/>
                </a:spcBef>
              </a:pPr>
              <a:br>
                <a:rPr lang="en-US" sz="2000" kern="0">
                  <a:ln w="3175">
                    <a:noFill/>
                  </a:ln>
                  <a:solidFill>
                    <a:srgbClr val="002050"/>
                  </a:solidFill>
                  <a:latin typeface="Segoe UI Semilight"/>
                  <a:cs typeface="Segoe UI Semilight" panose="020B0402040204020203" pitchFamily="34" charset="0"/>
                </a:rPr>
              </a:br>
              <a:r>
                <a:rPr lang="en-US" sz="2000" kern="0">
                  <a:ln w="3175">
                    <a:noFill/>
                  </a:ln>
                  <a:solidFill>
                    <a:srgbClr val="002050"/>
                  </a:solidFill>
                  <a:latin typeface="Segoe UI Semilight"/>
                  <a:cs typeface="Segoe UI Semilight" panose="020B0402040204020203" pitchFamily="34" charset="0"/>
                </a:rPr>
                <a:t>On-</a:t>
              </a:r>
              <a:br>
                <a:rPr lang="en-US" sz="2000" kern="0">
                  <a:ln w="3175">
                    <a:noFill/>
                  </a:ln>
                  <a:solidFill>
                    <a:srgbClr val="002050"/>
                  </a:solidFill>
                  <a:latin typeface="Segoe UI Semilight"/>
                  <a:cs typeface="Segoe UI Semilight" panose="020B0402040204020203" pitchFamily="34" charset="0"/>
                </a:rPr>
              </a:br>
              <a:r>
                <a:rPr lang="en-US" sz="2000" kern="0">
                  <a:ln w="3175">
                    <a:noFill/>
                  </a:ln>
                  <a:solidFill>
                    <a:srgbClr val="002050"/>
                  </a:solidFill>
                  <a:latin typeface="Segoe UI Semilight"/>
                  <a:cs typeface="Segoe UI Semilight" panose="020B0402040204020203" pitchFamily="34" charset="0"/>
                </a:rPr>
                <a:t>premises</a:t>
              </a:r>
            </a:p>
          </p:txBody>
        </p:sp>
        <p:grpSp>
          <p:nvGrpSpPr>
            <p:cNvPr id="23" name="Group 207">
              <a:extLst>
                <a:ext uri="{FF2B5EF4-FFF2-40B4-BE49-F238E27FC236}">
                  <a16:creationId xmlns:a16="http://schemas.microsoft.com/office/drawing/2014/main" id="{31EA0ADB-B21E-4A81-A916-4B9B21AF1DFE}"/>
                </a:ext>
              </a:extLst>
            </p:cNvPr>
            <p:cNvGrpSpPr>
              <a:grpSpLocks noChangeAspect="1"/>
            </p:cNvGrpSpPr>
            <p:nvPr/>
          </p:nvGrpSpPr>
          <p:grpSpPr bwMode="auto">
            <a:xfrm>
              <a:off x="8732720" y="5421290"/>
              <a:ext cx="672524" cy="654403"/>
              <a:chOff x="3750" y="2040"/>
              <a:chExt cx="334" cy="325"/>
            </a:xfrm>
          </p:grpSpPr>
          <p:sp>
            <p:nvSpPr>
              <p:cNvPr id="25" name="Rectangle 208">
                <a:extLst>
                  <a:ext uri="{FF2B5EF4-FFF2-40B4-BE49-F238E27FC236}">
                    <a16:creationId xmlns:a16="http://schemas.microsoft.com/office/drawing/2014/main" id="{52578020-90FA-40B6-9AD4-94B27B08ABD4}"/>
                  </a:ext>
                </a:extLst>
              </p:cNvPr>
              <p:cNvSpPr>
                <a:spLocks noChangeArrowheads="1"/>
              </p:cNvSpPr>
              <p:nvPr/>
            </p:nvSpPr>
            <p:spPr bwMode="auto">
              <a:xfrm>
                <a:off x="3860" y="2071"/>
                <a:ext cx="150" cy="294"/>
              </a:xfrm>
              <a:prstGeom prst="rect">
                <a:avLst/>
              </a:pr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209">
                <a:extLst>
                  <a:ext uri="{FF2B5EF4-FFF2-40B4-BE49-F238E27FC236}">
                    <a16:creationId xmlns:a16="http://schemas.microsoft.com/office/drawing/2014/main" id="{3910B4EC-1524-4C72-99DF-504FF5AB4077}"/>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210">
                <a:extLst>
                  <a:ext uri="{FF2B5EF4-FFF2-40B4-BE49-F238E27FC236}">
                    <a16:creationId xmlns:a16="http://schemas.microsoft.com/office/drawing/2014/main" id="{2611DF0C-15B7-4A67-9BA9-AB16DF87B21C}"/>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211">
                <a:extLst>
                  <a:ext uri="{FF2B5EF4-FFF2-40B4-BE49-F238E27FC236}">
                    <a16:creationId xmlns:a16="http://schemas.microsoft.com/office/drawing/2014/main" id="{05C568B4-1BF9-4C8B-AD03-71FCA3E7BA59}"/>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Rectangle 212">
                <a:extLst>
                  <a:ext uri="{FF2B5EF4-FFF2-40B4-BE49-F238E27FC236}">
                    <a16:creationId xmlns:a16="http://schemas.microsoft.com/office/drawing/2014/main" id="{5D1319FD-939C-4478-AA7F-038255E1AF1F}"/>
                  </a:ext>
                </a:extLst>
              </p:cNvPr>
              <p:cNvSpPr>
                <a:spLocks noChangeArrowheads="1"/>
              </p:cNvSpPr>
              <p:nvPr/>
            </p:nvSpPr>
            <p:spPr bwMode="auto">
              <a:xfrm>
                <a:off x="3888" y="2040"/>
                <a:ext cx="42" cy="31"/>
              </a:xfrm>
              <a:prstGeom prst="rect">
                <a:avLst/>
              </a:pr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Rectangle 213">
                <a:extLst>
                  <a:ext uri="{FF2B5EF4-FFF2-40B4-BE49-F238E27FC236}">
                    <a16:creationId xmlns:a16="http://schemas.microsoft.com/office/drawing/2014/main" id="{101A7EAE-8E9A-42CC-846E-525F75AE8F23}"/>
                  </a:ext>
                </a:extLst>
              </p:cNvPr>
              <p:cNvSpPr>
                <a:spLocks noChangeArrowheads="1"/>
              </p:cNvSpPr>
              <p:nvPr/>
            </p:nvSpPr>
            <p:spPr bwMode="auto">
              <a:xfrm>
                <a:off x="3970" y="2098"/>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 name="Rectangle 214">
                <a:extLst>
                  <a:ext uri="{FF2B5EF4-FFF2-40B4-BE49-F238E27FC236}">
                    <a16:creationId xmlns:a16="http://schemas.microsoft.com/office/drawing/2014/main" id="{ED577180-07FA-4809-8E16-B458820A2D89}"/>
                  </a:ext>
                </a:extLst>
              </p:cNvPr>
              <p:cNvSpPr>
                <a:spLocks noChangeArrowheads="1"/>
              </p:cNvSpPr>
              <p:nvPr/>
            </p:nvSpPr>
            <p:spPr bwMode="auto">
              <a:xfrm>
                <a:off x="3970" y="2138"/>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Rectangle 215">
                <a:extLst>
                  <a:ext uri="{FF2B5EF4-FFF2-40B4-BE49-F238E27FC236}">
                    <a16:creationId xmlns:a16="http://schemas.microsoft.com/office/drawing/2014/main" id="{4A15BF27-0AF0-49E3-B325-CBDE1C8A8EFE}"/>
                  </a:ext>
                </a:extLst>
              </p:cNvPr>
              <p:cNvSpPr>
                <a:spLocks noChangeArrowheads="1"/>
              </p:cNvSpPr>
              <p:nvPr/>
            </p:nvSpPr>
            <p:spPr bwMode="auto">
              <a:xfrm>
                <a:off x="3970" y="2176"/>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 name="Rectangle 216">
                <a:extLst>
                  <a:ext uri="{FF2B5EF4-FFF2-40B4-BE49-F238E27FC236}">
                    <a16:creationId xmlns:a16="http://schemas.microsoft.com/office/drawing/2014/main" id="{9F1D51F9-4C23-4850-B2C7-EAE85B279676}"/>
                  </a:ext>
                </a:extLst>
              </p:cNvPr>
              <p:cNvSpPr>
                <a:spLocks noChangeArrowheads="1"/>
              </p:cNvSpPr>
              <p:nvPr/>
            </p:nvSpPr>
            <p:spPr bwMode="auto">
              <a:xfrm>
                <a:off x="3970" y="2216"/>
                <a:ext cx="15" cy="16"/>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 name="Rectangle 217">
                <a:extLst>
                  <a:ext uri="{FF2B5EF4-FFF2-40B4-BE49-F238E27FC236}">
                    <a16:creationId xmlns:a16="http://schemas.microsoft.com/office/drawing/2014/main" id="{A9812E76-E386-4A58-BE85-952A1BFBACA9}"/>
                  </a:ext>
                </a:extLst>
              </p:cNvPr>
              <p:cNvSpPr>
                <a:spLocks noChangeArrowheads="1"/>
              </p:cNvSpPr>
              <p:nvPr/>
            </p:nvSpPr>
            <p:spPr bwMode="auto">
              <a:xfrm>
                <a:off x="3970" y="2254"/>
                <a:ext cx="15" cy="16"/>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 name="Rectangle 218">
                <a:extLst>
                  <a:ext uri="{FF2B5EF4-FFF2-40B4-BE49-F238E27FC236}">
                    <a16:creationId xmlns:a16="http://schemas.microsoft.com/office/drawing/2014/main" id="{47FB09E9-C595-436B-8A9C-59418B3D2E4B}"/>
                  </a:ext>
                </a:extLst>
              </p:cNvPr>
              <p:cNvSpPr>
                <a:spLocks noChangeArrowheads="1"/>
              </p:cNvSpPr>
              <p:nvPr/>
            </p:nvSpPr>
            <p:spPr bwMode="auto">
              <a:xfrm>
                <a:off x="3885" y="2098"/>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 name="Rectangle 219">
                <a:extLst>
                  <a:ext uri="{FF2B5EF4-FFF2-40B4-BE49-F238E27FC236}">
                    <a16:creationId xmlns:a16="http://schemas.microsoft.com/office/drawing/2014/main" id="{3E98B3F1-8ECC-490B-BF71-F0BA691514EC}"/>
                  </a:ext>
                </a:extLst>
              </p:cNvPr>
              <p:cNvSpPr>
                <a:spLocks noChangeArrowheads="1"/>
              </p:cNvSpPr>
              <p:nvPr/>
            </p:nvSpPr>
            <p:spPr bwMode="auto">
              <a:xfrm>
                <a:off x="3885" y="2138"/>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 name="Rectangle 220">
                <a:extLst>
                  <a:ext uri="{FF2B5EF4-FFF2-40B4-BE49-F238E27FC236}">
                    <a16:creationId xmlns:a16="http://schemas.microsoft.com/office/drawing/2014/main" id="{D08EBBE6-D0E4-4AF4-B0FE-C5BFAA351A84}"/>
                  </a:ext>
                </a:extLst>
              </p:cNvPr>
              <p:cNvSpPr>
                <a:spLocks noChangeArrowheads="1"/>
              </p:cNvSpPr>
              <p:nvPr/>
            </p:nvSpPr>
            <p:spPr bwMode="auto">
              <a:xfrm>
                <a:off x="3885" y="2176"/>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 name="Rectangle 221">
                <a:extLst>
                  <a:ext uri="{FF2B5EF4-FFF2-40B4-BE49-F238E27FC236}">
                    <a16:creationId xmlns:a16="http://schemas.microsoft.com/office/drawing/2014/main" id="{06806B5F-E811-4640-A436-77CA82DE2EEC}"/>
                  </a:ext>
                </a:extLst>
              </p:cNvPr>
              <p:cNvSpPr>
                <a:spLocks noChangeArrowheads="1"/>
              </p:cNvSpPr>
              <p:nvPr/>
            </p:nvSpPr>
            <p:spPr bwMode="auto">
              <a:xfrm>
                <a:off x="3885" y="2216"/>
                <a:ext cx="15" cy="16"/>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 name="Rectangle 222">
                <a:extLst>
                  <a:ext uri="{FF2B5EF4-FFF2-40B4-BE49-F238E27FC236}">
                    <a16:creationId xmlns:a16="http://schemas.microsoft.com/office/drawing/2014/main" id="{8471A88D-1608-4FAB-8AD8-F0D438D34A09}"/>
                  </a:ext>
                </a:extLst>
              </p:cNvPr>
              <p:cNvSpPr>
                <a:spLocks noChangeArrowheads="1"/>
              </p:cNvSpPr>
              <p:nvPr/>
            </p:nvSpPr>
            <p:spPr bwMode="auto">
              <a:xfrm>
                <a:off x="3885" y="2254"/>
                <a:ext cx="15" cy="16"/>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 name="Rectangle 223">
                <a:extLst>
                  <a:ext uri="{FF2B5EF4-FFF2-40B4-BE49-F238E27FC236}">
                    <a16:creationId xmlns:a16="http://schemas.microsoft.com/office/drawing/2014/main" id="{A9A75998-6B36-4DBF-9929-25C284C8F72A}"/>
                  </a:ext>
                </a:extLst>
              </p:cNvPr>
              <p:cNvSpPr>
                <a:spLocks noChangeArrowheads="1"/>
              </p:cNvSpPr>
              <p:nvPr/>
            </p:nvSpPr>
            <p:spPr bwMode="auto">
              <a:xfrm>
                <a:off x="3927" y="2098"/>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 name="Rectangle 224">
                <a:extLst>
                  <a:ext uri="{FF2B5EF4-FFF2-40B4-BE49-F238E27FC236}">
                    <a16:creationId xmlns:a16="http://schemas.microsoft.com/office/drawing/2014/main" id="{08591657-C621-4DA3-824C-57FDF5842D2C}"/>
                  </a:ext>
                </a:extLst>
              </p:cNvPr>
              <p:cNvSpPr>
                <a:spLocks noChangeArrowheads="1"/>
              </p:cNvSpPr>
              <p:nvPr/>
            </p:nvSpPr>
            <p:spPr bwMode="auto">
              <a:xfrm>
                <a:off x="3927" y="2138"/>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 name="Rectangle 225">
                <a:extLst>
                  <a:ext uri="{FF2B5EF4-FFF2-40B4-BE49-F238E27FC236}">
                    <a16:creationId xmlns:a16="http://schemas.microsoft.com/office/drawing/2014/main" id="{71A895F3-2813-4FA1-AB42-BFD356B5E107}"/>
                  </a:ext>
                </a:extLst>
              </p:cNvPr>
              <p:cNvSpPr>
                <a:spLocks noChangeArrowheads="1"/>
              </p:cNvSpPr>
              <p:nvPr/>
            </p:nvSpPr>
            <p:spPr bwMode="auto">
              <a:xfrm>
                <a:off x="3927" y="2176"/>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 name="Rectangle 226">
                <a:extLst>
                  <a:ext uri="{FF2B5EF4-FFF2-40B4-BE49-F238E27FC236}">
                    <a16:creationId xmlns:a16="http://schemas.microsoft.com/office/drawing/2014/main" id="{555DC56D-29E2-4AB5-A571-D533100CA510}"/>
                  </a:ext>
                </a:extLst>
              </p:cNvPr>
              <p:cNvSpPr>
                <a:spLocks noChangeArrowheads="1"/>
              </p:cNvSpPr>
              <p:nvPr/>
            </p:nvSpPr>
            <p:spPr bwMode="auto">
              <a:xfrm>
                <a:off x="3927" y="2216"/>
                <a:ext cx="15" cy="16"/>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 name="Rectangle 227">
                <a:extLst>
                  <a:ext uri="{FF2B5EF4-FFF2-40B4-BE49-F238E27FC236}">
                    <a16:creationId xmlns:a16="http://schemas.microsoft.com/office/drawing/2014/main" id="{2519C569-A36A-4B86-8BB3-570B27790C3A}"/>
                  </a:ext>
                </a:extLst>
              </p:cNvPr>
              <p:cNvSpPr>
                <a:spLocks noChangeArrowheads="1"/>
              </p:cNvSpPr>
              <p:nvPr/>
            </p:nvSpPr>
            <p:spPr bwMode="auto">
              <a:xfrm>
                <a:off x="3927" y="2254"/>
                <a:ext cx="15" cy="16"/>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 name="Rectangle 228">
                <a:extLst>
                  <a:ext uri="{FF2B5EF4-FFF2-40B4-BE49-F238E27FC236}">
                    <a16:creationId xmlns:a16="http://schemas.microsoft.com/office/drawing/2014/main" id="{1A090B7B-F2F7-4064-BE1B-C17057252340}"/>
                  </a:ext>
                </a:extLst>
              </p:cNvPr>
              <p:cNvSpPr>
                <a:spLocks noChangeArrowheads="1"/>
              </p:cNvSpPr>
              <p:nvPr/>
            </p:nvSpPr>
            <p:spPr bwMode="auto">
              <a:xfrm>
                <a:off x="3776" y="2176"/>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 name="Rectangle 229">
                <a:extLst>
                  <a:ext uri="{FF2B5EF4-FFF2-40B4-BE49-F238E27FC236}">
                    <a16:creationId xmlns:a16="http://schemas.microsoft.com/office/drawing/2014/main" id="{6BBF9672-1A6F-4DA9-9140-79924481F337}"/>
                  </a:ext>
                </a:extLst>
              </p:cNvPr>
              <p:cNvSpPr>
                <a:spLocks noChangeArrowheads="1"/>
              </p:cNvSpPr>
              <p:nvPr/>
            </p:nvSpPr>
            <p:spPr bwMode="auto">
              <a:xfrm>
                <a:off x="3776" y="2216"/>
                <a:ext cx="15" cy="16"/>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 name="Rectangle 230">
                <a:extLst>
                  <a:ext uri="{FF2B5EF4-FFF2-40B4-BE49-F238E27FC236}">
                    <a16:creationId xmlns:a16="http://schemas.microsoft.com/office/drawing/2014/main" id="{4A252FEB-AFD3-4966-A863-E6B5BAE32051}"/>
                  </a:ext>
                </a:extLst>
              </p:cNvPr>
              <p:cNvSpPr>
                <a:spLocks noChangeArrowheads="1"/>
              </p:cNvSpPr>
              <p:nvPr/>
            </p:nvSpPr>
            <p:spPr bwMode="auto">
              <a:xfrm>
                <a:off x="3776" y="2254"/>
                <a:ext cx="15" cy="16"/>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 name="Rectangle 231">
                <a:extLst>
                  <a:ext uri="{FF2B5EF4-FFF2-40B4-BE49-F238E27FC236}">
                    <a16:creationId xmlns:a16="http://schemas.microsoft.com/office/drawing/2014/main" id="{4093B104-52B4-4149-9A27-424C2A7FFA37}"/>
                  </a:ext>
                </a:extLst>
              </p:cNvPr>
              <p:cNvSpPr>
                <a:spLocks noChangeArrowheads="1"/>
              </p:cNvSpPr>
              <p:nvPr/>
            </p:nvSpPr>
            <p:spPr bwMode="auto">
              <a:xfrm>
                <a:off x="3818" y="2176"/>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 name="Rectangle 232">
                <a:extLst>
                  <a:ext uri="{FF2B5EF4-FFF2-40B4-BE49-F238E27FC236}">
                    <a16:creationId xmlns:a16="http://schemas.microsoft.com/office/drawing/2014/main" id="{04790ACC-640D-4021-BD62-219D2800EBD3}"/>
                  </a:ext>
                </a:extLst>
              </p:cNvPr>
              <p:cNvSpPr>
                <a:spLocks noChangeArrowheads="1"/>
              </p:cNvSpPr>
              <p:nvPr/>
            </p:nvSpPr>
            <p:spPr bwMode="auto">
              <a:xfrm>
                <a:off x="3818" y="2216"/>
                <a:ext cx="15" cy="16"/>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 name="Rectangle 233">
                <a:extLst>
                  <a:ext uri="{FF2B5EF4-FFF2-40B4-BE49-F238E27FC236}">
                    <a16:creationId xmlns:a16="http://schemas.microsoft.com/office/drawing/2014/main" id="{DAE0C1FD-36B3-4109-87B9-39B5424E53FE}"/>
                  </a:ext>
                </a:extLst>
              </p:cNvPr>
              <p:cNvSpPr>
                <a:spLocks noChangeArrowheads="1"/>
              </p:cNvSpPr>
              <p:nvPr/>
            </p:nvSpPr>
            <p:spPr bwMode="auto">
              <a:xfrm>
                <a:off x="3818" y="2254"/>
                <a:ext cx="15" cy="16"/>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 name="Rectangle 234">
                <a:extLst>
                  <a:ext uri="{FF2B5EF4-FFF2-40B4-BE49-F238E27FC236}">
                    <a16:creationId xmlns:a16="http://schemas.microsoft.com/office/drawing/2014/main" id="{A4696292-4E20-4D62-8BC0-F7D412464578}"/>
                  </a:ext>
                </a:extLst>
              </p:cNvPr>
              <p:cNvSpPr>
                <a:spLocks noChangeArrowheads="1"/>
              </p:cNvSpPr>
              <p:nvPr/>
            </p:nvSpPr>
            <p:spPr bwMode="auto">
              <a:xfrm>
                <a:off x="3776" y="2295"/>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 name="Rectangle 235">
                <a:extLst>
                  <a:ext uri="{FF2B5EF4-FFF2-40B4-BE49-F238E27FC236}">
                    <a16:creationId xmlns:a16="http://schemas.microsoft.com/office/drawing/2014/main" id="{301DC9AD-EF5C-4130-929B-3EA097C80A8D}"/>
                  </a:ext>
                </a:extLst>
              </p:cNvPr>
              <p:cNvSpPr>
                <a:spLocks noChangeArrowheads="1"/>
              </p:cNvSpPr>
              <p:nvPr/>
            </p:nvSpPr>
            <p:spPr bwMode="auto">
              <a:xfrm>
                <a:off x="3818" y="2295"/>
                <a:ext cx="15" cy="15"/>
              </a:xfrm>
              <a:prstGeom prst="rect">
                <a:avLst/>
              </a:prstGeom>
              <a:solidFill>
                <a:schemeClr val="accent4"/>
              </a:solidFill>
              <a:ln w="31750">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pic>
          <p:nvPicPr>
            <p:cNvPr id="24" name="Picture 23">
              <a:extLst>
                <a:ext uri="{FF2B5EF4-FFF2-40B4-BE49-F238E27FC236}">
                  <a16:creationId xmlns:a16="http://schemas.microsoft.com/office/drawing/2014/main" id="{0970FCED-A858-4E59-8A21-112A69A9D6C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64792" y="4594782"/>
              <a:ext cx="986067" cy="652749"/>
            </a:xfrm>
            <a:prstGeom prst="rect">
              <a:avLst/>
            </a:prstGeom>
          </p:spPr>
        </p:pic>
      </p:grpSp>
      <p:grpSp>
        <p:nvGrpSpPr>
          <p:cNvPr id="53" name="Group 52">
            <a:extLst>
              <a:ext uri="{FF2B5EF4-FFF2-40B4-BE49-F238E27FC236}">
                <a16:creationId xmlns:a16="http://schemas.microsoft.com/office/drawing/2014/main" id="{8E9699DC-8644-4124-A326-CBF79A49A77F}"/>
              </a:ext>
            </a:extLst>
          </p:cNvPr>
          <p:cNvGrpSpPr/>
          <p:nvPr/>
        </p:nvGrpSpPr>
        <p:grpSpPr>
          <a:xfrm>
            <a:off x="1147845" y="2844662"/>
            <a:ext cx="1323363" cy="1068399"/>
            <a:chOff x="1124660" y="2438555"/>
            <a:chExt cx="1323363" cy="1068399"/>
          </a:xfrm>
        </p:grpSpPr>
        <p:sp>
          <p:nvSpPr>
            <p:cNvPr id="54" name="Freeform 5">
              <a:extLst>
                <a:ext uri="{FF2B5EF4-FFF2-40B4-BE49-F238E27FC236}">
                  <a16:creationId xmlns:a16="http://schemas.microsoft.com/office/drawing/2014/main" id="{0621A690-F3BF-45C6-9DD4-658DBB141A26}"/>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nvGrpSpPr>
            <p:cNvPr id="55" name="Group 54">
              <a:extLst>
                <a:ext uri="{FF2B5EF4-FFF2-40B4-BE49-F238E27FC236}">
                  <a16:creationId xmlns:a16="http://schemas.microsoft.com/office/drawing/2014/main" id="{60BECC72-9B77-4173-9F2A-46892CCEC3EC}"/>
                </a:ext>
              </a:extLst>
            </p:cNvPr>
            <p:cNvGrpSpPr/>
            <p:nvPr/>
          </p:nvGrpSpPr>
          <p:grpSpPr>
            <a:xfrm>
              <a:off x="1124660" y="2438555"/>
              <a:ext cx="593820" cy="706058"/>
              <a:chOff x="6447047" y="5804307"/>
              <a:chExt cx="414034" cy="492291"/>
            </a:xfrm>
          </p:grpSpPr>
          <p:sp>
            <p:nvSpPr>
              <p:cNvPr id="56" name="Freeform 9">
                <a:extLst>
                  <a:ext uri="{FF2B5EF4-FFF2-40B4-BE49-F238E27FC236}">
                    <a16:creationId xmlns:a16="http://schemas.microsoft.com/office/drawing/2014/main" id="{42A6AB5E-83A0-4579-905D-48C53BB6E26A}"/>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7" name="Oval 8">
                <a:extLst>
                  <a:ext uri="{FF2B5EF4-FFF2-40B4-BE49-F238E27FC236}">
                    <a16:creationId xmlns:a16="http://schemas.microsoft.com/office/drawing/2014/main" id="{2CAE5DA3-7152-417C-B5DB-1CC01DFDCFBB}"/>
                  </a:ext>
                </a:extLst>
              </p:cNvPr>
              <p:cNvSpPr>
                <a:spLocks noChangeArrowheads="1"/>
              </p:cNvSpPr>
              <p:nvPr/>
            </p:nvSpPr>
            <p:spPr bwMode="auto">
              <a:xfrm>
                <a:off x="6507270" y="5804307"/>
                <a:ext cx="293587" cy="290228"/>
              </a:xfrm>
              <a:prstGeom prst="ellipse">
                <a:avLst/>
              </a:prstGeom>
              <a:noFill/>
              <a:ln w="19050" cap="flat">
                <a:solidFill>
                  <a:schemeClr val="accent4"/>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58" name="Group 57">
            <a:extLst>
              <a:ext uri="{FF2B5EF4-FFF2-40B4-BE49-F238E27FC236}">
                <a16:creationId xmlns:a16="http://schemas.microsoft.com/office/drawing/2014/main" id="{232B4F6F-6907-4013-BF36-0AAA8805D839}"/>
              </a:ext>
            </a:extLst>
          </p:cNvPr>
          <p:cNvGrpSpPr/>
          <p:nvPr/>
        </p:nvGrpSpPr>
        <p:grpSpPr>
          <a:xfrm>
            <a:off x="8234011" y="3187047"/>
            <a:ext cx="374776" cy="386508"/>
            <a:chOff x="7596294" y="4477333"/>
            <a:chExt cx="374776" cy="386508"/>
          </a:xfrm>
        </p:grpSpPr>
        <p:sp>
          <p:nvSpPr>
            <p:cNvPr id="59" name="Oval 58">
              <a:extLst>
                <a:ext uri="{FF2B5EF4-FFF2-40B4-BE49-F238E27FC236}">
                  <a16:creationId xmlns:a16="http://schemas.microsoft.com/office/drawing/2014/main" id="{4CA79640-D316-4EE9-A570-7A7B79FA529C}"/>
                </a:ext>
              </a:extLst>
            </p:cNvPr>
            <p:cNvSpPr/>
            <p:nvPr/>
          </p:nvSpPr>
          <p:spPr bwMode="auto">
            <a:xfrm>
              <a:off x="7596294" y="4484497"/>
              <a:ext cx="374776" cy="374776"/>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149">
              <a:extLst>
                <a:ext uri="{FF2B5EF4-FFF2-40B4-BE49-F238E27FC236}">
                  <a16:creationId xmlns:a16="http://schemas.microsoft.com/office/drawing/2014/main" id="{C0421727-2F6C-43BF-883A-29012A5FB63C}"/>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61" name="Rectangle 60">
            <a:extLst>
              <a:ext uri="{FF2B5EF4-FFF2-40B4-BE49-F238E27FC236}">
                <a16:creationId xmlns:a16="http://schemas.microsoft.com/office/drawing/2014/main" id="{1B00D486-3BCF-47D9-891E-02A4F5646697}"/>
              </a:ext>
            </a:extLst>
          </p:cNvPr>
          <p:cNvSpPr/>
          <p:nvPr/>
        </p:nvSpPr>
        <p:spPr>
          <a:xfrm>
            <a:off x="1101803" y="4923772"/>
            <a:ext cx="3371977" cy="664797"/>
          </a:xfrm>
          <a:prstGeom prst="rect">
            <a:avLst/>
          </a:prstGeom>
          <a:noFill/>
          <a:ln>
            <a:noFill/>
          </a:ln>
        </p:spPr>
        <p:txBody>
          <a:bodyPr wrap="square" lIns="0" tIns="0" rIns="0" bIns="0" anchor="ctr">
            <a:spAutoFit/>
          </a:bodyPr>
          <a:lstStyle/>
          <a:p>
            <a:pPr defTabSz="1218316" fontAlgn="base">
              <a:lnSpc>
                <a:spcPct val="90000"/>
              </a:lnSpc>
              <a:spcBef>
                <a:spcPct val="20000"/>
              </a:spcBef>
              <a:spcAft>
                <a:spcPct val="0"/>
              </a:spcAft>
              <a:buSzPct val="80000"/>
              <a:defRPr/>
            </a:pPr>
            <a:r>
              <a:rPr lang="en-US" sz="1600" kern="0">
                <a:cs typeface="Segoe UI Semibold" panose="020B0702040204020203" pitchFamily="34" charset="0"/>
              </a:rPr>
              <a:t>Password validation requests are sent to </a:t>
            </a:r>
            <a:r>
              <a:rPr lang="en-US" sz="1600" kern="0">
                <a:latin typeface="Segoe UI" panose="020B0502040204020203" pitchFamily="34" charset="0"/>
                <a:cs typeface="Segoe UI" panose="020B0502040204020203" pitchFamily="34" charset="0"/>
              </a:rPr>
              <a:t>Windows Server Active Directory</a:t>
            </a:r>
            <a:r>
              <a:rPr lang="en-US" sz="1600" kern="0">
                <a:cs typeface="Segoe UI Semibold" panose="020B0702040204020203" pitchFamily="34" charset="0"/>
              </a:rPr>
              <a:t> via </a:t>
            </a:r>
            <a:r>
              <a:rPr lang="en-US" sz="1600" kern="0">
                <a:latin typeface="Segoe UI" panose="020B0502040204020203" pitchFamily="34" charset="0"/>
                <a:cs typeface="Segoe UI" panose="020B0502040204020203" pitchFamily="34" charset="0"/>
              </a:rPr>
              <a:t>Pass-through authentication</a:t>
            </a:r>
          </a:p>
        </p:txBody>
      </p:sp>
      <p:cxnSp>
        <p:nvCxnSpPr>
          <p:cNvPr id="62" name="Straight Arrow Connector 61">
            <a:extLst>
              <a:ext uri="{FF2B5EF4-FFF2-40B4-BE49-F238E27FC236}">
                <a16:creationId xmlns:a16="http://schemas.microsoft.com/office/drawing/2014/main" id="{48AE73B2-10FA-4E96-855D-E9DBE323EB4A}"/>
              </a:ext>
            </a:extLst>
          </p:cNvPr>
          <p:cNvCxnSpPr>
            <a:cxnSpLocks/>
          </p:cNvCxnSpPr>
          <p:nvPr/>
        </p:nvCxnSpPr>
        <p:spPr>
          <a:xfrm>
            <a:off x="6102125" y="3194211"/>
            <a:ext cx="0" cy="1663539"/>
          </a:xfrm>
          <a:prstGeom prst="straightConnector1">
            <a:avLst/>
          </a:prstGeom>
          <a:noFill/>
          <a:ln w="15875">
            <a:solidFill>
              <a:schemeClr val="tx1"/>
            </a:solidFill>
            <a:prstDash val="sysDash"/>
            <a:miter lim="800000"/>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sp>
        <p:nvSpPr>
          <p:cNvPr id="63" name="Rectangle 62">
            <a:extLst>
              <a:ext uri="{FF2B5EF4-FFF2-40B4-BE49-F238E27FC236}">
                <a16:creationId xmlns:a16="http://schemas.microsoft.com/office/drawing/2014/main" id="{D2328FC9-2513-40AE-8D02-5390D13332CE}"/>
              </a:ext>
            </a:extLst>
          </p:cNvPr>
          <p:cNvSpPr/>
          <p:nvPr/>
        </p:nvSpPr>
        <p:spPr>
          <a:xfrm>
            <a:off x="5567364" y="3885561"/>
            <a:ext cx="1075084" cy="365760"/>
          </a:xfrm>
          <a:prstGeom prst="rect">
            <a:avLst/>
          </a:prstGeom>
          <a:solidFill>
            <a:schemeClr val="bg1"/>
          </a:solidFill>
          <a:ln>
            <a:noFill/>
          </a:ln>
        </p:spPr>
        <p:txBody>
          <a:bodyPr wrap="square" lIns="0" tIns="0" rIns="0" bIns="0" anchor="ctr">
            <a:spAutoFit/>
          </a:bodyPr>
          <a:lstStyle/>
          <a:p>
            <a:pPr algn="ctr" defTabSz="1218316" fontAlgn="base">
              <a:lnSpc>
                <a:spcPct val="90000"/>
              </a:lnSpc>
              <a:spcBef>
                <a:spcPct val="20000"/>
              </a:spcBef>
              <a:spcAft>
                <a:spcPct val="0"/>
              </a:spcAft>
              <a:buSzPct val="80000"/>
              <a:defRPr/>
            </a:pPr>
            <a:r>
              <a:rPr lang="en-US" sz="1176" kern="0">
                <a:cs typeface="Segoe UI Semibold" panose="020B0702040204020203" pitchFamily="34" charset="0"/>
              </a:rPr>
              <a:t>Pass-through authentication</a:t>
            </a:r>
          </a:p>
        </p:txBody>
      </p:sp>
      <p:grpSp>
        <p:nvGrpSpPr>
          <p:cNvPr id="64" name="Group 63">
            <a:extLst>
              <a:ext uri="{FF2B5EF4-FFF2-40B4-BE49-F238E27FC236}">
                <a16:creationId xmlns:a16="http://schemas.microsoft.com/office/drawing/2014/main" id="{78C049C2-8154-455C-8DCC-127F4D305AEF}"/>
              </a:ext>
            </a:extLst>
          </p:cNvPr>
          <p:cNvGrpSpPr/>
          <p:nvPr/>
        </p:nvGrpSpPr>
        <p:grpSpPr>
          <a:xfrm>
            <a:off x="4165538" y="1794225"/>
            <a:ext cx="2725144" cy="1504077"/>
            <a:chOff x="4733428" y="2676962"/>
            <a:chExt cx="2725144" cy="1504077"/>
          </a:xfrm>
        </p:grpSpPr>
        <p:sp>
          <p:nvSpPr>
            <p:cNvPr id="65" name="Freeform: Shape 64">
              <a:extLst>
                <a:ext uri="{FF2B5EF4-FFF2-40B4-BE49-F238E27FC236}">
                  <a16:creationId xmlns:a16="http://schemas.microsoft.com/office/drawing/2014/main" id="{0BDA5FD4-07AC-48F5-A7D7-CBAE4A09DFC2}"/>
                </a:ext>
              </a:extLst>
            </p:cNvPr>
            <p:cNvSpPr/>
            <p:nvPr/>
          </p:nvSpPr>
          <p:spPr bwMode="auto">
            <a:xfrm>
              <a:off x="4733428" y="2676962"/>
              <a:ext cx="2725144" cy="150407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MS cloud text">
              <a:extLst>
                <a:ext uri="{FF2B5EF4-FFF2-40B4-BE49-F238E27FC236}">
                  <a16:creationId xmlns:a16="http://schemas.microsoft.com/office/drawing/2014/main" id="{94D4EF3A-3A4D-42A0-B365-4FB87D0645E8}"/>
                </a:ext>
              </a:extLst>
            </p:cNvPr>
            <p:cNvSpPr txBox="1">
              <a:spLocks/>
            </p:cNvSpPr>
            <p:nvPr/>
          </p:nvSpPr>
          <p:spPr>
            <a:xfrm>
              <a:off x="5019924" y="3233713"/>
              <a:ext cx="2391863" cy="407826"/>
            </a:xfrm>
            <a:prstGeom prst="rect">
              <a:avLst/>
            </a:prstGeom>
          </p:spPr>
          <p:txBody>
            <a:bodyPr vert="horz" wrap="square" lIns="146304" tIns="91440" rIns="146304" bIns="9144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lvl="0">
                <a:defRPr/>
              </a:pPr>
              <a:r>
                <a:rPr lang="en-US" sz="2000" kern="0" spc="0">
                  <a:solidFill>
                    <a:srgbClr val="002050"/>
                  </a:solidFill>
                  <a:latin typeface="Segoe UI Semilight"/>
                  <a:cs typeface="Segoe UI Semilight" panose="020B0402040204020203" pitchFamily="34" charset="0"/>
                </a:rPr>
                <a:t>Microsoft Azure </a:t>
              </a:r>
              <a:br>
                <a:rPr lang="en-US" sz="2000" kern="0" spc="0">
                  <a:solidFill>
                    <a:srgbClr val="002050"/>
                  </a:solidFill>
                  <a:latin typeface="Segoe UI Semilight"/>
                  <a:cs typeface="Segoe UI Semilight" panose="020B0402040204020203" pitchFamily="34" charset="0"/>
                </a:rPr>
              </a:br>
              <a:r>
                <a:rPr lang="en-US" sz="2000" kern="0" spc="0">
                  <a:solidFill>
                    <a:srgbClr val="002050"/>
                  </a:solidFill>
                  <a:latin typeface="Segoe UI Semilight"/>
                  <a:cs typeface="Segoe UI Semilight" panose="020B0402040204020203" pitchFamily="34" charset="0"/>
                </a:rPr>
                <a:t>Active Directory</a:t>
              </a:r>
            </a:p>
          </p:txBody>
        </p:sp>
      </p:grpSp>
      <p:grpSp>
        <p:nvGrpSpPr>
          <p:cNvPr id="67" name="Group 66">
            <a:extLst>
              <a:ext uri="{FF2B5EF4-FFF2-40B4-BE49-F238E27FC236}">
                <a16:creationId xmlns:a16="http://schemas.microsoft.com/office/drawing/2014/main" id="{1449E7D3-402F-404C-8617-77C87B1F308B}"/>
              </a:ext>
            </a:extLst>
          </p:cNvPr>
          <p:cNvGrpSpPr/>
          <p:nvPr/>
        </p:nvGrpSpPr>
        <p:grpSpPr>
          <a:xfrm>
            <a:off x="4005937" y="2681493"/>
            <a:ext cx="358570" cy="358570"/>
            <a:chOff x="7035946" y="2603673"/>
            <a:chExt cx="365760" cy="365760"/>
          </a:xfrm>
        </p:grpSpPr>
        <p:sp>
          <p:nvSpPr>
            <p:cNvPr id="68" name="Oval 67">
              <a:extLst>
                <a:ext uri="{FF2B5EF4-FFF2-40B4-BE49-F238E27FC236}">
                  <a16:creationId xmlns:a16="http://schemas.microsoft.com/office/drawing/2014/main" id="{B61184D5-5432-4E84-95AF-0758F88416F9}"/>
                </a:ext>
              </a:extLst>
            </p:cNvPr>
            <p:cNvSpPr/>
            <p:nvPr/>
          </p:nvSpPr>
          <p:spPr bwMode="auto">
            <a:xfrm>
              <a:off x="7058806" y="2626533"/>
              <a:ext cx="320040" cy="320040"/>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Freeform: Shape 68">
              <a:extLst>
                <a:ext uri="{FF2B5EF4-FFF2-40B4-BE49-F238E27FC236}">
                  <a16:creationId xmlns:a16="http://schemas.microsoft.com/office/drawing/2014/main" id="{1E66ABAC-0195-4228-85E6-FC1A985DCD31}"/>
                </a:ext>
              </a:extLst>
            </p:cNvPr>
            <p:cNvSpPr>
              <a:spLocks noChangeAspect="1"/>
            </p:cNvSpPr>
            <p:nvPr/>
          </p:nvSpPr>
          <p:spPr bwMode="auto">
            <a:xfrm>
              <a:off x="7035946" y="2603673"/>
              <a:ext cx="365760" cy="365760"/>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0" name="Straight Arrow Connector 69">
            <a:extLst>
              <a:ext uri="{FF2B5EF4-FFF2-40B4-BE49-F238E27FC236}">
                <a16:creationId xmlns:a16="http://schemas.microsoft.com/office/drawing/2014/main" id="{F4AE5D65-692C-4070-BF86-D2EB0404B4AA}"/>
              </a:ext>
            </a:extLst>
          </p:cNvPr>
          <p:cNvCxnSpPr>
            <a:cxnSpLocks/>
            <a:endCxn id="74" idx="2"/>
          </p:cNvCxnSpPr>
          <p:nvPr/>
        </p:nvCxnSpPr>
        <p:spPr>
          <a:xfrm flipV="1">
            <a:off x="6381750" y="5099297"/>
            <a:ext cx="1970141" cy="3358"/>
          </a:xfrm>
          <a:prstGeom prst="straightConnector1">
            <a:avLst/>
          </a:prstGeom>
          <a:noFill/>
          <a:ln w="15875">
            <a:solidFill>
              <a:schemeClr val="tx1"/>
            </a:solidFill>
            <a:prstDash val="sysDash"/>
            <a:miter lim="800000"/>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sp>
        <p:nvSpPr>
          <p:cNvPr id="71" name="Rectangle 70">
            <a:extLst>
              <a:ext uri="{FF2B5EF4-FFF2-40B4-BE49-F238E27FC236}">
                <a16:creationId xmlns:a16="http://schemas.microsoft.com/office/drawing/2014/main" id="{87F8F429-8E20-4412-A510-E1D9D32E49C0}"/>
              </a:ext>
            </a:extLst>
          </p:cNvPr>
          <p:cNvSpPr/>
          <p:nvPr/>
        </p:nvSpPr>
        <p:spPr>
          <a:xfrm>
            <a:off x="5640345" y="5305454"/>
            <a:ext cx="1462850" cy="393954"/>
          </a:xfrm>
          <a:prstGeom prst="rect">
            <a:avLst/>
          </a:prstGeom>
        </p:spPr>
        <p:txBody>
          <a:bodyPr wrap="square">
            <a:spAutoFit/>
          </a:bodyPr>
          <a:lstStyle/>
          <a:p>
            <a:pPr defTabSz="914367">
              <a:defRPr/>
            </a:pPr>
            <a:r>
              <a:rPr lang="en-US" sz="980" kern="0">
                <a:latin typeface="Segoe UI"/>
              </a:rPr>
              <a:t>Pass-through authentication agent</a:t>
            </a:r>
            <a:endParaRPr lang="en-US" sz="980">
              <a:latin typeface="Segoe UI"/>
            </a:endParaRPr>
          </a:p>
        </p:txBody>
      </p:sp>
      <p:sp>
        <p:nvSpPr>
          <p:cNvPr id="72" name="Freeform 192">
            <a:extLst>
              <a:ext uri="{FF2B5EF4-FFF2-40B4-BE49-F238E27FC236}">
                <a16:creationId xmlns:a16="http://schemas.microsoft.com/office/drawing/2014/main" id="{DFB74E0A-18CA-4AEF-B1D3-A219F957FDAB}"/>
              </a:ext>
            </a:extLst>
          </p:cNvPr>
          <p:cNvSpPr>
            <a:spLocks noEditPoints="1"/>
          </p:cNvSpPr>
          <p:nvPr/>
        </p:nvSpPr>
        <p:spPr bwMode="auto">
          <a:xfrm>
            <a:off x="5922028" y="4950602"/>
            <a:ext cx="341994" cy="297388"/>
          </a:xfrm>
          <a:custGeom>
            <a:avLst/>
            <a:gdLst>
              <a:gd name="T0" fmla="*/ 492 w 1062"/>
              <a:gd name="T1" fmla="*/ 463 h 926"/>
              <a:gd name="T2" fmla="*/ 492 w 1062"/>
              <a:gd name="T3" fmla="*/ 463 h 926"/>
              <a:gd name="T4" fmla="*/ 531 w 1062"/>
              <a:gd name="T5" fmla="*/ 424 h 926"/>
              <a:gd name="T6" fmla="*/ 570 w 1062"/>
              <a:gd name="T7" fmla="*/ 463 h 926"/>
              <a:gd name="T8" fmla="*/ 531 w 1062"/>
              <a:gd name="T9" fmla="*/ 503 h 926"/>
              <a:gd name="T10" fmla="*/ 492 w 1062"/>
              <a:gd name="T11" fmla="*/ 463 h 926"/>
              <a:gd name="T12" fmla="*/ 1035 w 1062"/>
              <a:gd name="T13" fmla="*/ 27 h 926"/>
              <a:gd name="T14" fmla="*/ 1035 w 1062"/>
              <a:gd name="T15" fmla="*/ 27 h 926"/>
              <a:gd name="T16" fmla="*/ 1035 w 1062"/>
              <a:gd name="T17" fmla="*/ 453 h 926"/>
              <a:gd name="T18" fmla="*/ 772 w 1062"/>
              <a:gd name="T19" fmla="*/ 453 h 926"/>
              <a:gd name="T20" fmla="*/ 702 w 1062"/>
              <a:gd name="T21" fmla="*/ 293 h 926"/>
              <a:gd name="T22" fmla="*/ 531 w 1062"/>
              <a:gd name="T23" fmla="*/ 222 h 926"/>
              <a:gd name="T24" fmla="*/ 360 w 1062"/>
              <a:gd name="T25" fmla="*/ 293 h 926"/>
              <a:gd name="T26" fmla="*/ 379 w 1062"/>
              <a:gd name="T27" fmla="*/ 311 h 926"/>
              <a:gd name="T28" fmla="*/ 531 w 1062"/>
              <a:gd name="T29" fmla="*/ 249 h 926"/>
              <a:gd name="T30" fmla="*/ 683 w 1062"/>
              <a:gd name="T31" fmla="*/ 311 h 926"/>
              <a:gd name="T32" fmla="*/ 746 w 1062"/>
              <a:gd name="T33" fmla="*/ 463 h 926"/>
              <a:gd name="T34" fmla="*/ 683 w 1062"/>
              <a:gd name="T35" fmla="*/ 615 h 926"/>
              <a:gd name="T36" fmla="*/ 531 w 1062"/>
              <a:gd name="T37" fmla="*/ 678 h 926"/>
              <a:gd name="T38" fmla="*/ 379 w 1062"/>
              <a:gd name="T39" fmla="*/ 615 h 926"/>
              <a:gd name="T40" fmla="*/ 360 w 1062"/>
              <a:gd name="T41" fmla="*/ 634 h 926"/>
              <a:gd name="T42" fmla="*/ 531 w 1062"/>
              <a:gd name="T43" fmla="*/ 704 h 926"/>
              <a:gd name="T44" fmla="*/ 702 w 1062"/>
              <a:gd name="T45" fmla="*/ 634 h 926"/>
              <a:gd name="T46" fmla="*/ 771 w 1062"/>
              <a:gd name="T47" fmla="*/ 480 h 926"/>
              <a:gd name="T48" fmla="*/ 1035 w 1062"/>
              <a:gd name="T49" fmla="*/ 480 h 926"/>
              <a:gd name="T50" fmla="*/ 1035 w 1062"/>
              <a:gd name="T51" fmla="*/ 899 h 926"/>
              <a:gd name="T52" fmla="*/ 27 w 1062"/>
              <a:gd name="T53" fmla="*/ 899 h 926"/>
              <a:gd name="T54" fmla="*/ 27 w 1062"/>
              <a:gd name="T55" fmla="*/ 480 h 926"/>
              <a:gd name="T56" fmla="*/ 467 w 1062"/>
              <a:gd name="T57" fmla="*/ 480 h 926"/>
              <a:gd name="T58" fmla="*/ 531 w 1062"/>
              <a:gd name="T59" fmla="*/ 529 h 926"/>
              <a:gd name="T60" fmla="*/ 597 w 1062"/>
              <a:gd name="T61" fmla="*/ 463 h 926"/>
              <a:gd name="T62" fmla="*/ 531 w 1062"/>
              <a:gd name="T63" fmla="*/ 397 h 926"/>
              <a:gd name="T64" fmla="*/ 466 w 1062"/>
              <a:gd name="T65" fmla="*/ 453 h 926"/>
              <a:gd name="T66" fmla="*/ 27 w 1062"/>
              <a:gd name="T67" fmla="*/ 453 h 926"/>
              <a:gd name="T68" fmla="*/ 27 w 1062"/>
              <a:gd name="T69" fmla="*/ 27 h 926"/>
              <a:gd name="T70" fmla="*/ 1035 w 1062"/>
              <a:gd name="T71" fmla="*/ 27 h 926"/>
              <a:gd name="T72" fmla="*/ 0 w 1062"/>
              <a:gd name="T73" fmla="*/ 926 h 926"/>
              <a:gd name="T74" fmla="*/ 0 w 1062"/>
              <a:gd name="T75" fmla="*/ 926 h 926"/>
              <a:gd name="T76" fmla="*/ 1062 w 1062"/>
              <a:gd name="T77" fmla="*/ 926 h 926"/>
              <a:gd name="T78" fmla="*/ 1062 w 1062"/>
              <a:gd name="T79" fmla="*/ 0 h 926"/>
              <a:gd name="T80" fmla="*/ 0 w 1062"/>
              <a:gd name="T81" fmla="*/ 0 h 926"/>
              <a:gd name="T82" fmla="*/ 0 w 1062"/>
              <a:gd name="T83" fmla="*/ 926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2" h="926">
                <a:moveTo>
                  <a:pt x="492" y="463"/>
                </a:moveTo>
                <a:lnTo>
                  <a:pt x="492" y="463"/>
                </a:lnTo>
                <a:cubicBezTo>
                  <a:pt x="492" y="442"/>
                  <a:pt x="509" y="424"/>
                  <a:pt x="531" y="424"/>
                </a:cubicBezTo>
                <a:cubicBezTo>
                  <a:pt x="553" y="424"/>
                  <a:pt x="570" y="442"/>
                  <a:pt x="570" y="463"/>
                </a:cubicBezTo>
                <a:cubicBezTo>
                  <a:pt x="570" y="485"/>
                  <a:pt x="553" y="503"/>
                  <a:pt x="531" y="503"/>
                </a:cubicBezTo>
                <a:cubicBezTo>
                  <a:pt x="509" y="503"/>
                  <a:pt x="492" y="485"/>
                  <a:pt x="492" y="463"/>
                </a:cubicBezTo>
                <a:close/>
                <a:moveTo>
                  <a:pt x="1035" y="27"/>
                </a:moveTo>
                <a:lnTo>
                  <a:pt x="1035" y="27"/>
                </a:lnTo>
                <a:lnTo>
                  <a:pt x="1035" y="453"/>
                </a:lnTo>
                <a:lnTo>
                  <a:pt x="772" y="453"/>
                </a:lnTo>
                <a:cubicBezTo>
                  <a:pt x="769" y="393"/>
                  <a:pt x="745" y="336"/>
                  <a:pt x="702" y="293"/>
                </a:cubicBezTo>
                <a:cubicBezTo>
                  <a:pt x="656" y="247"/>
                  <a:pt x="595" y="222"/>
                  <a:pt x="531" y="222"/>
                </a:cubicBezTo>
                <a:cubicBezTo>
                  <a:pt x="466" y="222"/>
                  <a:pt x="406" y="247"/>
                  <a:pt x="360" y="293"/>
                </a:cubicBezTo>
                <a:lnTo>
                  <a:pt x="379" y="311"/>
                </a:lnTo>
                <a:cubicBezTo>
                  <a:pt x="420" y="271"/>
                  <a:pt x="474" y="249"/>
                  <a:pt x="531" y="249"/>
                </a:cubicBezTo>
                <a:cubicBezTo>
                  <a:pt x="588" y="249"/>
                  <a:pt x="642" y="271"/>
                  <a:pt x="683" y="311"/>
                </a:cubicBezTo>
                <a:cubicBezTo>
                  <a:pt x="723" y="352"/>
                  <a:pt x="746" y="406"/>
                  <a:pt x="746" y="463"/>
                </a:cubicBezTo>
                <a:cubicBezTo>
                  <a:pt x="746" y="521"/>
                  <a:pt x="723" y="574"/>
                  <a:pt x="683" y="615"/>
                </a:cubicBezTo>
                <a:cubicBezTo>
                  <a:pt x="642" y="655"/>
                  <a:pt x="588" y="678"/>
                  <a:pt x="531" y="678"/>
                </a:cubicBezTo>
                <a:cubicBezTo>
                  <a:pt x="474" y="678"/>
                  <a:pt x="420" y="655"/>
                  <a:pt x="379" y="615"/>
                </a:cubicBezTo>
                <a:lnTo>
                  <a:pt x="360" y="634"/>
                </a:lnTo>
                <a:cubicBezTo>
                  <a:pt x="406" y="679"/>
                  <a:pt x="466" y="704"/>
                  <a:pt x="531" y="704"/>
                </a:cubicBezTo>
                <a:cubicBezTo>
                  <a:pt x="595" y="704"/>
                  <a:pt x="656" y="679"/>
                  <a:pt x="702" y="634"/>
                </a:cubicBezTo>
                <a:cubicBezTo>
                  <a:pt x="743" y="592"/>
                  <a:pt x="767" y="538"/>
                  <a:pt x="771" y="480"/>
                </a:cubicBezTo>
                <a:lnTo>
                  <a:pt x="1035" y="480"/>
                </a:lnTo>
                <a:lnTo>
                  <a:pt x="1035" y="899"/>
                </a:lnTo>
                <a:lnTo>
                  <a:pt x="27" y="899"/>
                </a:lnTo>
                <a:lnTo>
                  <a:pt x="27" y="480"/>
                </a:lnTo>
                <a:lnTo>
                  <a:pt x="467" y="480"/>
                </a:lnTo>
                <a:cubicBezTo>
                  <a:pt x="475" y="508"/>
                  <a:pt x="500" y="529"/>
                  <a:pt x="531" y="529"/>
                </a:cubicBezTo>
                <a:cubicBezTo>
                  <a:pt x="567" y="529"/>
                  <a:pt x="597" y="500"/>
                  <a:pt x="597" y="463"/>
                </a:cubicBezTo>
                <a:cubicBezTo>
                  <a:pt x="597" y="427"/>
                  <a:pt x="567" y="397"/>
                  <a:pt x="531" y="397"/>
                </a:cubicBezTo>
                <a:cubicBezTo>
                  <a:pt x="498" y="397"/>
                  <a:pt x="471" y="422"/>
                  <a:pt x="466" y="453"/>
                </a:cubicBezTo>
                <a:lnTo>
                  <a:pt x="27" y="453"/>
                </a:lnTo>
                <a:lnTo>
                  <a:pt x="27" y="27"/>
                </a:lnTo>
                <a:lnTo>
                  <a:pt x="1035" y="27"/>
                </a:lnTo>
                <a:close/>
                <a:moveTo>
                  <a:pt x="0" y="926"/>
                </a:moveTo>
                <a:lnTo>
                  <a:pt x="0" y="926"/>
                </a:lnTo>
                <a:lnTo>
                  <a:pt x="1062" y="926"/>
                </a:lnTo>
                <a:lnTo>
                  <a:pt x="1062" y="0"/>
                </a:lnTo>
                <a:lnTo>
                  <a:pt x="0" y="0"/>
                </a:lnTo>
                <a:lnTo>
                  <a:pt x="0" y="926"/>
                </a:lnTo>
                <a:close/>
              </a:path>
            </a:pathLst>
          </a:custGeom>
          <a:solidFill>
            <a:schemeClr val="bg2">
              <a:lumMod val="10000"/>
            </a:schemeClr>
          </a:solidFill>
          <a:ln w="0">
            <a:no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nvGrpSpPr>
          <p:cNvPr id="73" name="Group 72">
            <a:extLst>
              <a:ext uri="{FF2B5EF4-FFF2-40B4-BE49-F238E27FC236}">
                <a16:creationId xmlns:a16="http://schemas.microsoft.com/office/drawing/2014/main" id="{9BFA23DC-3A33-4DD7-B9BA-DEC0A1D2E2EA}"/>
              </a:ext>
            </a:extLst>
          </p:cNvPr>
          <p:cNvGrpSpPr/>
          <p:nvPr/>
        </p:nvGrpSpPr>
        <p:grpSpPr>
          <a:xfrm>
            <a:off x="8329480" y="4920011"/>
            <a:ext cx="358570" cy="358570"/>
            <a:chOff x="7035946" y="2603673"/>
            <a:chExt cx="365760" cy="365760"/>
          </a:xfrm>
        </p:grpSpPr>
        <p:sp>
          <p:nvSpPr>
            <p:cNvPr id="74" name="Oval 73">
              <a:extLst>
                <a:ext uri="{FF2B5EF4-FFF2-40B4-BE49-F238E27FC236}">
                  <a16:creationId xmlns:a16="http://schemas.microsoft.com/office/drawing/2014/main" id="{3D5D280E-B98B-48CB-9736-E116F9D366C7}"/>
                </a:ext>
              </a:extLst>
            </p:cNvPr>
            <p:cNvSpPr/>
            <p:nvPr/>
          </p:nvSpPr>
          <p:spPr bwMode="auto">
            <a:xfrm>
              <a:off x="7058806" y="2626533"/>
              <a:ext cx="320040" cy="320040"/>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4E4426B2-324F-461C-BE32-6E5D571F6D8A}"/>
                </a:ext>
              </a:extLst>
            </p:cNvPr>
            <p:cNvSpPr>
              <a:spLocks noChangeAspect="1"/>
            </p:cNvSpPr>
            <p:nvPr/>
          </p:nvSpPr>
          <p:spPr bwMode="auto">
            <a:xfrm>
              <a:off x="7035946" y="2603673"/>
              <a:ext cx="365760" cy="365760"/>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6" name="Rectangle 75">
            <a:extLst>
              <a:ext uri="{FF2B5EF4-FFF2-40B4-BE49-F238E27FC236}">
                <a16:creationId xmlns:a16="http://schemas.microsoft.com/office/drawing/2014/main" id="{F823F2BF-A6DC-4D82-B27E-2580F4761B70}"/>
              </a:ext>
            </a:extLst>
          </p:cNvPr>
          <p:cNvSpPr/>
          <p:nvPr/>
        </p:nvSpPr>
        <p:spPr>
          <a:xfrm>
            <a:off x="6985936" y="2301965"/>
            <a:ext cx="2106183" cy="162865"/>
          </a:xfrm>
          <a:prstGeom prst="rect">
            <a:avLst/>
          </a:prstGeom>
          <a:noFill/>
          <a:ln>
            <a:noFill/>
          </a:ln>
        </p:spPr>
        <p:txBody>
          <a:bodyPr wrap="square" lIns="0" tIns="0" rIns="0" bIns="0" anchor="ctr">
            <a:spAutoFit/>
          </a:bodyPr>
          <a:lstStyle/>
          <a:p>
            <a:pPr defTabSz="1218316" fontAlgn="base">
              <a:lnSpc>
                <a:spcPct val="90000"/>
              </a:lnSpc>
              <a:spcBef>
                <a:spcPct val="20000"/>
              </a:spcBef>
              <a:spcAft>
                <a:spcPct val="0"/>
              </a:spcAft>
              <a:buSzPct val="80000"/>
              <a:defRPr/>
            </a:pPr>
            <a:r>
              <a:rPr lang="en-US" sz="1176" kern="0">
                <a:cs typeface="Segoe UI Semibold" panose="020B0702040204020203" pitchFamily="34" charset="0"/>
              </a:rPr>
              <a:t>Office 365, SaaS, and LoB apps</a:t>
            </a:r>
          </a:p>
        </p:txBody>
      </p:sp>
      <p:sp>
        <p:nvSpPr>
          <p:cNvPr id="2" name="Rectangle 1">
            <a:extLst>
              <a:ext uri="{FF2B5EF4-FFF2-40B4-BE49-F238E27FC236}">
                <a16:creationId xmlns:a16="http://schemas.microsoft.com/office/drawing/2014/main" id="{57813370-DB8D-4647-AD62-D967FBB39A38}"/>
              </a:ext>
            </a:extLst>
          </p:cNvPr>
          <p:cNvSpPr/>
          <p:nvPr/>
        </p:nvSpPr>
        <p:spPr>
          <a:xfrm>
            <a:off x="618881" y="6414614"/>
            <a:ext cx="2276842" cy="369332"/>
          </a:xfrm>
          <a:prstGeom prst="rect">
            <a:avLst/>
          </a:prstGeom>
        </p:spPr>
        <p:txBody>
          <a:bodyPr wrap="none">
            <a:spAutoFit/>
          </a:bodyPr>
          <a:lstStyle/>
          <a:p>
            <a:r>
              <a:rPr lang="en-US" dirty="0">
                <a:hlinkClick r:id="rId5"/>
              </a:rPr>
              <a:t>aka.ms/Identity/PTA</a:t>
            </a:r>
            <a:r>
              <a:rPr lang="en-US" dirty="0"/>
              <a:t> </a:t>
            </a:r>
          </a:p>
        </p:txBody>
      </p:sp>
    </p:spTree>
    <p:extLst>
      <p:ext uri="{BB962C8B-B14F-4D97-AF65-F5344CB8AC3E}">
        <p14:creationId xmlns:p14="http://schemas.microsoft.com/office/powerpoint/2010/main" val="3110561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outHorizontal)">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fade">
                                      <p:cBhvr>
                                        <p:cTn id="11" dur="500"/>
                                        <p:tgtEl>
                                          <p:spTgt spid="58"/>
                                        </p:tgtEl>
                                      </p:cBhvr>
                                    </p:animEffect>
                                  </p:childTnLst>
                                </p:cTn>
                              </p:par>
                              <p:par>
                                <p:cTn id="12" presetID="8" presetClass="emph" presetSubtype="0" fill="hold" nodeType="withEffect">
                                  <p:stCondLst>
                                    <p:cond delay="0"/>
                                  </p:stCondLst>
                                  <p:childTnLst>
                                    <p:animRot by="21600000">
                                      <p:cBhvr>
                                        <p:cTn id="13" dur="2000" fill="hold"/>
                                        <p:tgtEl>
                                          <p:spTgt spid="58"/>
                                        </p:tgtEl>
                                        <p:attrNameLst>
                                          <p:attrName>r</p:attrName>
                                        </p:attrNameLst>
                                      </p:cBhvr>
                                    </p:animRot>
                                  </p:childTnLst>
                                </p:cTn>
                              </p:par>
                              <p:par>
                                <p:cTn id="14" presetID="10" presetClass="entr" presetSubtype="0" fill="hold" grpId="0" nodeType="withEffect">
                                  <p:stCondLst>
                                    <p:cond delay="50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par>
                    <p:cTn id="17" fill="hold">
                      <p:stCondLst>
                        <p:cond delay="indefinite"/>
                      </p:stCondLst>
                      <p:childTnLst>
                        <p:par>
                          <p:cTn id="18" fill="hold">
                            <p:stCondLst>
                              <p:cond delay="0"/>
                            </p:stCondLst>
                            <p:childTnLst>
                              <p:par>
                                <p:cTn id="19" presetID="63" presetClass="path" presetSubtype="0" accel="50000" decel="50000" fill="hold" nodeType="clickEffect">
                                  <p:stCondLst>
                                    <p:cond delay="0"/>
                                  </p:stCondLst>
                                  <p:childTnLst>
                                    <p:animMotion origin="layout" path="M -4.16667E-7 -3.7037E-7 L 0.09583 -0.04421 " pathEditMode="relative" rAng="0" ptsTypes="AA">
                                      <p:cBhvr>
                                        <p:cTn id="20" dur="2000" fill="hold"/>
                                        <p:tgtEl>
                                          <p:spTgt spid="15"/>
                                        </p:tgtEl>
                                        <p:attrNameLst>
                                          <p:attrName>ppt_x</p:attrName>
                                          <p:attrName>ppt_y</p:attrName>
                                        </p:attrNameLst>
                                      </p:cBhvr>
                                      <p:rCtr x="4792" y="-2222"/>
                                    </p:animMotion>
                                  </p:childTnLst>
                                </p:cTn>
                              </p:par>
                              <p:par>
                                <p:cTn id="21" presetID="22" presetClass="entr" presetSubtype="8" fill="hold" nodeType="withEffect">
                                  <p:stCondLst>
                                    <p:cond delay="250"/>
                                  </p:stCondLst>
                                  <p:childTnLst>
                                    <p:set>
                                      <p:cBhvr>
                                        <p:cTn id="22" dur="1" fill="hold">
                                          <p:stCondLst>
                                            <p:cond delay="0"/>
                                          </p:stCondLst>
                                        </p:cTn>
                                        <p:tgtEl>
                                          <p:spTgt spid="13"/>
                                        </p:tgtEl>
                                        <p:attrNameLst>
                                          <p:attrName>style.visibility</p:attrName>
                                        </p:attrNameLst>
                                      </p:cBhvr>
                                      <p:to>
                                        <p:strVal val="visible"/>
                                      </p:to>
                                    </p:set>
                                    <p:animEffect transition="in" filter="wipe(left)">
                                      <p:cBhvr>
                                        <p:cTn id="23" dur="500"/>
                                        <p:tgtEl>
                                          <p:spTgt spid="13"/>
                                        </p:tgtEl>
                                      </p:cBhvr>
                                    </p:animEffect>
                                  </p:childTnLst>
                                </p:cTn>
                              </p:par>
                            </p:childTnLst>
                          </p:cTn>
                        </p:par>
                        <p:par>
                          <p:cTn id="24" fill="hold">
                            <p:stCondLst>
                              <p:cond delay="2000"/>
                            </p:stCondLst>
                            <p:childTnLst>
                              <p:par>
                                <p:cTn id="25" presetID="63" presetClass="path" presetSubtype="0" accel="50000" decel="50000" fill="hold" nodeType="afterEffect">
                                  <p:stCondLst>
                                    <p:cond delay="0"/>
                                  </p:stCondLst>
                                  <p:childTnLst>
                                    <p:animMotion origin="layout" path="M 0.09583 -0.04421 L 0.20664 -0.09653 " pathEditMode="relative" rAng="0" ptsTypes="AA">
                                      <p:cBhvr>
                                        <p:cTn id="26" dur="2000" fill="hold"/>
                                        <p:tgtEl>
                                          <p:spTgt spid="15"/>
                                        </p:tgtEl>
                                        <p:attrNameLst>
                                          <p:attrName>ppt_x</p:attrName>
                                          <p:attrName>ppt_y</p:attrName>
                                        </p:attrNameLst>
                                      </p:cBhvr>
                                      <p:rCtr x="5534" y="-2616"/>
                                    </p:animMotion>
                                  </p:childTnLst>
                                </p:cTn>
                              </p:par>
                            </p:childTnLst>
                          </p:cTn>
                        </p:par>
                        <p:par>
                          <p:cTn id="27" fill="hold">
                            <p:stCondLst>
                              <p:cond delay="4000"/>
                            </p:stCondLst>
                            <p:childTnLst>
                              <p:par>
                                <p:cTn id="28" presetID="22" presetClass="entr" presetSubtype="1" fill="hold" nodeType="after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wipe(up)">
                                      <p:cBhvr>
                                        <p:cTn id="30" dur="500"/>
                                        <p:tgtEl>
                                          <p:spTgt spid="6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3"/>
                                        </p:tgtEl>
                                        <p:attrNameLst>
                                          <p:attrName>style.visibility</p:attrName>
                                        </p:attrNameLst>
                                      </p:cBhvr>
                                      <p:to>
                                        <p:strVal val="visible"/>
                                      </p:to>
                                    </p:set>
                                    <p:animEffect transition="in" filter="fade">
                                      <p:cBhvr>
                                        <p:cTn id="33" dur="500"/>
                                        <p:tgtEl>
                                          <p:spTgt spid="6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1"/>
                                        </p:tgtEl>
                                        <p:attrNameLst>
                                          <p:attrName>style.visibility</p:attrName>
                                        </p:attrNameLst>
                                      </p:cBhvr>
                                      <p:to>
                                        <p:strVal val="visible"/>
                                      </p:to>
                                    </p:set>
                                    <p:animEffect transition="in" filter="fade">
                                      <p:cBhvr>
                                        <p:cTn id="36" dur="500"/>
                                        <p:tgtEl>
                                          <p:spTgt spid="6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2"/>
                                        </p:tgtEl>
                                        <p:attrNameLst>
                                          <p:attrName>style.visibility</p:attrName>
                                        </p:attrNameLst>
                                      </p:cBhvr>
                                      <p:to>
                                        <p:strVal val="visible"/>
                                      </p:to>
                                    </p:set>
                                    <p:animEffect transition="in" filter="fade">
                                      <p:cBhvr>
                                        <p:cTn id="39" dur="500"/>
                                        <p:tgtEl>
                                          <p:spTgt spid="72"/>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500"/>
                                        <p:tgtEl>
                                          <p:spTgt spid="71"/>
                                        </p:tgtEl>
                                      </p:cBhvr>
                                    </p:animEffect>
                                  </p:childTnLst>
                                </p:cTn>
                              </p:par>
                              <p:par>
                                <p:cTn id="44" presetID="22" presetClass="entr" presetSubtype="8" fill="hold" nodeType="withEffect">
                                  <p:stCondLst>
                                    <p:cond delay="0"/>
                                  </p:stCondLst>
                                  <p:childTnLst>
                                    <p:set>
                                      <p:cBhvr>
                                        <p:cTn id="45" dur="1" fill="hold">
                                          <p:stCondLst>
                                            <p:cond delay="0"/>
                                          </p:stCondLst>
                                        </p:cTn>
                                        <p:tgtEl>
                                          <p:spTgt spid="70"/>
                                        </p:tgtEl>
                                        <p:attrNameLst>
                                          <p:attrName>style.visibility</p:attrName>
                                        </p:attrNameLst>
                                      </p:cBhvr>
                                      <p:to>
                                        <p:strVal val="visible"/>
                                      </p:to>
                                    </p:set>
                                    <p:animEffect transition="in" filter="wipe(left)">
                                      <p:cBhvr>
                                        <p:cTn id="46" dur="500"/>
                                        <p:tgtEl>
                                          <p:spTgt spid="70"/>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500"/>
                                        <p:tgtEl>
                                          <p:spTgt spid="73"/>
                                        </p:tgtEl>
                                      </p:cBhvr>
                                    </p:animEffect>
                                  </p:childTnLst>
                                </p:cTn>
                              </p:par>
                            </p:childTnLst>
                          </p:cTn>
                        </p:par>
                        <p:par>
                          <p:cTn id="51" fill="hold">
                            <p:stCondLst>
                              <p:cond delay="5500"/>
                            </p:stCondLst>
                            <p:childTnLst>
                              <p:par>
                                <p:cTn id="52" presetID="10" presetClass="entr" presetSubtype="0" fill="hold"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fade">
                                      <p:cBhvr>
                                        <p:cTn id="54"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61" grpId="0"/>
      <p:bldP spid="63" grpId="0" animBg="1"/>
      <p:bldP spid="71" grpId="0"/>
      <p:bldP spid="7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2">
            <a:extLst>
              <a:ext uri="{FF2B5EF4-FFF2-40B4-BE49-F238E27FC236}">
                <a16:creationId xmlns:a16="http://schemas.microsoft.com/office/drawing/2014/main" id="{43276C70-5849-40CC-8AAC-5570BF4AA896}"/>
              </a:ext>
            </a:extLst>
          </p:cNvPr>
          <p:cNvSpPr>
            <a:spLocks noGrp="1"/>
          </p:cNvSpPr>
          <p:nvPr>
            <p:ph type="body" sz="quarter" idx="10"/>
          </p:nvPr>
        </p:nvSpPr>
        <p:spPr>
          <a:xfrm>
            <a:off x="366168" y="1212851"/>
            <a:ext cx="11702553" cy="4456605"/>
          </a:xfrm>
        </p:spPr>
        <p:txBody>
          <a:bodyPr/>
          <a:lstStyle/>
          <a:p>
            <a:pPr marL="0" indent="0">
              <a:buNone/>
            </a:pPr>
            <a:r>
              <a:rPr lang="en-US" dirty="0"/>
              <a:t>Support for smartcard authentication</a:t>
            </a:r>
          </a:p>
          <a:p>
            <a:pPr marL="0" indent="0">
              <a:buNone/>
            </a:pPr>
            <a:r>
              <a:rPr lang="en-US" dirty="0"/>
              <a:t>Support for 3rd Party MFA providers</a:t>
            </a:r>
          </a:p>
          <a:p>
            <a:pPr marL="0" indent="0">
              <a:buNone/>
            </a:pPr>
            <a:r>
              <a:rPr lang="en-US" dirty="0"/>
              <a:t>Passwords are always in your control boundary – i.e. don’t pass through the cloud</a:t>
            </a:r>
          </a:p>
          <a:p>
            <a:pPr marL="0" indent="0">
              <a:buNone/>
            </a:pPr>
            <a:r>
              <a:rPr lang="en-US" dirty="0"/>
              <a:t>On-premises conditional access rules based on issuance policies, such as</a:t>
            </a:r>
          </a:p>
          <a:p>
            <a:pPr lvl="1"/>
            <a:r>
              <a:rPr lang="en-US" sz="2800" dirty="0"/>
              <a:t>Exchange protocols (e.g. pop, </a:t>
            </a:r>
            <a:r>
              <a:rPr lang="en-US" sz="2800" dirty="0" err="1"/>
              <a:t>imap</a:t>
            </a:r>
            <a:r>
              <a:rPr lang="en-US" sz="2800" dirty="0"/>
              <a:t> </a:t>
            </a:r>
            <a:r>
              <a:rPr lang="en-US" sz="2800" dirty="0" err="1"/>
              <a:t>etc</a:t>
            </a:r>
            <a:r>
              <a:rPr lang="en-US" sz="2800" dirty="0"/>
              <a:t>)</a:t>
            </a:r>
          </a:p>
          <a:p>
            <a:pPr lvl="1"/>
            <a:r>
              <a:rPr lang="en-US" sz="2800" dirty="0"/>
              <a:t>Inside network claim</a:t>
            </a:r>
          </a:p>
        </p:txBody>
      </p:sp>
      <p:sp>
        <p:nvSpPr>
          <p:cNvPr id="77" name="Title 1">
            <a:extLst>
              <a:ext uri="{FF2B5EF4-FFF2-40B4-BE49-F238E27FC236}">
                <a16:creationId xmlns:a16="http://schemas.microsoft.com/office/drawing/2014/main" id="{E1E75101-5119-40CC-8FA7-179A89C7E4EB}"/>
              </a:ext>
            </a:extLst>
          </p:cNvPr>
          <p:cNvSpPr>
            <a:spLocks noGrp="1"/>
          </p:cNvSpPr>
          <p:nvPr>
            <p:ph type="title"/>
          </p:nvPr>
        </p:nvSpPr>
        <p:spPr/>
        <p:txBody>
          <a:bodyPr/>
          <a:lstStyle/>
          <a:p>
            <a:r>
              <a:rPr lang="en-US" dirty="0"/>
              <a:t>What AD FS offers that PTA with SSO doesn’t</a:t>
            </a:r>
          </a:p>
        </p:txBody>
      </p:sp>
    </p:spTree>
    <p:extLst>
      <p:ext uri="{BB962C8B-B14F-4D97-AF65-F5344CB8AC3E}">
        <p14:creationId xmlns:p14="http://schemas.microsoft.com/office/powerpoint/2010/main" val="143651132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D Application Proxy</a:t>
            </a:r>
          </a:p>
        </p:txBody>
      </p:sp>
      <p:sp>
        <p:nvSpPr>
          <p:cNvPr id="3" name="Rectangle 2">
            <a:extLst>
              <a:ext uri="{FF2B5EF4-FFF2-40B4-BE49-F238E27FC236}">
                <a16:creationId xmlns:a16="http://schemas.microsoft.com/office/drawing/2014/main" id="{A4F4C185-65A2-4D04-8D40-1ACCDF7B659F}"/>
              </a:ext>
            </a:extLst>
          </p:cNvPr>
          <p:cNvSpPr/>
          <p:nvPr/>
        </p:nvSpPr>
        <p:spPr>
          <a:xfrm>
            <a:off x="7512844" y="5249863"/>
            <a:ext cx="1126624" cy="542323"/>
          </a:xfrm>
          <a:prstGeom prst="rect">
            <a:avLst/>
          </a:prstGeom>
        </p:spPr>
        <p:txBody>
          <a:bodyPr wrap="none">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srgbClr val="FFFFFF"/>
                </a:solidFill>
                <a:effectLst/>
                <a:uLnTx/>
                <a:uFillTx/>
              </a:rPr>
              <a:t>Application</a:t>
            </a:r>
          </a:p>
          <a:p>
            <a:pPr marL="0" marR="0" lvl="0" indent="0" defTabSz="932418"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srgbClr val="FFFFFF"/>
                </a:solidFill>
                <a:effectLst/>
                <a:uLnTx/>
                <a:uFillTx/>
              </a:rPr>
              <a:t>Proxy</a:t>
            </a:r>
            <a:endParaRPr kumimoji="0" lang="en-US" sz="1428" b="0" i="0" u="none" strike="noStrike" kern="0" cap="none" spc="0" normalizeH="0" baseline="0" noProof="0">
              <a:ln>
                <a:noFill/>
              </a:ln>
              <a:solidFill>
                <a:sysClr val="windowText" lastClr="000000"/>
              </a:solidFill>
              <a:effectLst/>
              <a:uLnTx/>
              <a:uFillTx/>
            </a:endParaRPr>
          </a:p>
        </p:txBody>
      </p:sp>
      <p:grpSp>
        <p:nvGrpSpPr>
          <p:cNvPr id="4" name="Group 3">
            <a:extLst>
              <a:ext uri="{FF2B5EF4-FFF2-40B4-BE49-F238E27FC236}">
                <a16:creationId xmlns:a16="http://schemas.microsoft.com/office/drawing/2014/main" id="{40B15433-94FB-430C-A58C-00B6D5A1896C}"/>
              </a:ext>
            </a:extLst>
          </p:cNvPr>
          <p:cNvGrpSpPr/>
          <p:nvPr/>
        </p:nvGrpSpPr>
        <p:grpSpPr>
          <a:xfrm>
            <a:off x="6209559" y="5279418"/>
            <a:ext cx="1560155" cy="1025885"/>
            <a:chOff x="6906415" y="2562072"/>
            <a:chExt cx="1560377" cy="1026031"/>
          </a:xfrm>
        </p:grpSpPr>
        <p:sp>
          <p:nvSpPr>
            <p:cNvPr id="5" name="Freeform 38">
              <a:extLst>
                <a:ext uri="{FF2B5EF4-FFF2-40B4-BE49-F238E27FC236}">
                  <a16:creationId xmlns:a16="http://schemas.microsoft.com/office/drawing/2014/main" id="{20EC7567-A2DE-4C9E-8973-8FABBBA081A4}"/>
                </a:ext>
              </a:extLst>
            </p:cNvPr>
            <p:cNvSpPr>
              <a:spLocks/>
            </p:cNvSpPr>
            <p:nvPr/>
          </p:nvSpPr>
          <p:spPr bwMode="auto">
            <a:xfrm>
              <a:off x="6906415" y="2562072"/>
              <a:ext cx="1560377" cy="102603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nvGrpSpPr>
            <p:cNvPr id="6" name="Group 5">
              <a:extLst>
                <a:ext uri="{FF2B5EF4-FFF2-40B4-BE49-F238E27FC236}">
                  <a16:creationId xmlns:a16="http://schemas.microsoft.com/office/drawing/2014/main" id="{7EBC36DF-F819-42D8-AF93-CDC2100FCD87}"/>
                </a:ext>
              </a:extLst>
            </p:cNvPr>
            <p:cNvGrpSpPr>
              <a:grpSpLocks noChangeAspect="1"/>
            </p:cNvGrpSpPr>
            <p:nvPr/>
          </p:nvGrpSpPr>
          <p:grpSpPr>
            <a:xfrm>
              <a:off x="7400888" y="2968523"/>
              <a:ext cx="614026" cy="365760"/>
              <a:chOff x="10227446" y="2986117"/>
              <a:chExt cx="658968" cy="392532"/>
            </a:xfrm>
            <a:solidFill>
              <a:srgbClr val="002050"/>
            </a:solidFill>
          </p:grpSpPr>
          <p:grpSp>
            <p:nvGrpSpPr>
              <p:cNvPr id="7" name="Group 6">
                <a:extLst>
                  <a:ext uri="{FF2B5EF4-FFF2-40B4-BE49-F238E27FC236}">
                    <a16:creationId xmlns:a16="http://schemas.microsoft.com/office/drawing/2014/main" id="{DFADEE1F-BC58-46C6-89C5-F7C256C60A7F}"/>
                  </a:ext>
                </a:extLst>
              </p:cNvPr>
              <p:cNvGrpSpPr/>
              <p:nvPr/>
            </p:nvGrpSpPr>
            <p:grpSpPr>
              <a:xfrm>
                <a:off x="10227446" y="2986117"/>
                <a:ext cx="658968" cy="392532"/>
                <a:chOff x="6002760" y="3291875"/>
                <a:chExt cx="3471152" cy="1658849"/>
              </a:xfrm>
              <a:grpFill/>
            </p:grpSpPr>
            <p:sp>
              <p:nvSpPr>
                <p:cNvPr id="9" name="Rectangle 8">
                  <a:extLst>
                    <a:ext uri="{FF2B5EF4-FFF2-40B4-BE49-F238E27FC236}">
                      <a16:creationId xmlns:a16="http://schemas.microsoft.com/office/drawing/2014/main" id="{F393CE78-773B-4FCA-A4EC-00322387FA8D}"/>
                    </a:ext>
                  </a:extLst>
                </p:cNvPr>
                <p:cNvSpPr/>
                <p:nvPr/>
              </p:nvSpPr>
              <p:spPr bwMode="auto">
                <a:xfrm>
                  <a:off x="6002760" y="3291875"/>
                  <a:ext cx="3471152" cy="157459"/>
                </a:xfrm>
                <a:prstGeom prst="rect">
                  <a:avLst/>
                </a:prstGeom>
                <a:grpFill/>
                <a:ln w="10795" cap="flat" cmpd="sng" algn="ctr">
                  <a:noFill/>
                  <a:prstDash val="solid"/>
                  <a:headEnd type="none" w="med" len="med"/>
                  <a:tailEnd type="none" w="med" len="med"/>
                </a:ln>
                <a:effectLst/>
              </p:spPr>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7BE9215D-1247-4C81-B83F-963EEA0178DF}"/>
                    </a:ext>
                  </a:extLst>
                </p:cNvPr>
                <p:cNvSpPr/>
                <p:nvPr/>
              </p:nvSpPr>
              <p:spPr bwMode="auto">
                <a:xfrm>
                  <a:off x="6002760" y="3489197"/>
                  <a:ext cx="3471152" cy="1461527"/>
                </a:xfrm>
                <a:prstGeom prst="rect">
                  <a:avLst/>
                </a:prstGeom>
                <a:grpFill/>
                <a:ln w="10795" cap="flat" cmpd="sng" algn="ctr">
                  <a:noFill/>
                  <a:prstDash val="solid"/>
                  <a:headEnd type="none" w="med" len="med"/>
                  <a:tailEnd type="none" w="med" len="med"/>
                </a:ln>
                <a:effectLst/>
              </p:spPr>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8" name="icon GEARS">
                <a:extLst>
                  <a:ext uri="{FF2B5EF4-FFF2-40B4-BE49-F238E27FC236}">
                    <a16:creationId xmlns:a16="http://schemas.microsoft.com/office/drawing/2014/main" id="{9FD46F7B-57C5-4677-A9E7-3A478EA76CC5}"/>
                  </a:ext>
                </a:extLst>
              </p:cNvPr>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FFFF"/>
              </a:solidFill>
              <a:ln>
                <a:noFill/>
              </a:ln>
              <a:extLst/>
            </p:spPr>
            <p:txBody>
              <a:bodyPr/>
              <a:lstStyle/>
              <a:p>
                <a:pPr marL="0" marR="0" lvl="0" indent="0" defTabSz="93123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noFill/>
                  <a:effectLst/>
                  <a:uLnTx/>
                  <a:uFillTx/>
                  <a:ea typeface="ＭＳ Ｐゴシック" charset="0"/>
                </a:endParaRPr>
              </a:p>
            </p:txBody>
          </p:sp>
        </p:grpSp>
      </p:grpSp>
      <p:grpSp>
        <p:nvGrpSpPr>
          <p:cNvPr id="11" name="Group 10">
            <a:extLst>
              <a:ext uri="{FF2B5EF4-FFF2-40B4-BE49-F238E27FC236}">
                <a16:creationId xmlns:a16="http://schemas.microsoft.com/office/drawing/2014/main" id="{5DC87D6E-9B9C-4CED-9659-F859B14A20BB}"/>
              </a:ext>
            </a:extLst>
          </p:cNvPr>
          <p:cNvGrpSpPr/>
          <p:nvPr/>
        </p:nvGrpSpPr>
        <p:grpSpPr>
          <a:xfrm>
            <a:off x="4636359" y="4627632"/>
            <a:ext cx="2035981" cy="1239231"/>
            <a:chOff x="6882926" y="1192433"/>
            <a:chExt cx="2501906" cy="1522824"/>
          </a:xfrm>
        </p:grpSpPr>
        <p:sp>
          <p:nvSpPr>
            <p:cNvPr id="12" name="Freeform 38">
              <a:extLst>
                <a:ext uri="{FF2B5EF4-FFF2-40B4-BE49-F238E27FC236}">
                  <a16:creationId xmlns:a16="http://schemas.microsoft.com/office/drawing/2014/main" id="{EB5DF68E-7566-4491-BF66-B08D8166D33A}"/>
                </a:ext>
              </a:extLst>
            </p:cNvPr>
            <p:cNvSpPr>
              <a:spLocks/>
            </p:cNvSpPr>
            <p:nvPr/>
          </p:nvSpPr>
          <p:spPr bwMode="auto">
            <a:xfrm>
              <a:off x="6975768" y="1192433"/>
              <a:ext cx="2315888" cy="152282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a:solidFill>
                <a:srgbClr val="002050"/>
              </a:solidFill>
            </a:ln>
          </p:spPr>
          <p:txBody>
            <a:bodyPr vert="horz" wrap="square" lIns="93234" tIns="46616" rIns="93234" bIns="46616" numCol="1" anchor="t" anchorCtr="0" compatLnSpc="1">
              <a:prstTxWarp prst="textNoShape">
                <a:avLst/>
              </a:prstTxWarp>
            </a:bodyPr>
            <a:lstStyle/>
            <a:p>
              <a:pPr marL="0" marR="0" lvl="0" indent="0" defTabSz="93223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nvGrpSpPr>
            <p:cNvPr id="13" name="Group 12">
              <a:extLst>
                <a:ext uri="{FF2B5EF4-FFF2-40B4-BE49-F238E27FC236}">
                  <a16:creationId xmlns:a16="http://schemas.microsoft.com/office/drawing/2014/main" id="{9952C7C4-142B-482C-9A84-17798A8CA13E}"/>
                </a:ext>
              </a:extLst>
            </p:cNvPr>
            <p:cNvGrpSpPr/>
            <p:nvPr/>
          </p:nvGrpSpPr>
          <p:grpSpPr>
            <a:xfrm>
              <a:off x="6882926" y="1388426"/>
              <a:ext cx="2501906" cy="1218525"/>
              <a:chOff x="5181138" y="5521526"/>
              <a:chExt cx="2552074" cy="1242959"/>
            </a:xfrm>
          </p:grpSpPr>
          <p:sp>
            <p:nvSpPr>
              <p:cNvPr id="14" name="TextBox 13">
                <a:extLst>
                  <a:ext uri="{FF2B5EF4-FFF2-40B4-BE49-F238E27FC236}">
                    <a16:creationId xmlns:a16="http://schemas.microsoft.com/office/drawing/2014/main" id="{93C254F7-D6B5-445B-B7F7-396FBFF7FADC}"/>
                  </a:ext>
                </a:extLst>
              </p:cNvPr>
              <p:cNvSpPr txBox="1"/>
              <p:nvPr/>
            </p:nvSpPr>
            <p:spPr>
              <a:xfrm>
                <a:off x="5181138" y="6258871"/>
                <a:ext cx="2552074" cy="505614"/>
              </a:xfrm>
              <a:prstGeom prst="rect">
                <a:avLst/>
              </a:prstGeom>
            </p:spPr>
            <p:txBody>
              <a:bodyPr wrap="square" lIns="0" tIns="0" rIns="0" bIns="0" rtlCol="0">
                <a:spAutoFit/>
              </a:bodyPr>
              <a:lstStyle/>
              <a:p>
                <a:pPr marL="0" marR="0" lvl="0" indent="0" algn="ctr" defTabSz="913397" eaLnBrk="1" fontAlgn="base" latinLnBrk="0" hangingPunct="1">
                  <a:lnSpc>
                    <a:spcPct val="90000"/>
                  </a:lnSpc>
                  <a:spcBef>
                    <a:spcPct val="0"/>
                  </a:spcBef>
                  <a:spcAft>
                    <a:spcPct val="0"/>
                  </a:spcAft>
                  <a:buClrTx/>
                  <a:buSzPct val="80000"/>
                  <a:buFontTx/>
                  <a:buNone/>
                  <a:tabLst/>
                  <a:defRPr/>
                </a:pPr>
                <a:r>
                  <a:rPr kumimoji="0" lang="en-US" sz="1428" b="0" i="0" u="none" strike="noStrike" kern="0" cap="none" spc="0" normalizeH="0" baseline="0" noProof="0">
                    <a:ln>
                      <a:noFill/>
                    </a:ln>
                    <a:solidFill>
                      <a:srgbClr val="002050"/>
                    </a:solidFill>
                    <a:effectLst/>
                    <a:uLnTx/>
                    <a:uFillTx/>
                    <a:ea typeface="ＭＳ Ｐゴシック" charset="0"/>
                    <a:cs typeface="Segoe UI Semibold" panose="020B0702040204020203" pitchFamily="34" charset="0"/>
                  </a:rPr>
                  <a:t>Microsoft Azure</a:t>
                </a:r>
              </a:p>
              <a:p>
                <a:pPr marL="0" marR="0" lvl="0" indent="0" algn="ctr" defTabSz="913397" eaLnBrk="1" fontAlgn="base" latinLnBrk="0" hangingPunct="1">
                  <a:lnSpc>
                    <a:spcPct val="90000"/>
                  </a:lnSpc>
                  <a:spcBef>
                    <a:spcPct val="0"/>
                  </a:spcBef>
                  <a:spcAft>
                    <a:spcPct val="0"/>
                  </a:spcAft>
                  <a:buClrTx/>
                  <a:buSzPct val="80000"/>
                  <a:buFontTx/>
                  <a:buNone/>
                  <a:tabLst/>
                  <a:defRPr/>
                </a:pPr>
                <a:r>
                  <a:rPr kumimoji="0" lang="en-US" sz="1428" b="0" i="0" u="none" strike="noStrike" kern="0" cap="none" spc="0" normalizeH="0" baseline="0" noProof="0">
                    <a:ln>
                      <a:noFill/>
                    </a:ln>
                    <a:solidFill>
                      <a:srgbClr val="002050"/>
                    </a:solidFill>
                    <a:effectLst/>
                    <a:uLnTx/>
                    <a:uFillTx/>
                    <a:ea typeface="ＭＳ Ｐゴシック" charset="0"/>
                    <a:cs typeface="Segoe UI Semibold" panose="020B0702040204020203" pitchFamily="34" charset="0"/>
                  </a:rPr>
                  <a:t>Active Directory</a:t>
                </a:r>
              </a:p>
            </p:txBody>
          </p:sp>
          <p:pic>
            <p:nvPicPr>
              <p:cNvPr id="15" name="Picture 14">
                <a:extLst>
                  <a:ext uri="{FF2B5EF4-FFF2-40B4-BE49-F238E27FC236}">
                    <a16:creationId xmlns:a16="http://schemas.microsoft.com/office/drawing/2014/main" id="{7811C7C5-4125-4551-893A-CEA68873DB1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38072" y="5521526"/>
                <a:ext cx="638203" cy="632929"/>
              </a:xfrm>
              <a:prstGeom prst="rect">
                <a:avLst/>
              </a:prstGeom>
            </p:spPr>
          </p:pic>
        </p:grpSp>
      </p:grpSp>
    </p:spTree>
    <p:extLst>
      <p:ext uri="{BB962C8B-B14F-4D97-AF65-F5344CB8AC3E}">
        <p14:creationId xmlns:p14="http://schemas.microsoft.com/office/powerpoint/2010/main" val="241056735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E36051CD-E574-465E-AE99-FD707FE1ED57}"/>
              </a:ext>
            </a:extLst>
          </p:cNvPr>
          <p:cNvSpPr/>
          <p:nvPr/>
        </p:nvSpPr>
        <p:spPr bwMode="auto">
          <a:xfrm>
            <a:off x="0" y="1885521"/>
            <a:ext cx="12436475" cy="5109004"/>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144" name="Rounded Rectangle 107">
            <a:extLst>
              <a:ext uri="{FF2B5EF4-FFF2-40B4-BE49-F238E27FC236}">
                <a16:creationId xmlns:a16="http://schemas.microsoft.com/office/drawing/2014/main" id="{3BD1B433-4BF1-4DFA-A7E4-D38B357724A9}"/>
              </a:ext>
            </a:extLst>
          </p:cNvPr>
          <p:cNvSpPr>
            <a:spLocks noChangeAspect="1"/>
          </p:cNvSpPr>
          <p:nvPr/>
        </p:nvSpPr>
        <p:spPr bwMode="auto">
          <a:xfrm flipH="1">
            <a:off x="4288470" y="4657474"/>
            <a:ext cx="8147122" cy="2349254"/>
          </a:xfrm>
          <a:prstGeom prst="round1Rect">
            <a:avLst>
              <a:gd name="adj" fmla="val 11247"/>
            </a:avLst>
          </a:prstGeom>
          <a:solidFill>
            <a:srgbClr val="FFFFFF">
              <a:alpha val="20000"/>
            </a:srgbClr>
          </a:solidFill>
          <a:ln w="12700" cap="rnd" cmpd="sng" algn="ctr">
            <a:solidFill>
              <a:srgbClr val="FFFFFF"/>
            </a:solidFill>
            <a:prstDash val="sysDot"/>
            <a:headEnd type="none" w="med" len="med"/>
            <a:tailEnd type="none" w="med" len="med"/>
          </a:ln>
          <a:effectLst/>
          <a:extLst/>
        </p:spPr>
        <p:txBody>
          <a:bodyPr rot="0" spcFirstLastPara="0" vertOverflow="overflow" horzOverflow="overflow" vert="horz" wrap="square" lIns="93247" tIns="93247" rIns="93247" bIns="93247" numCol="1" spcCol="0" rtlCol="0" fromWordArt="0" anchor="t" anchorCtr="0" forceAA="0" compatLnSpc="1">
            <a:prstTxWarp prst="textNoShape">
              <a:avLst/>
            </a:prstTxWarp>
            <a:noAutofit/>
          </a:bodyPr>
          <a:lstStyle/>
          <a:p>
            <a:pPr marL="0" marR="0" lvl="0" indent="0" defTabSz="931756"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MZ</a:t>
            </a:r>
          </a:p>
        </p:txBody>
      </p:sp>
      <p:sp>
        <p:nvSpPr>
          <p:cNvPr id="145" name="Rectangle 144">
            <a:extLst>
              <a:ext uri="{FF2B5EF4-FFF2-40B4-BE49-F238E27FC236}">
                <a16:creationId xmlns:a16="http://schemas.microsoft.com/office/drawing/2014/main" id="{7D760C3C-F273-4191-86E5-C959886CF294}"/>
              </a:ext>
            </a:extLst>
          </p:cNvPr>
          <p:cNvSpPr/>
          <p:nvPr/>
        </p:nvSpPr>
        <p:spPr>
          <a:xfrm>
            <a:off x="2731139" y="3247217"/>
            <a:ext cx="1818352" cy="262241"/>
          </a:xfrm>
          <a:prstGeom prst="rect">
            <a:avLst/>
          </a:prstGeom>
          <a:solidFill>
            <a:srgbClr val="002050"/>
          </a:solidFill>
        </p:spPr>
        <p:txBody>
          <a:bodyPr wrap="none">
            <a:spAutoFit/>
          </a:bodyP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FFFFFF"/>
                </a:solidFill>
                <a:effectLst/>
                <a:uLnTx/>
                <a:uFillTx/>
              </a:rPr>
              <a:t>https://sales.contoso.com/</a:t>
            </a:r>
            <a:endParaRPr kumimoji="0" lang="en-US" sz="1632" b="0" i="0" u="none" strike="noStrike" kern="0" cap="none" spc="0" normalizeH="0" baseline="0" noProof="0">
              <a:ln>
                <a:noFill/>
              </a:ln>
              <a:solidFill>
                <a:sysClr val="windowText" lastClr="000000"/>
              </a:solidFill>
              <a:effectLst/>
              <a:uLnTx/>
              <a:uFillTx/>
            </a:endParaRPr>
          </a:p>
        </p:txBody>
      </p:sp>
      <p:sp>
        <p:nvSpPr>
          <p:cNvPr id="146" name="Title 4">
            <a:extLst>
              <a:ext uri="{FF2B5EF4-FFF2-40B4-BE49-F238E27FC236}">
                <a16:creationId xmlns:a16="http://schemas.microsoft.com/office/drawing/2014/main" id="{6736B3C5-E652-4FD1-85E0-8A3726B2FD23}"/>
              </a:ext>
            </a:extLst>
          </p:cNvPr>
          <p:cNvSpPr txBox="1">
            <a:spLocks/>
          </p:cNvSpPr>
          <p:nvPr/>
        </p:nvSpPr>
        <p:spPr>
          <a:xfrm>
            <a:off x="274639" y="686247"/>
            <a:ext cx="11888787" cy="917575"/>
          </a:xfrm>
          <a:prstGeom prst="rect">
            <a:avLst/>
          </a:prstGeom>
        </p:spPr>
        <p:txBody>
          <a:bodyPr vert="horz" wrap="square" lIns="146304" tIns="91440" rIns="146304" bIns="91440" rtlCol="0" anchor="t">
            <a:noAutofit/>
          </a:bodyPr>
          <a:lstStyle>
            <a:lvl1pPr algn="l" defTabSz="931684"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a:lstStyle>
          <a:p>
            <a:pPr marL="0" marR="0" lvl="0" indent="0" algn="l" defTabSz="931684" rtl="0" eaLnBrk="1" fontAlgn="base" latinLnBrk="0" hangingPunct="1">
              <a:lnSpc>
                <a:spcPct val="90000"/>
              </a:lnSpc>
              <a:spcBef>
                <a:spcPct val="0"/>
              </a:spcBef>
              <a:spcAft>
                <a:spcPct val="0"/>
              </a:spcAft>
              <a:buClrTx/>
              <a:buSzTx/>
              <a:buFontTx/>
              <a:buNone/>
              <a:tabLst/>
              <a:defRPr/>
            </a:pPr>
            <a:r>
              <a:rPr kumimoji="0" lang="en-US" sz="4199"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Light"/>
                <a:ea typeface="ＭＳ Ｐゴシック" charset="0"/>
                <a:cs typeface="Segoe UI" pitchFamily="34" charset="0"/>
              </a:rPr>
              <a:t>Azure Active Directory Application Proxy </a:t>
            </a:r>
          </a:p>
        </p:txBody>
      </p:sp>
      <p:sp>
        <p:nvSpPr>
          <p:cNvPr id="148" name="Text Placeholder 15">
            <a:extLst>
              <a:ext uri="{FF2B5EF4-FFF2-40B4-BE49-F238E27FC236}">
                <a16:creationId xmlns:a16="http://schemas.microsoft.com/office/drawing/2014/main" id="{FBB9219B-D609-42C5-B995-8B05BFA67E24}"/>
              </a:ext>
            </a:extLst>
          </p:cNvPr>
          <p:cNvSpPr txBox="1">
            <a:spLocks/>
          </p:cNvSpPr>
          <p:nvPr/>
        </p:nvSpPr>
        <p:spPr>
          <a:xfrm>
            <a:off x="274639" y="1333209"/>
            <a:ext cx="11887200" cy="499107"/>
          </a:xfrm>
          <a:prstGeom prst="rect">
            <a:avLst/>
          </a:prstGeom>
        </p:spPr>
        <p:txBody>
          <a:bodyPr vert="horz" wrap="square" lIns="146304" tIns="91440" rIns="146304" bIns="91440" rtlCol="0">
            <a:spAutoFit/>
          </a:bodyPr>
          <a:lstStyle>
            <a:lvl1pPr marL="0" indent="0" algn="l" defTabSz="931684" rtl="0" fontAlgn="base">
              <a:lnSpc>
                <a:spcPct val="90000"/>
              </a:lnSpc>
              <a:spcBef>
                <a:spcPct val="20000"/>
              </a:spcBef>
              <a:spcAft>
                <a:spcPct val="0"/>
              </a:spcAft>
              <a:buSzPct val="90000"/>
              <a:buFont typeface="Arial" charset="0"/>
              <a:buNone/>
              <a:defRPr sz="2244" b="0" kern="1200">
                <a:solidFill>
                  <a:schemeClr val="accent2"/>
                </a:solidFill>
                <a:latin typeface="+mn-lt"/>
                <a:ea typeface="ＭＳ Ｐゴシック" charset="0"/>
                <a:cs typeface="ＭＳ Ｐゴシック" charset="0"/>
              </a:defRPr>
            </a:lvl1pPr>
            <a:lvl2pPr marL="342834" indent="0" algn="l" defTabSz="931684" rtl="0" fontAlgn="base">
              <a:lnSpc>
                <a:spcPct val="90000"/>
              </a:lnSpc>
              <a:spcBef>
                <a:spcPct val="20000"/>
              </a:spcBef>
              <a:spcAft>
                <a:spcPct val="0"/>
              </a:spcAft>
              <a:buSzPct val="90000"/>
              <a:buFont typeface="Arial" charset="0"/>
              <a:buNone/>
              <a:defRPr sz="2400" kern="1200">
                <a:gradFill>
                  <a:gsLst>
                    <a:gs pos="1250">
                      <a:schemeClr val="tx1"/>
                    </a:gs>
                    <a:gs pos="100000">
                      <a:schemeClr val="tx1"/>
                    </a:gs>
                  </a:gsLst>
                  <a:lin ang="5400000" scaled="0"/>
                </a:gradFill>
                <a:latin typeface="+mn-lt"/>
                <a:ea typeface="ＭＳ Ｐゴシック" charset="0"/>
                <a:cs typeface="+mn-cs"/>
              </a:defRPr>
            </a:lvl2pPr>
            <a:lvl3pPr marL="571390" indent="0" algn="l" defTabSz="931684" rtl="0" fontAlgn="base">
              <a:lnSpc>
                <a:spcPct val="90000"/>
              </a:lnSpc>
              <a:spcBef>
                <a:spcPct val="20000"/>
              </a:spcBef>
              <a:spcAft>
                <a:spcPct val="0"/>
              </a:spcAft>
              <a:buSzPct val="90000"/>
              <a:buFont typeface="Arial" charset="0"/>
              <a:buNone/>
              <a:defRPr sz="2000" kern="1200">
                <a:gradFill>
                  <a:gsLst>
                    <a:gs pos="1250">
                      <a:schemeClr val="tx1"/>
                    </a:gs>
                    <a:gs pos="100000">
                      <a:schemeClr val="tx1"/>
                    </a:gs>
                  </a:gsLst>
                  <a:lin ang="5400000" scaled="0"/>
                </a:gradFill>
                <a:latin typeface="+mn-lt"/>
                <a:ea typeface="ＭＳ Ｐゴシック" charset="0"/>
                <a:cs typeface="+mn-cs"/>
              </a:defRPr>
            </a:lvl3pPr>
            <a:lvl4pPr marL="799946"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28502"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684" rtl="0" eaLnBrk="1" fontAlgn="base" latinLnBrk="0" hangingPunct="1">
              <a:lnSpc>
                <a:spcPct val="90000"/>
              </a:lnSpc>
              <a:spcBef>
                <a:spcPct val="20000"/>
              </a:spcBef>
              <a:spcAft>
                <a:spcPct val="0"/>
              </a:spcAft>
              <a:buClrTx/>
              <a:buSzPct val="90000"/>
              <a:buFont typeface="Arial" charset="0"/>
              <a:buNone/>
              <a:tabLst/>
              <a:defRPr/>
            </a:pPr>
            <a:r>
              <a:rPr kumimoji="0" lang="en-US" sz="2244" b="0" i="0" u="none" strike="noStrike" kern="1200" cap="none" spc="0" normalizeH="0" baseline="0" noProof="0">
                <a:ln>
                  <a:noFill/>
                </a:ln>
                <a:solidFill>
                  <a:srgbClr val="0078D7"/>
                </a:solidFill>
                <a:effectLst/>
                <a:uLnTx/>
                <a:uFillTx/>
                <a:latin typeface="Segoe UI"/>
                <a:ea typeface="ＭＳ Ｐゴシック" charset="0"/>
              </a:rPr>
              <a:t>Single Sign-on to on-premises applications</a:t>
            </a:r>
          </a:p>
        </p:txBody>
      </p:sp>
      <p:cxnSp>
        <p:nvCxnSpPr>
          <p:cNvPr id="149" name="Straight Arrow Connector 148">
            <a:extLst>
              <a:ext uri="{FF2B5EF4-FFF2-40B4-BE49-F238E27FC236}">
                <a16:creationId xmlns:a16="http://schemas.microsoft.com/office/drawing/2014/main" id="{BD400F33-4672-4C00-9499-FF91E62B3962}"/>
              </a:ext>
            </a:extLst>
          </p:cNvPr>
          <p:cNvCxnSpPr>
            <a:stCxn id="196" idx="3"/>
          </p:cNvCxnSpPr>
          <p:nvPr/>
        </p:nvCxnSpPr>
        <p:spPr>
          <a:xfrm>
            <a:off x="4282034" y="2733356"/>
            <a:ext cx="981067" cy="0"/>
          </a:xfrm>
          <a:prstGeom prst="straightConnector1">
            <a:avLst/>
          </a:prstGeom>
          <a:noFill/>
          <a:ln w="38100" cap="rnd" cmpd="sng" algn="ctr">
            <a:solidFill>
              <a:srgbClr val="92D050"/>
            </a:solidFill>
            <a:prstDash val="sysDot"/>
            <a:headEnd type="none" w="med" len="sm"/>
            <a:tailEnd type="triangle" w="med" len="sm"/>
          </a:ln>
          <a:effectLst/>
        </p:spPr>
      </p:cxnSp>
      <p:sp>
        <p:nvSpPr>
          <p:cNvPr id="150" name="Rectangle 149">
            <a:extLst>
              <a:ext uri="{FF2B5EF4-FFF2-40B4-BE49-F238E27FC236}">
                <a16:creationId xmlns:a16="http://schemas.microsoft.com/office/drawing/2014/main" id="{0CBE527C-A077-4C55-A473-A28FB73F761D}"/>
              </a:ext>
            </a:extLst>
          </p:cNvPr>
          <p:cNvSpPr/>
          <p:nvPr/>
        </p:nvSpPr>
        <p:spPr>
          <a:xfrm>
            <a:off x="8076733" y="2668500"/>
            <a:ext cx="1126624" cy="542323"/>
          </a:xfrm>
          <a:prstGeom prst="rect">
            <a:avLst/>
          </a:prstGeom>
        </p:spPr>
        <p:txBody>
          <a:bodyPr wrap="none">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srgbClr val="FFFFFF"/>
                </a:solidFill>
                <a:effectLst/>
                <a:uLnTx/>
                <a:uFillTx/>
              </a:rPr>
              <a:t>Application</a:t>
            </a:r>
          </a:p>
          <a:p>
            <a:pPr marL="0" marR="0" lvl="0" indent="0" defTabSz="932418"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srgbClr val="FFFFFF"/>
                </a:solidFill>
                <a:effectLst/>
                <a:uLnTx/>
                <a:uFillTx/>
              </a:rPr>
              <a:t>Proxy</a:t>
            </a:r>
            <a:endParaRPr kumimoji="0" lang="en-US" sz="1428" b="0" i="0" u="none" strike="noStrike" kern="0" cap="none" spc="0" normalizeH="0" baseline="0" noProof="0">
              <a:ln>
                <a:noFill/>
              </a:ln>
              <a:solidFill>
                <a:sysClr val="windowText" lastClr="000000"/>
              </a:solidFill>
              <a:effectLst/>
              <a:uLnTx/>
              <a:uFillTx/>
            </a:endParaRPr>
          </a:p>
        </p:txBody>
      </p:sp>
      <p:sp>
        <p:nvSpPr>
          <p:cNvPr id="151" name="Rectangle: Single Corner Rounded 150">
            <a:extLst>
              <a:ext uri="{FF2B5EF4-FFF2-40B4-BE49-F238E27FC236}">
                <a16:creationId xmlns:a16="http://schemas.microsoft.com/office/drawing/2014/main" id="{1EBC6593-B952-4DA1-96B5-E4135FD812B1}"/>
              </a:ext>
            </a:extLst>
          </p:cNvPr>
          <p:cNvSpPr/>
          <p:nvPr/>
        </p:nvSpPr>
        <p:spPr bwMode="auto">
          <a:xfrm flipH="1">
            <a:off x="3802291" y="4933815"/>
            <a:ext cx="8147120" cy="1991953"/>
          </a:xfrm>
          <a:prstGeom prst="round1Rect">
            <a:avLst>
              <a:gd name="adj" fmla="val 0"/>
            </a:avLst>
          </a:prstGeom>
          <a:solidFill>
            <a:srgbClr val="002050">
              <a:alpha val="50000"/>
            </a:srgbClr>
          </a:solidFill>
          <a:ln w="19050"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52" name="Group 151">
            <a:extLst>
              <a:ext uri="{FF2B5EF4-FFF2-40B4-BE49-F238E27FC236}">
                <a16:creationId xmlns:a16="http://schemas.microsoft.com/office/drawing/2014/main" id="{31DC2E08-3182-4B43-907E-DD57C63103EB}"/>
              </a:ext>
            </a:extLst>
          </p:cNvPr>
          <p:cNvGrpSpPr>
            <a:grpSpLocks noChangeAspect="1"/>
          </p:cNvGrpSpPr>
          <p:nvPr/>
        </p:nvGrpSpPr>
        <p:grpSpPr>
          <a:xfrm>
            <a:off x="819225" y="4021447"/>
            <a:ext cx="2374174" cy="2004101"/>
            <a:chOff x="-2767395" y="3211580"/>
            <a:chExt cx="2136764" cy="1775179"/>
          </a:xfrm>
        </p:grpSpPr>
        <p:sp>
          <p:nvSpPr>
            <p:cNvPr id="153" name="Oval 152">
              <a:extLst>
                <a:ext uri="{FF2B5EF4-FFF2-40B4-BE49-F238E27FC236}">
                  <a16:creationId xmlns:a16="http://schemas.microsoft.com/office/drawing/2014/main" id="{DC3E1D4D-86DF-455A-AEF7-CEF05A70AD1E}"/>
                </a:ext>
              </a:extLst>
            </p:cNvPr>
            <p:cNvSpPr/>
            <p:nvPr/>
          </p:nvSpPr>
          <p:spPr bwMode="auto">
            <a:xfrm>
              <a:off x="-2445697" y="3350028"/>
              <a:ext cx="1476212" cy="1476212"/>
            </a:xfrm>
            <a:prstGeom prst="ellipse">
              <a:avLst/>
            </a:prstGeom>
            <a:noFill/>
            <a:ln w="28575" cap="rnd" cmpd="sng" algn="ctr">
              <a:solidFill>
                <a:srgbClr val="FFFFFF"/>
              </a:solidFill>
              <a:prstDash val="sysDot"/>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4" name="Rectangle 153">
              <a:extLst>
                <a:ext uri="{FF2B5EF4-FFF2-40B4-BE49-F238E27FC236}">
                  <a16:creationId xmlns:a16="http://schemas.microsoft.com/office/drawing/2014/main" id="{F1A7AE67-8A91-4CCF-BBD3-F3BACCE08DFD}"/>
                </a:ext>
              </a:extLst>
            </p:cNvPr>
            <p:cNvSpPr/>
            <p:nvPr/>
          </p:nvSpPr>
          <p:spPr bwMode="auto">
            <a:xfrm>
              <a:off x="-1796710" y="3244846"/>
              <a:ext cx="178238" cy="278178"/>
            </a:xfrm>
            <a:prstGeom prst="rect">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5" name="Rectangle 154">
              <a:extLst>
                <a:ext uri="{FF2B5EF4-FFF2-40B4-BE49-F238E27FC236}">
                  <a16:creationId xmlns:a16="http://schemas.microsoft.com/office/drawing/2014/main" id="{60F71E73-F6D6-43E6-9CE2-9FD1B650389F}"/>
                </a:ext>
              </a:extLst>
            </p:cNvPr>
            <p:cNvSpPr/>
            <p:nvPr/>
          </p:nvSpPr>
          <p:spPr bwMode="auto">
            <a:xfrm>
              <a:off x="-1915729" y="4706392"/>
              <a:ext cx="416277" cy="280367"/>
            </a:xfrm>
            <a:prstGeom prst="rect">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6" name="Freeform 10">
              <a:extLst>
                <a:ext uri="{FF2B5EF4-FFF2-40B4-BE49-F238E27FC236}">
                  <a16:creationId xmlns:a16="http://schemas.microsoft.com/office/drawing/2014/main" id="{21409C14-55D2-485C-BD1A-E97CFE5F31B7}"/>
                </a:ext>
              </a:extLst>
            </p:cNvPr>
            <p:cNvSpPr>
              <a:spLocks/>
            </p:cNvSpPr>
            <p:nvPr/>
          </p:nvSpPr>
          <p:spPr bwMode="auto">
            <a:xfrm>
              <a:off x="-1956267" y="3739744"/>
              <a:ext cx="497352" cy="53228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7" name="TextBox 156">
              <a:extLst>
                <a:ext uri="{FF2B5EF4-FFF2-40B4-BE49-F238E27FC236}">
                  <a16:creationId xmlns:a16="http://schemas.microsoft.com/office/drawing/2014/main" id="{7986FA20-59B6-418E-AACC-289D194251A2}"/>
                </a:ext>
              </a:extLst>
            </p:cNvPr>
            <p:cNvSpPr txBox="1"/>
            <p:nvPr/>
          </p:nvSpPr>
          <p:spPr>
            <a:xfrm>
              <a:off x="-1921683" y="4303616"/>
              <a:ext cx="428186" cy="229679"/>
            </a:xfrm>
            <a:prstGeom prst="rect">
              <a:avLst/>
            </a:prstGeom>
            <a:noFill/>
          </p:spPr>
          <p:txBody>
            <a:bodyPr wrap="none" lIns="0" tIns="0" rIns="0" bIns="0">
              <a:spAutoFit/>
            </a:bodyPr>
            <a:lstStyle/>
            <a:p>
              <a:pPr marL="0" marR="0" lvl="0" indent="0" algn="ctr" defTabSz="93233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a:ln>
                    <a:noFill/>
                  </a:ln>
                  <a:solidFill>
                    <a:srgbClr val="FFFFFF"/>
                  </a:solidFill>
                  <a:effectLst/>
                  <a:uLnTx/>
                  <a:uFillTx/>
                </a:rPr>
                <a:t>User</a:t>
              </a:r>
            </a:p>
          </p:txBody>
        </p:sp>
        <p:sp>
          <p:nvSpPr>
            <p:cNvPr id="158" name="Freeform 5">
              <a:extLst>
                <a:ext uri="{FF2B5EF4-FFF2-40B4-BE49-F238E27FC236}">
                  <a16:creationId xmlns:a16="http://schemas.microsoft.com/office/drawing/2014/main" id="{7DD6FFB6-E242-4479-A224-739BFDEC46B2}"/>
                </a:ext>
              </a:extLst>
            </p:cNvPr>
            <p:cNvSpPr>
              <a:spLocks noEditPoints="1"/>
            </p:cNvSpPr>
            <p:nvPr/>
          </p:nvSpPr>
          <p:spPr bwMode="auto">
            <a:xfrm>
              <a:off x="-1796710" y="3211580"/>
              <a:ext cx="178238" cy="318751"/>
            </a:xfrm>
            <a:custGeom>
              <a:avLst/>
              <a:gdLst>
                <a:gd name="T0" fmla="*/ 958 w 1039"/>
                <a:gd name="T1" fmla="*/ 0 h 1861"/>
                <a:gd name="T2" fmla="*/ 80 w 1039"/>
                <a:gd name="T3" fmla="*/ 0 h 1861"/>
                <a:gd name="T4" fmla="*/ 0 w 1039"/>
                <a:gd name="T5" fmla="*/ 81 h 1861"/>
                <a:gd name="T6" fmla="*/ 0 w 1039"/>
                <a:gd name="T7" fmla="*/ 90 h 1861"/>
                <a:gd name="T8" fmla="*/ 0 w 1039"/>
                <a:gd name="T9" fmla="*/ 1772 h 1861"/>
                <a:gd name="T10" fmla="*/ 0 w 1039"/>
                <a:gd name="T11" fmla="*/ 1781 h 1861"/>
                <a:gd name="T12" fmla="*/ 80 w 1039"/>
                <a:gd name="T13" fmla="*/ 1861 h 1861"/>
                <a:gd name="T14" fmla="*/ 958 w 1039"/>
                <a:gd name="T15" fmla="*/ 1861 h 1861"/>
                <a:gd name="T16" fmla="*/ 1039 w 1039"/>
                <a:gd name="T17" fmla="*/ 1781 h 1861"/>
                <a:gd name="T18" fmla="*/ 1039 w 1039"/>
                <a:gd name="T19" fmla="*/ 1772 h 1861"/>
                <a:gd name="T20" fmla="*/ 1039 w 1039"/>
                <a:gd name="T21" fmla="*/ 90 h 1861"/>
                <a:gd name="T22" fmla="*/ 1039 w 1039"/>
                <a:gd name="T23" fmla="*/ 81 h 1861"/>
                <a:gd name="T24" fmla="*/ 958 w 1039"/>
                <a:gd name="T25" fmla="*/ 0 h 1861"/>
                <a:gd name="T26" fmla="*/ 985 w 1039"/>
                <a:gd name="T27" fmla="*/ 1558 h 1861"/>
                <a:gd name="T28" fmla="*/ 53 w 1039"/>
                <a:gd name="T29" fmla="*/ 1558 h 1861"/>
                <a:gd name="T30" fmla="*/ 53 w 1039"/>
                <a:gd name="T31" fmla="*/ 170 h 1861"/>
                <a:gd name="T32" fmla="*/ 985 w 1039"/>
                <a:gd name="T33" fmla="*/ 170 h 1861"/>
                <a:gd name="T34" fmla="*/ 985 w 1039"/>
                <a:gd name="T35" fmla="*/ 155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9" h="1861">
                  <a:moveTo>
                    <a:pt x="958" y="0"/>
                  </a:moveTo>
                  <a:cubicBezTo>
                    <a:pt x="80" y="0"/>
                    <a:pt x="80" y="0"/>
                    <a:pt x="80" y="0"/>
                  </a:cubicBezTo>
                  <a:cubicBezTo>
                    <a:pt x="36" y="0"/>
                    <a:pt x="0" y="37"/>
                    <a:pt x="0" y="81"/>
                  </a:cubicBezTo>
                  <a:cubicBezTo>
                    <a:pt x="0" y="90"/>
                    <a:pt x="0" y="90"/>
                    <a:pt x="0" y="90"/>
                  </a:cubicBezTo>
                  <a:cubicBezTo>
                    <a:pt x="0" y="1772"/>
                    <a:pt x="0" y="1772"/>
                    <a:pt x="0" y="1772"/>
                  </a:cubicBezTo>
                  <a:cubicBezTo>
                    <a:pt x="0" y="1781"/>
                    <a:pt x="0" y="1781"/>
                    <a:pt x="0" y="1781"/>
                  </a:cubicBezTo>
                  <a:cubicBezTo>
                    <a:pt x="0" y="1825"/>
                    <a:pt x="36" y="1861"/>
                    <a:pt x="80" y="1861"/>
                  </a:cubicBezTo>
                  <a:cubicBezTo>
                    <a:pt x="958" y="1861"/>
                    <a:pt x="958" y="1861"/>
                    <a:pt x="958" y="1861"/>
                  </a:cubicBezTo>
                  <a:cubicBezTo>
                    <a:pt x="1003" y="1861"/>
                    <a:pt x="1039" y="1825"/>
                    <a:pt x="1039" y="1781"/>
                  </a:cubicBezTo>
                  <a:cubicBezTo>
                    <a:pt x="1039" y="1772"/>
                    <a:pt x="1039" y="1772"/>
                    <a:pt x="1039" y="1772"/>
                  </a:cubicBezTo>
                  <a:cubicBezTo>
                    <a:pt x="1039" y="90"/>
                    <a:pt x="1039" y="90"/>
                    <a:pt x="1039" y="90"/>
                  </a:cubicBezTo>
                  <a:cubicBezTo>
                    <a:pt x="1039" y="81"/>
                    <a:pt x="1039" y="81"/>
                    <a:pt x="1039" y="81"/>
                  </a:cubicBezTo>
                  <a:cubicBezTo>
                    <a:pt x="1039" y="36"/>
                    <a:pt x="1003" y="0"/>
                    <a:pt x="958" y="0"/>
                  </a:cubicBezTo>
                  <a:close/>
                  <a:moveTo>
                    <a:pt x="985" y="1558"/>
                  </a:moveTo>
                  <a:cubicBezTo>
                    <a:pt x="53" y="1558"/>
                    <a:pt x="53" y="1558"/>
                    <a:pt x="53" y="1558"/>
                  </a:cubicBezTo>
                  <a:cubicBezTo>
                    <a:pt x="53" y="170"/>
                    <a:pt x="53" y="170"/>
                    <a:pt x="53" y="170"/>
                  </a:cubicBezTo>
                  <a:cubicBezTo>
                    <a:pt x="985" y="170"/>
                    <a:pt x="985" y="170"/>
                    <a:pt x="985" y="170"/>
                  </a:cubicBezTo>
                  <a:lnTo>
                    <a:pt x="985" y="1558"/>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9" name="Freeform 31">
              <a:extLst>
                <a:ext uri="{FF2B5EF4-FFF2-40B4-BE49-F238E27FC236}">
                  <a16:creationId xmlns:a16="http://schemas.microsoft.com/office/drawing/2014/main" id="{7F4D3D74-7ADA-4B08-AB18-60DDD5F059C5}"/>
                </a:ext>
              </a:extLst>
            </p:cNvPr>
            <p:cNvSpPr>
              <a:spLocks noEditPoints="1"/>
            </p:cNvSpPr>
            <p:nvPr/>
          </p:nvSpPr>
          <p:spPr bwMode="auto">
            <a:xfrm>
              <a:off x="-1920861" y="4700749"/>
              <a:ext cx="426541" cy="286010"/>
            </a:xfrm>
            <a:custGeom>
              <a:avLst/>
              <a:gdLst>
                <a:gd name="T0" fmla="*/ 1937 w 2004"/>
                <a:gd name="T1" fmla="*/ 0 h 1343"/>
                <a:gd name="T2" fmla="*/ 68 w 2004"/>
                <a:gd name="T3" fmla="*/ 0 h 1343"/>
                <a:gd name="T4" fmla="*/ 0 w 2004"/>
                <a:gd name="T5" fmla="*/ 67 h 1343"/>
                <a:gd name="T6" fmla="*/ 0 w 2004"/>
                <a:gd name="T7" fmla="*/ 1276 h 1343"/>
                <a:gd name="T8" fmla="*/ 68 w 2004"/>
                <a:gd name="T9" fmla="*/ 1343 h 1343"/>
                <a:gd name="T10" fmla="*/ 1937 w 2004"/>
                <a:gd name="T11" fmla="*/ 1343 h 1343"/>
                <a:gd name="T12" fmla="*/ 2004 w 2004"/>
                <a:gd name="T13" fmla="*/ 1276 h 1343"/>
                <a:gd name="T14" fmla="*/ 2004 w 2004"/>
                <a:gd name="T15" fmla="*/ 67 h 1343"/>
                <a:gd name="T16" fmla="*/ 1937 w 2004"/>
                <a:gd name="T17" fmla="*/ 0 h 1343"/>
                <a:gd name="T18" fmla="*/ 1870 w 2004"/>
                <a:gd name="T19" fmla="*/ 1201 h 1343"/>
                <a:gd name="T20" fmla="*/ 132 w 2004"/>
                <a:gd name="T21" fmla="*/ 1201 h 1343"/>
                <a:gd name="T22" fmla="*/ 132 w 2004"/>
                <a:gd name="T23" fmla="*/ 137 h 1343"/>
                <a:gd name="T24" fmla="*/ 1870 w 2004"/>
                <a:gd name="T25" fmla="*/ 137 h 1343"/>
                <a:gd name="T26" fmla="*/ 1870 w 2004"/>
                <a:gd name="T27" fmla="*/ 1201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4" h="1343">
                  <a:moveTo>
                    <a:pt x="1937" y="0"/>
                  </a:moveTo>
                  <a:cubicBezTo>
                    <a:pt x="68" y="0"/>
                    <a:pt x="68" y="0"/>
                    <a:pt x="68" y="0"/>
                  </a:cubicBezTo>
                  <a:cubicBezTo>
                    <a:pt x="34" y="0"/>
                    <a:pt x="0" y="27"/>
                    <a:pt x="0" y="67"/>
                  </a:cubicBezTo>
                  <a:cubicBezTo>
                    <a:pt x="0" y="1229"/>
                    <a:pt x="0" y="1276"/>
                    <a:pt x="0" y="1276"/>
                  </a:cubicBezTo>
                  <a:cubicBezTo>
                    <a:pt x="0" y="1316"/>
                    <a:pt x="34" y="1343"/>
                    <a:pt x="68" y="1343"/>
                  </a:cubicBezTo>
                  <a:cubicBezTo>
                    <a:pt x="1937" y="1343"/>
                    <a:pt x="1937" y="1343"/>
                    <a:pt x="1937" y="1343"/>
                  </a:cubicBezTo>
                  <a:cubicBezTo>
                    <a:pt x="1977" y="1343"/>
                    <a:pt x="2004" y="1316"/>
                    <a:pt x="2004" y="1276"/>
                  </a:cubicBezTo>
                  <a:cubicBezTo>
                    <a:pt x="2004" y="114"/>
                    <a:pt x="2004" y="67"/>
                    <a:pt x="2004" y="67"/>
                  </a:cubicBezTo>
                  <a:cubicBezTo>
                    <a:pt x="2004" y="27"/>
                    <a:pt x="1977" y="0"/>
                    <a:pt x="1937" y="0"/>
                  </a:cubicBezTo>
                  <a:close/>
                  <a:moveTo>
                    <a:pt x="1870" y="1201"/>
                  </a:moveTo>
                  <a:cubicBezTo>
                    <a:pt x="132" y="1201"/>
                    <a:pt x="132" y="1201"/>
                    <a:pt x="132" y="1201"/>
                  </a:cubicBezTo>
                  <a:cubicBezTo>
                    <a:pt x="132" y="137"/>
                    <a:pt x="132" y="137"/>
                    <a:pt x="132" y="137"/>
                  </a:cubicBezTo>
                  <a:cubicBezTo>
                    <a:pt x="1870" y="137"/>
                    <a:pt x="1870" y="137"/>
                    <a:pt x="1870" y="137"/>
                  </a:cubicBezTo>
                  <a:lnTo>
                    <a:pt x="1870" y="1201"/>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nvGrpSpPr>
            <p:cNvPr id="160" name="Group 159">
              <a:extLst>
                <a:ext uri="{FF2B5EF4-FFF2-40B4-BE49-F238E27FC236}">
                  <a16:creationId xmlns:a16="http://schemas.microsoft.com/office/drawing/2014/main" id="{870D774E-4A42-4D97-8E33-F65062FC1FD3}"/>
                </a:ext>
              </a:extLst>
            </p:cNvPr>
            <p:cNvGrpSpPr/>
            <p:nvPr/>
          </p:nvGrpSpPr>
          <p:grpSpPr>
            <a:xfrm>
              <a:off x="-1332494" y="3902337"/>
              <a:ext cx="701863" cy="388009"/>
              <a:chOff x="-1332494" y="3888716"/>
              <a:chExt cx="701863" cy="388009"/>
            </a:xfrm>
          </p:grpSpPr>
          <p:sp>
            <p:nvSpPr>
              <p:cNvPr id="166" name="Rectangle 165">
                <a:extLst>
                  <a:ext uri="{FF2B5EF4-FFF2-40B4-BE49-F238E27FC236}">
                    <a16:creationId xmlns:a16="http://schemas.microsoft.com/office/drawing/2014/main" id="{E7B1BF09-98C7-42E8-AAC9-F4B1506DDCA9}"/>
                  </a:ext>
                </a:extLst>
              </p:cNvPr>
              <p:cNvSpPr/>
              <p:nvPr/>
            </p:nvSpPr>
            <p:spPr bwMode="auto">
              <a:xfrm>
                <a:off x="-1231815" y="3891013"/>
                <a:ext cx="504352" cy="334704"/>
              </a:xfrm>
              <a:prstGeom prst="rect">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67" name="Group 166">
                <a:extLst>
                  <a:ext uri="{FF2B5EF4-FFF2-40B4-BE49-F238E27FC236}">
                    <a16:creationId xmlns:a16="http://schemas.microsoft.com/office/drawing/2014/main" id="{4E54A843-3F17-492B-9736-4F4E7F865A82}"/>
                  </a:ext>
                </a:extLst>
              </p:cNvPr>
              <p:cNvGrpSpPr/>
              <p:nvPr/>
            </p:nvGrpSpPr>
            <p:grpSpPr>
              <a:xfrm>
                <a:off x="-1332494" y="3888716"/>
                <a:ext cx="701863" cy="388009"/>
                <a:chOff x="12292013" y="915988"/>
                <a:chExt cx="8083550" cy="4468812"/>
              </a:xfrm>
              <a:solidFill>
                <a:srgbClr val="FFFFFF"/>
              </a:solidFill>
            </p:grpSpPr>
            <p:sp>
              <p:nvSpPr>
                <p:cNvPr id="168" name="Freeform 17">
                  <a:extLst>
                    <a:ext uri="{FF2B5EF4-FFF2-40B4-BE49-F238E27FC236}">
                      <a16:creationId xmlns:a16="http://schemas.microsoft.com/office/drawing/2014/main" id="{11518CB6-FD15-4376-A0D6-1AD6D74AF525}"/>
                    </a:ext>
                  </a:extLst>
                </p:cNvPr>
                <p:cNvSpPr>
                  <a:spLocks noEditPoints="1"/>
                </p:cNvSpPr>
                <p:nvPr/>
              </p:nvSpPr>
              <p:spPr bwMode="auto">
                <a:xfrm>
                  <a:off x="13312776" y="915988"/>
                  <a:ext cx="6042025" cy="4054475"/>
                </a:xfrm>
                <a:custGeom>
                  <a:avLst/>
                  <a:gdLst>
                    <a:gd name="T0" fmla="*/ 54 w 1609"/>
                    <a:gd name="T1" fmla="*/ 1079 h 1079"/>
                    <a:gd name="T2" fmla="*/ 1555 w 1609"/>
                    <a:gd name="T3" fmla="*/ 1079 h 1079"/>
                    <a:gd name="T4" fmla="*/ 1609 w 1609"/>
                    <a:gd name="T5" fmla="*/ 1025 h 1079"/>
                    <a:gd name="T6" fmla="*/ 1609 w 1609"/>
                    <a:gd name="T7" fmla="*/ 55 h 1079"/>
                    <a:gd name="T8" fmla="*/ 1555 w 1609"/>
                    <a:gd name="T9" fmla="*/ 0 h 1079"/>
                    <a:gd name="T10" fmla="*/ 54 w 1609"/>
                    <a:gd name="T11" fmla="*/ 0 h 1079"/>
                    <a:gd name="T12" fmla="*/ 0 w 1609"/>
                    <a:gd name="T13" fmla="*/ 55 h 1079"/>
                    <a:gd name="T14" fmla="*/ 0 w 1609"/>
                    <a:gd name="T15" fmla="*/ 1025 h 1079"/>
                    <a:gd name="T16" fmla="*/ 54 w 1609"/>
                    <a:gd name="T17" fmla="*/ 1079 h 1079"/>
                    <a:gd name="T18" fmla="*/ 106 w 1609"/>
                    <a:gd name="T19" fmla="*/ 111 h 1079"/>
                    <a:gd name="T20" fmla="*/ 1502 w 1609"/>
                    <a:gd name="T21" fmla="*/ 111 h 1079"/>
                    <a:gd name="T22" fmla="*/ 1502 w 1609"/>
                    <a:gd name="T23" fmla="*/ 966 h 1079"/>
                    <a:gd name="T24" fmla="*/ 106 w 1609"/>
                    <a:gd name="T25" fmla="*/ 966 h 1079"/>
                    <a:gd name="T26" fmla="*/ 106 w 1609"/>
                    <a:gd name="T27" fmla="*/ 111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9" h="1079">
                      <a:moveTo>
                        <a:pt x="54" y="1079"/>
                      </a:moveTo>
                      <a:cubicBezTo>
                        <a:pt x="1555" y="1079"/>
                        <a:pt x="1555" y="1079"/>
                        <a:pt x="1555" y="1079"/>
                      </a:cubicBezTo>
                      <a:cubicBezTo>
                        <a:pt x="1587" y="1079"/>
                        <a:pt x="1609" y="1058"/>
                        <a:pt x="1609" y="1025"/>
                      </a:cubicBezTo>
                      <a:cubicBezTo>
                        <a:pt x="1609" y="93"/>
                        <a:pt x="1609" y="55"/>
                        <a:pt x="1609" y="55"/>
                      </a:cubicBezTo>
                      <a:cubicBezTo>
                        <a:pt x="1609" y="22"/>
                        <a:pt x="1587" y="0"/>
                        <a:pt x="1555" y="0"/>
                      </a:cubicBezTo>
                      <a:cubicBezTo>
                        <a:pt x="54" y="0"/>
                        <a:pt x="54" y="0"/>
                        <a:pt x="54" y="0"/>
                      </a:cubicBezTo>
                      <a:cubicBezTo>
                        <a:pt x="27" y="0"/>
                        <a:pt x="0" y="22"/>
                        <a:pt x="0" y="55"/>
                      </a:cubicBezTo>
                      <a:cubicBezTo>
                        <a:pt x="0" y="987"/>
                        <a:pt x="0" y="1025"/>
                        <a:pt x="0" y="1025"/>
                      </a:cubicBezTo>
                      <a:cubicBezTo>
                        <a:pt x="0" y="1058"/>
                        <a:pt x="27" y="1079"/>
                        <a:pt x="54" y="1079"/>
                      </a:cubicBezTo>
                      <a:close/>
                      <a:moveTo>
                        <a:pt x="106" y="111"/>
                      </a:moveTo>
                      <a:cubicBezTo>
                        <a:pt x="1502" y="111"/>
                        <a:pt x="1502" y="111"/>
                        <a:pt x="1502" y="111"/>
                      </a:cubicBezTo>
                      <a:cubicBezTo>
                        <a:pt x="1502" y="966"/>
                        <a:pt x="1502" y="966"/>
                        <a:pt x="1502" y="966"/>
                      </a:cubicBezTo>
                      <a:cubicBezTo>
                        <a:pt x="106" y="966"/>
                        <a:pt x="106" y="966"/>
                        <a:pt x="106" y="966"/>
                      </a:cubicBezTo>
                      <a:lnTo>
                        <a:pt x="106"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69" name="Freeform 18">
                  <a:extLst>
                    <a:ext uri="{FF2B5EF4-FFF2-40B4-BE49-F238E27FC236}">
                      <a16:creationId xmlns:a16="http://schemas.microsoft.com/office/drawing/2014/main" id="{D868F9E0-B431-47B3-BB4D-CF2E35826896}"/>
                    </a:ext>
                  </a:extLst>
                </p:cNvPr>
                <p:cNvSpPr>
                  <a:spLocks/>
                </p:cNvSpPr>
                <p:nvPr/>
              </p:nvSpPr>
              <p:spPr bwMode="auto">
                <a:xfrm>
                  <a:off x="12292013" y="5060950"/>
                  <a:ext cx="8083550" cy="323850"/>
                </a:xfrm>
                <a:custGeom>
                  <a:avLst/>
                  <a:gdLst>
                    <a:gd name="T0" fmla="*/ 0 w 2153"/>
                    <a:gd name="T1" fmla="*/ 0 h 86"/>
                    <a:gd name="T2" fmla="*/ 0 w 2153"/>
                    <a:gd name="T3" fmla="*/ 53 h 86"/>
                    <a:gd name="T4" fmla="*/ 70 w 2153"/>
                    <a:gd name="T5" fmla="*/ 86 h 86"/>
                    <a:gd name="T6" fmla="*/ 2083 w 2153"/>
                    <a:gd name="T7" fmla="*/ 86 h 86"/>
                    <a:gd name="T8" fmla="*/ 2153 w 2153"/>
                    <a:gd name="T9" fmla="*/ 53 h 86"/>
                    <a:gd name="T10" fmla="*/ 2153 w 2153"/>
                    <a:gd name="T11" fmla="*/ 0 h 86"/>
                    <a:gd name="T12" fmla="*/ 0 w 2153"/>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2153" h="86">
                      <a:moveTo>
                        <a:pt x="0" y="0"/>
                      </a:moveTo>
                      <a:cubicBezTo>
                        <a:pt x="0" y="53"/>
                        <a:pt x="0" y="53"/>
                        <a:pt x="0" y="53"/>
                      </a:cubicBezTo>
                      <a:cubicBezTo>
                        <a:pt x="0" y="53"/>
                        <a:pt x="48" y="86"/>
                        <a:pt x="70" y="86"/>
                      </a:cubicBezTo>
                      <a:cubicBezTo>
                        <a:pt x="2083" y="86"/>
                        <a:pt x="2083" y="86"/>
                        <a:pt x="2083" y="86"/>
                      </a:cubicBezTo>
                      <a:cubicBezTo>
                        <a:pt x="2104" y="86"/>
                        <a:pt x="2153" y="53"/>
                        <a:pt x="2153" y="53"/>
                      </a:cubicBezTo>
                      <a:cubicBezTo>
                        <a:pt x="2153" y="16"/>
                        <a:pt x="2153" y="4"/>
                        <a:pt x="215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grpSp>
          <p:nvGrpSpPr>
            <p:cNvPr id="161" name="Group 160">
              <a:extLst>
                <a:ext uri="{FF2B5EF4-FFF2-40B4-BE49-F238E27FC236}">
                  <a16:creationId xmlns:a16="http://schemas.microsoft.com/office/drawing/2014/main" id="{935B66E8-FE5C-4209-A206-6734DC5687F3}"/>
                </a:ext>
              </a:extLst>
            </p:cNvPr>
            <p:cNvGrpSpPr/>
            <p:nvPr/>
          </p:nvGrpSpPr>
          <p:grpSpPr>
            <a:xfrm>
              <a:off x="-2767395" y="3863931"/>
              <a:ext cx="633945" cy="464820"/>
              <a:chOff x="-2767395" y="3863931"/>
              <a:chExt cx="633945" cy="464820"/>
            </a:xfrm>
          </p:grpSpPr>
          <p:sp>
            <p:nvSpPr>
              <p:cNvPr id="162" name="Rectangle 161">
                <a:extLst>
                  <a:ext uri="{FF2B5EF4-FFF2-40B4-BE49-F238E27FC236}">
                    <a16:creationId xmlns:a16="http://schemas.microsoft.com/office/drawing/2014/main" id="{1C5631BE-CC33-4127-81D7-1DB6BDA6FB75}"/>
                  </a:ext>
                </a:extLst>
              </p:cNvPr>
              <p:cNvSpPr/>
              <p:nvPr/>
            </p:nvSpPr>
            <p:spPr bwMode="auto">
              <a:xfrm>
                <a:off x="-2739204" y="3891013"/>
                <a:ext cx="575669" cy="334704"/>
              </a:xfrm>
              <a:prstGeom prst="rect">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63" name="Group 162">
                <a:extLst>
                  <a:ext uri="{FF2B5EF4-FFF2-40B4-BE49-F238E27FC236}">
                    <a16:creationId xmlns:a16="http://schemas.microsoft.com/office/drawing/2014/main" id="{6448ADEF-00AA-4BBF-BABE-FB0C689EB711}"/>
                  </a:ext>
                </a:extLst>
              </p:cNvPr>
              <p:cNvGrpSpPr/>
              <p:nvPr/>
            </p:nvGrpSpPr>
            <p:grpSpPr>
              <a:xfrm>
                <a:off x="-2767395" y="3863931"/>
                <a:ext cx="633945" cy="464820"/>
                <a:chOff x="5576213" y="5106429"/>
                <a:chExt cx="1172194" cy="859474"/>
              </a:xfrm>
            </p:grpSpPr>
            <p:sp>
              <p:nvSpPr>
                <p:cNvPr id="164" name="Freeform 32">
                  <a:extLst>
                    <a:ext uri="{FF2B5EF4-FFF2-40B4-BE49-F238E27FC236}">
                      <a16:creationId xmlns:a16="http://schemas.microsoft.com/office/drawing/2014/main" id="{741BA09E-338E-494B-81D3-CA1B8CB774BF}"/>
                    </a:ext>
                  </a:extLst>
                </p:cNvPr>
                <p:cNvSpPr>
                  <a:spLocks noEditPoints="1"/>
                </p:cNvSpPr>
                <p:nvPr/>
              </p:nvSpPr>
              <p:spPr bwMode="auto">
                <a:xfrm>
                  <a:off x="5576213" y="5106429"/>
                  <a:ext cx="1172194" cy="800585"/>
                </a:xfrm>
                <a:custGeom>
                  <a:avLst/>
                  <a:gdLst>
                    <a:gd name="T0" fmla="*/ 1892 w 1952"/>
                    <a:gd name="T1" fmla="*/ 0 h 1332"/>
                    <a:gd name="T2" fmla="*/ 59 w 1952"/>
                    <a:gd name="T3" fmla="*/ 0 h 1332"/>
                    <a:gd name="T4" fmla="*/ 0 w 1952"/>
                    <a:gd name="T5" fmla="*/ 60 h 1332"/>
                    <a:gd name="T6" fmla="*/ 0 w 1952"/>
                    <a:gd name="T7" fmla="*/ 1134 h 1332"/>
                    <a:gd name="T8" fmla="*/ 59 w 1952"/>
                    <a:gd name="T9" fmla="*/ 1194 h 1332"/>
                    <a:gd name="T10" fmla="*/ 720 w 1952"/>
                    <a:gd name="T11" fmla="*/ 1194 h 1332"/>
                    <a:gd name="T12" fmla="*/ 668 w 1952"/>
                    <a:gd name="T13" fmla="*/ 1332 h 1332"/>
                    <a:gd name="T14" fmla="*/ 1241 w 1952"/>
                    <a:gd name="T15" fmla="*/ 1332 h 1332"/>
                    <a:gd name="T16" fmla="*/ 1189 w 1952"/>
                    <a:gd name="T17" fmla="*/ 1194 h 1332"/>
                    <a:gd name="T18" fmla="*/ 1892 w 1952"/>
                    <a:gd name="T19" fmla="*/ 1194 h 1332"/>
                    <a:gd name="T20" fmla="*/ 1952 w 1952"/>
                    <a:gd name="T21" fmla="*/ 1134 h 1332"/>
                    <a:gd name="T22" fmla="*/ 1952 w 1952"/>
                    <a:gd name="T23" fmla="*/ 60 h 1332"/>
                    <a:gd name="T24" fmla="*/ 1892 w 1952"/>
                    <a:gd name="T25" fmla="*/ 0 h 1332"/>
                    <a:gd name="T26" fmla="*/ 1834 w 1952"/>
                    <a:gd name="T27" fmla="*/ 1068 h 1332"/>
                    <a:gd name="T28" fmla="*/ 117 w 1952"/>
                    <a:gd name="T29" fmla="*/ 1068 h 1332"/>
                    <a:gd name="T30" fmla="*/ 117 w 1952"/>
                    <a:gd name="T31" fmla="*/ 123 h 1332"/>
                    <a:gd name="T32" fmla="*/ 1834 w 1952"/>
                    <a:gd name="T33" fmla="*/ 123 h 1332"/>
                    <a:gd name="T34" fmla="*/ 1834 w 1952"/>
                    <a:gd name="T35" fmla="*/ 1068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52" h="1332">
                      <a:moveTo>
                        <a:pt x="1892" y="0"/>
                      </a:moveTo>
                      <a:cubicBezTo>
                        <a:pt x="233" y="0"/>
                        <a:pt x="59" y="0"/>
                        <a:pt x="59" y="0"/>
                      </a:cubicBezTo>
                      <a:cubicBezTo>
                        <a:pt x="30" y="0"/>
                        <a:pt x="0" y="24"/>
                        <a:pt x="0" y="60"/>
                      </a:cubicBezTo>
                      <a:cubicBezTo>
                        <a:pt x="0" y="1092"/>
                        <a:pt x="0" y="1134"/>
                        <a:pt x="0" y="1134"/>
                      </a:cubicBezTo>
                      <a:cubicBezTo>
                        <a:pt x="0" y="1170"/>
                        <a:pt x="30" y="1194"/>
                        <a:pt x="59" y="1194"/>
                      </a:cubicBezTo>
                      <a:cubicBezTo>
                        <a:pt x="720" y="1194"/>
                        <a:pt x="720" y="1194"/>
                        <a:pt x="720" y="1194"/>
                      </a:cubicBezTo>
                      <a:cubicBezTo>
                        <a:pt x="668" y="1332"/>
                        <a:pt x="668" y="1332"/>
                        <a:pt x="668" y="1332"/>
                      </a:cubicBezTo>
                      <a:cubicBezTo>
                        <a:pt x="1241" y="1332"/>
                        <a:pt x="1241" y="1332"/>
                        <a:pt x="1241" y="1332"/>
                      </a:cubicBezTo>
                      <a:cubicBezTo>
                        <a:pt x="1189" y="1194"/>
                        <a:pt x="1189" y="1194"/>
                        <a:pt x="1189" y="1194"/>
                      </a:cubicBezTo>
                      <a:cubicBezTo>
                        <a:pt x="1892" y="1194"/>
                        <a:pt x="1892" y="1194"/>
                        <a:pt x="1892" y="1194"/>
                      </a:cubicBezTo>
                      <a:cubicBezTo>
                        <a:pt x="1928" y="1194"/>
                        <a:pt x="1952" y="1170"/>
                        <a:pt x="1952" y="1134"/>
                      </a:cubicBezTo>
                      <a:cubicBezTo>
                        <a:pt x="1952" y="102"/>
                        <a:pt x="1952" y="60"/>
                        <a:pt x="1952" y="60"/>
                      </a:cubicBezTo>
                      <a:cubicBezTo>
                        <a:pt x="1952" y="24"/>
                        <a:pt x="1928" y="0"/>
                        <a:pt x="1892" y="0"/>
                      </a:cubicBezTo>
                      <a:close/>
                      <a:moveTo>
                        <a:pt x="1834" y="1068"/>
                      </a:moveTo>
                      <a:cubicBezTo>
                        <a:pt x="117" y="1068"/>
                        <a:pt x="117" y="1068"/>
                        <a:pt x="117" y="1068"/>
                      </a:cubicBezTo>
                      <a:cubicBezTo>
                        <a:pt x="117" y="123"/>
                        <a:pt x="117" y="123"/>
                        <a:pt x="117" y="123"/>
                      </a:cubicBezTo>
                      <a:cubicBezTo>
                        <a:pt x="1834" y="123"/>
                        <a:pt x="1834" y="123"/>
                        <a:pt x="1834" y="123"/>
                      </a:cubicBezTo>
                      <a:lnTo>
                        <a:pt x="1834" y="10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65" name="Rectangle 33">
                  <a:extLst>
                    <a:ext uri="{FF2B5EF4-FFF2-40B4-BE49-F238E27FC236}">
                      <a16:creationId xmlns:a16="http://schemas.microsoft.com/office/drawing/2014/main" id="{154D742D-D645-4016-9423-7626C7BE38AF}"/>
                    </a:ext>
                  </a:extLst>
                </p:cNvPr>
                <p:cNvSpPr>
                  <a:spLocks noChangeArrowheads="1"/>
                </p:cNvSpPr>
                <p:nvPr/>
              </p:nvSpPr>
              <p:spPr bwMode="auto">
                <a:xfrm>
                  <a:off x="5820653" y="5926813"/>
                  <a:ext cx="682807" cy="390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grpSp>
      <p:grpSp>
        <p:nvGrpSpPr>
          <p:cNvPr id="170" name="Group 169">
            <a:extLst>
              <a:ext uri="{FF2B5EF4-FFF2-40B4-BE49-F238E27FC236}">
                <a16:creationId xmlns:a16="http://schemas.microsoft.com/office/drawing/2014/main" id="{BDB92A8B-4FC4-44BC-AD81-F32D671DA264}"/>
              </a:ext>
            </a:extLst>
          </p:cNvPr>
          <p:cNvGrpSpPr/>
          <p:nvPr/>
        </p:nvGrpSpPr>
        <p:grpSpPr>
          <a:xfrm>
            <a:off x="9657296" y="2576346"/>
            <a:ext cx="2289208" cy="1531422"/>
            <a:chOff x="9657782" y="2576215"/>
            <a:chExt cx="2289532" cy="1531639"/>
          </a:xfrm>
        </p:grpSpPr>
        <p:sp>
          <p:nvSpPr>
            <p:cNvPr id="171" name="Rectangle 170">
              <a:extLst>
                <a:ext uri="{FF2B5EF4-FFF2-40B4-BE49-F238E27FC236}">
                  <a16:creationId xmlns:a16="http://schemas.microsoft.com/office/drawing/2014/main" id="{EA2C3368-3250-4FA2-BA45-4155ADB23EE7}"/>
                </a:ext>
              </a:extLst>
            </p:cNvPr>
            <p:cNvSpPr/>
            <p:nvPr/>
          </p:nvSpPr>
          <p:spPr>
            <a:xfrm>
              <a:off x="9657782" y="3762642"/>
              <a:ext cx="2289532" cy="345212"/>
            </a:xfrm>
            <a:prstGeom prst="rect">
              <a:avLst/>
            </a:prstGeom>
          </p:spPr>
          <p:txBody>
            <a:bodyPr wrap="none">
              <a:spAutoFit/>
            </a:bodyP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FFFFFF"/>
                  </a:solidFill>
                  <a:effectLst/>
                  <a:uLnTx/>
                  <a:uFillTx/>
                </a:rPr>
                <a:t>Azure or 3</a:t>
              </a:r>
              <a:r>
                <a:rPr kumimoji="0" lang="en-US" sz="1599" b="0" i="0" u="none" strike="noStrike" kern="0" cap="none" spc="0" normalizeH="0" baseline="30000" noProof="0">
                  <a:ln>
                    <a:noFill/>
                  </a:ln>
                  <a:solidFill>
                    <a:srgbClr val="FFFFFF"/>
                  </a:solidFill>
                  <a:effectLst/>
                  <a:uLnTx/>
                  <a:uFillTx/>
                </a:rPr>
                <a:t>rd</a:t>
              </a:r>
              <a:r>
                <a:rPr kumimoji="0" lang="en-US" sz="1599" b="0" i="0" u="none" strike="noStrike" kern="0" cap="none" spc="0" normalizeH="0" baseline="0" noProof="0">
                  <a:ln>
                    <a:noFill/>
                  </a:ln>
                  <a:solidFill>
                    <a:srgbClr val="FFFFFF"/>
                  </a:solidFill>
                  <a:effectLst/>
                  <a:uLnTx/>
                  <a:uFillTx/>
                </a:rPr>
                <a:t> Party IaaS </a:t>
              </a:r>
              <a:endParaRPr kumimoji="0" lang="en-US" sz="1599" b="0" i="0" u="none" strike="noStrike" kern="0" cap="none" spc="0" normalizeH="0" baseline="0" noProof="0">
                <a:ln>
                  <a:noFill/>
                </a:ln>
                <a:solidFill>
                  <a:sysClr val="windowText" lastClr="000000"/>
                </a:solidFill>
                <a:effectLst/>
                <a:uLnTx/>
                <a:uFillTx/>
              </a:endParaRPr>
            </a:p>
          </p:txBody>
        </p:sp>
        <p:pic>
          <p:nvPicPr>
            <p:cNvPr id="172" name="Picture 171">
              <a:extLst>
                <a:ext uri="{FF2B5EF4-FFF2-40B4-BE49-F238E27FC236}">
                  <a16:creationId xmlns:a16="http://schemas.microsoft.com/office/drawing/2014/main" id="{7D034019-B049-4B82-8058-4AC62B1C2A18}"/>
                </a:ext>
              </a:extLst>
            </p:cNvPr>
            <p:cNvPicPr>
              <a:picLocks noChangeAspect="1"/>
            </p:cNvPicPr>
            <p:nvPr/>
          </p:nvPicPr>
          <p:blipFill rotWithShape="1">
            <a:blip r:embed="rId3" cstate="print">
              <a:biLevel thresh="25000"/>
              <a:extLst>
                <a:ext uri="{28A0092B-C50C-407E-A947-70E740481C1C}">
                  <a14:useLocalDpi xmlns:a14="http://schemas.microsoft.com/office/drawing/2010/main" val="0"/>
                </a:ext>
              </a:extLst>
            </a:blip>
            <a:srcRect t="18171" b="19431"/>
            <a:stretch/>
          </p:blipFill>
          <p:spPr>
            <a:xfrm>
              <a:off x="9777493" y="2576215"/>
              <a:ext cx="1883427" cy="1175216"/>
            </a:xfrm>
            <a:prstGeom prst="rect">
              <a:avLst/>
            </a:prstGeom>
          </p:spPr>
        </p:pic>
        <p:sp>
          <p:nvSpPr>
            <p:cNvPr id="173" name="Rectangle: Rounded Corners 172">
              <a:extLst>
                <a:ext uri="{FF2B5EF4-FFF2-40B4-BE49-F238E27FC236}">
                  <a16:creationId xmlns:a16="http://schemas.microsoft.com/office/drawing/2014/main" id="{358A1627-5876-44AE-98F5-03693F7FF350}"/>
                </a:ext>
              </a:extLst>
            </p:cNvPr>
            <p:cNvSpPr/>
            <p:nvPr/>
          </p:nvSpPr>
          <p:spPr bwMode="auto">
            <a:xfrm>
              <a:off x="11361424" y="3162983"/>
              <a:ext cx="459451" cy="500708"/>
            </a:xfrm>
            <a:prstGeom prst="roundRect">
              <a:avLst>
                <a:gd name="adj" fmla="val 6989"/>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74" name="Picture 173">
              <a:extLst>
                <a:ext uri="{FF2B5EF4-FFF2-40B4-BE49-F238E27FC236}">
                  <a16:creationId xmlns:a16="http://schemas.microsoft.com/office/drawing/2014/main" id="{91B11D4A-FB54-4EF3-87FE-C3E3F4F545E3}"/>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1349528" y="3175682"/>
              <a:ext cx="483242" cy="483242"/>
            </a:xfrm>
            <a:prstGeom prst="rect">
              <a:avLst/>
            </a:prstGeom>
          </p:spPr>
        </p:pic>
        <p:pic>
          <p:nvPicPr>
            <p:cNvPr id="175" name="Picture 174">
              <a:extLst>
                <a:ext uri="{FF2B5EF4-FFF2-40B4-BE49-F238E27FC236}">
                  <a16:creationId xmlns:a16="http://schemas.microsoft.com/office/drawing/2014/main" id="{0BC968B7-A96C-4BAF-B836-ED44A2C6A8C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7353" b="16241"/>
            <a:stretch/>
          </p:blipFill>
          <p:spPr>
            <a:xfrm>
              <a:off x="10491522" y="3008266"/>
              <a:ext cx="770772" cy="511836"/>
            </a:xfrm>
            <a:prstGeom prst="rect">
              <a:avLst/>
            </a:prstGeom>
          </p:spPr>
        </p:pic>
      </p:grpSp>
      <p:grpSp>
        <p:nvGrpSpPr>
          <p:cNvPr id="176" name="Group 175">
            <a:extLst>
              <a:ext uri="{FF2B5EF4-FFF2-40B4-BE49-F238E27FC236}">
                <a16:creationId xmlns:a16="http://schemas.microsoft.com/office/drawing/2014/main" id="{8D9F9865-C15E-4FDD-842B-82A77D173BB2}"/>
              </a:ext>
            </a:extLst>
          </p:cNvPr>
          <p:cNvGrpSpPr>
            <a:grpSpLocks noChangeAspect="1"/>
          </p:cNvGrpSpPr>
          <p:nvPr/>
        </p:nvGrpSpPr>
        <p:grpSpPr>
          <a:xfrm>
            <a:off x="5135456" y="6103008"/>
            <a:ext cx="750423" cy="488341"/>
            <a:chOff x="4868397" y="5377787"/>
            <a:chExt cx="457200" cy="297526"/>
          </a:xfrm>
        </p:grpSpPr>
        <p:sp>
          <p:nvSpPr>
            <p:cNvPr id="177" name="Rectangle 176">
              <a:extLst>
                <a:ext uri="{FF2B5EF4-FFF2-40B4-BE49-F238E27FC236}">
                  <a16:creationId xmlns:a16="http://schemas.microsoft.com/office/drawing/2014/main" id="{5D7ECE9B-5A9A-4FE4-AE06-690CCF1ADA16}"/>
                </a:ext>
              </a:extLst>
            </p:cNvPr>
            <p:cNvSpPr/>
            <p:nvPr/>
          </p:nvSpPr>
          <p:spPr bwMode="auto">
            <a:xfrm>
              <a:off x="4876726" y="5388349"/>
              <a:ext cx="440542" cy="276403"/>
            </a:xfrm>
            <a:prstGeom prst="rect">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78" name="Picture 177">
              <a:extLst>
                <a:ext uri="{FF2B5EF4-FFF2-40B4-BE49-F238E27FC236}">
                  <a16:creationId xmlns:a16="http://schemas.microsoft.com/office/drawing/2014/main" id="{4312C238-9624-49DF-A57B-BF4E88496E1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7462" b="17462"/>
            <a:stretch/>
          </p:blipFill>
          <p:spPr>
            <a:xfrm>
              <a:off x="4868397" y="5377787"/>
              <a:ext cx="457200" cy="297526"/>
            </a:xfrm>
            <a:prstGeom prst="rect">
              <a:avLst/>
            </a:prstGeom>
          </p:spPr>
        </p:pic>
      </p:grpSp>
      <p:grpSp>
        <p:nvGrpSpPr>
          <p:cNvPr id="179" name="Group 178">
            <a:extLst>
              <a:ext uri="{FF2B5EF4-FFF2-40B4-BE49-F238E27FC236}">
                <a16:creationId xmlns:a16="http://schemas.microsoft.com/office/drawing/2014/main" id="{DB421B00-BA8B-49E7-A1BD-EE4915718555}"/>
              </a:ext>
            </a:extLst>
          </p:cNvPr>
          <p:cNvGrpSpPr>
            <a:grpSpLocks noChangeAspect="1"/>
          </p:cNvGrpSpPr>
          <p:nvPr/>
        </p:nvGrpSpPr>
        <p:grpSpPr>
          <a:xfrm>
            <a:off x="6057565" y="6103008"/>
            <a:ext cx="750423" cy="488341"/>
            <a:chOff x="4868398" y="5377787"/>
            <a:chExt cx="457200" cy="297526"/>
          </a:xfrm>
        </p:grpSpPr>
        <p:sp>
          <p:nvSpPr>
            <p:cNvPr id="180" name="Rectangle 179">
              <a:extLst>
                <a:ext uri="{FF2B5EF4-FFF2-40B4-BE49-F238E27FC236}">
                  <a16:creationId xmlns:a16="http://schemas.microsoft.com/office/drawing/2014/main" id="{CEEAAB4E-3C0C-4BCB-B095-0506815860F7}"/>
                </a:ext>
              </a:extLst>
            </p:cNvPr>
            <p:cNvSpPr/>
            <p:nvPr/>
          </p:nvSpPr>
          <p:spPr bwMode="auto">
            <a:xfrm>
              <a:off x="4876726" y="5388349"/>
              <a:ext cx="440542" cy="276403"/>
            </a:xfrm>
            <a:prstGeom prst="rect">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81" name="Picture 180">
              <a:extLst>
                <a:ext uri="{FF2B5EF4-FFF2-40B4-BE49-F238E27FC236}">
                  <a16:creationId xmlns:a16="http://schemas.microsoft.com/office/drawing/2014/main" id="{1B741304-E70E-41CE-9A46-9CE0453C388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7462" b="17462"/>
            <a:stretch/>
          </p:blipFill>
          <p:spPr>
            <a:xfrm>
              <a:off x="4868398" y="5377787"/>
              <a:ext cx="457200" cy="297526"/>
            </a:xfrm>
            <a:prstGeom prst="rect">
              <a:avLst/>
            </a:prstGeom>
          </p:spPr>
        </p:pic>
      </p:grpSp>
      <p:sp>
        <p:nvSpPr>
          <p:cNvPr id="182" name="Oval 181">
            <a:extLst>
              <a:ext uri="{FF2B5EF4-FFF2-40B4-BE49-F238E27FC236}">
                <a16:creationId xmlns:a16="http://schemas.microsoft.com/office/drawing/2014/main" id="{1A800E43-CEE0-4586-9BE5-6BB3C0FCDA9B}"/>
              </a:ext>
            </a:extLst>
          </p:cNvPr>
          <p:cNvSpPr/>
          <p:nvPr/>
        </p:nvSpPr>
        <p:spPr bwMode="auto">
          <a:xfrm>
            <a:off x="7531540" y="3379890"/>
            <a:ext cx="46622" cy="46622"/>
          </a:xfrm>
          <a:prstGeom prst="ellipse">
            <a:avLst/>
          </a:prstGeom>
          <a:solidFill>
            <a:srgbClr val="FF000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83" name="Connector: Elbow 182">
            <a:extLst>
              <a:ext uri="{FF2B5EF4-FFF2-40B4-BE49-F238E27FC236}">
                <a16:creationId xmlns:a16="http://schemas.microsoft.com/office/drawing/2014/main" id="{1EE9C6B4-2518-4C48-82BC-932CD454081B}"/>
              </a:ext>
            </a:extLst>
          </p:cNvPr>
          <p:cNvCxnSpPr>
            <a:stCxn id="185" idx="4"/>
          </p:cNvCxnSpPr>
          <p:nvPr/>
        </p:nvCxnSpPr>
        <p:spPr>
          <a:xfrm rot="5400000">
            <a:off x="5720132" y="3696175"/>
            <a:ext cx="1718049" cy="1178724"/>
          </a:xfrm>
          <a:prstGeom prst="bentConnector3">
            <a:avLst>
              <a:gd name="adj1" fmla="val 50000"/>
            </a:avLst>
          </a:prstGeom>
          <a:noFill/>
          <a:ln w="25400" cap="rnd" cmpd="sng" algn="ctr">
            <a:solidFill>
              <a:srgbClr val="92D050"/>
            </a:solidFill>
            <a:prstDash val="sysDot"/>
            <a:headEnd type="none"/>
            <a:tailEnd type="triangle"/>
          </a:ln>
          <a:effectLst/>
        </p:spPr>
      </p:cxnSp>
      <p:cxnSp>
        <p:nvCxnSpPr>
          <p:cNvPr id="184" name="Connector: Elbow 148">
            <a:extLst>
              <a:ext uri="{FF2B5EF4-FFF2-40B4-BE49-F238E27FC236}">
                <a16:creationId xmlns:a16="http://schemas.microsoft.com/office/drawing/2014/main" id="{2E3284E3-5586-4A6F-B17A-02CF1826A5AF}"/>
              </a:ext>
            </a:extLst>
          </p:cNvPr>
          <p:cNvCxnSpPr/>
          <p:nvPr/>
        </p:nvCxnSpPr>
        <p:spPr>
          <a:xfrm flipV="1">
            <a:off x="7742762" y="3260421"/>
            <a:ext cx="1885921" cy="5566"/>
          </a:xfrm>
          <a:prstGeom prst="straightConnector1">
            <a:avLst/>
          </a:prstGeom>
          <a:noFill/>
          <a:ln w="25400" cap="rnd" cmpd="sng" algn="ctr">
            <a:solidFill>
              <a:srgbClr val="92D050"/>
            </a:solidFill>
            <a:prstDash val="sysDot"/>
            <a:headEnd type="none"/>
            <a:tailEnd type="triangle"/>
          </a:ln>
          <a:effectLst/>
        </p:spPr>
      </p:cxnSp>
      <p:sp>
        <p:nvSpPr>
          <p:cNvPr id="185" name="Oval 184">
            <a:extLst>
              <a:ext uri="{FF2B5EF4-FFF2-40B4-BE49-F238E27FC236}">
                <a16:creationId xmlns:a16="http://schemas.microsoft.com/office/drawing/2014/main" id="{E5CBBE36-37BE-4454-AF47-9338E1D4EE22}"/>
              </a:ext>
            </a:extLst>
          </p:cNvPr>
          <p:cNvSpPr/>
          <p:nvPr/>
        </p:nvSpPr>
        <p:spPr bwMode="auto">
          <a:xfrm>
            <a:off x="7145206" y="3379890"/>
            <a:ext cx="46622" cy="46622"/>
          </a:xfrm>
          <a:prstGeom prst="ellipse">
            <a:avLst/>
          </a:prstGeom>
          <a:solidFill>
            <a:srgbClr val="FF000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6" name="Oval 185">
            <a:extLst>
              <a:ext uri="{FF2B5EF4-FFF2-40B4-BE49-F238E27FC236}">
                <a16:creationId xmlns:a16="http://schemas.microsoft.com/office/drawing/2014/main" id="{B857AB0D-DF27-4136-A284-A42316CDD18F}"/>
              </a:ext>
            </a:extLst>
          </p:cNvPr>
          <p:cNvSpPr/>
          <p:nvPr/>
        </p:nvSpPr>
        <p:spPr bwMode="auto">
          <a:xfrm>
            <a:off x="7331358" y="3379890"/>
            <a:ext cx="46622" cy="46622"/>
          </a:xfrm>
          <a:prstGeom prst="ellipse">
            <a:avLst/>
          </a:prstGeom>
          <a:solidFill>
            <a:srgbClr val="FF000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7" name="Oval 186">
            <a:extLst>
              <a:ext uri="{FF2B5EF4-FFF2-40B4-BE49-F238E27FC236}">
                <a16:creationId xmlns:a16="http://schemas.microsoft.com/office/drawing/2014/main" id="{93D0FA01-D74E-471A-9F05-12652935AD9D}"/>
              </a:ext>
            </a:extLst>
          </p:cNvPr>
          <p:cNvSpPr/>
          <p:nvPr/>
        </p:nvSpPr>
        <p:spPr bwMode="auto">
          <a:xfrm>
            <a:off x="7719905" y="3380800"/>
            <a:ext cx="45712" cy="45712"/>
          </a:xfrm>
          <a:prstGeom prst="ellipse">
            <a:avLst/>
          </a:prstGeom>
          <a:solidFill>
            <a:srgbClr val="FF000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88" name="Connector: Elbow 187">
            <a:extLst>
              <a:ext uri="{FF2B5EF4-FFF2-40B4-BE49-F238E27FC236}">
                <a16:creationId xmlns:a16="http://schemas.microsoft.com/office/drawing/2014/main" id="{2C89BEAB-41C6-492D-8A5F-24E4518694EF}"/>
              </a:ext>
            </a:extLst>
          </p:cNvPr>
          <p:cNvCxnSpPr>
            <a:stCxn id="190" idx="4"/>
            <a:endCxn id="178" idx="0"/>
          </p:cNvCxnSpPr>
          <p:nvPr/>
        </p:nvCxnSpPr>
        <p:spPr>
          <a:xfrm rot="5400000">
            <a:off x="5362934" y="5476147"/>
            <a:ext cx="774596" cy="479127"/>
          </a:xfrm>
          <a:prstGeom prst="bentConnector3">
            <a:avLst>
              <a:gd name="adj1" fmla="val 50000"/>
            </a:avLst>
          </a:prstGeom>
          <a:noFill/>
          <a:ln w="25400" cap="rnd" cmpd="sng" algn="ctr">
            <a:solidFill>
              <a:srgbClr val="92D050"/>
            </a:solidFill>
            <a:prstDash val="sysDot"/>
            <a:headEnd type="none"/>
            <a:tailEnd type="triangle"/>
          </a:ln>
          <a:effectLst/>
        </p:spPr>
      </p:cxnSp>
      <p:cxnSp>
        <p:nvCxnSpPr>
          <p:cNvPr id="189" name="Connector: Elbow 255">
            <a:extLst>
              <a:ext uri="{FF2B5EF4-FFF2-40B4-BE49-F238E27FC236}">
                <a16:creationId xmlns:a16="http://schemas.microsoft.com/office/drawing/2014/main" id="{903131B1-F804-4750-B37A-D520D2827BE8}"/>
              </a:ext>
            </a:extLst>
          </p:cNvPr>
          <p:cNvCxnSpPr>
            <a:cxnSpLocks/>
            <a:stCxn id="191" idx="4"/>
          </p:cNvCxnSpPr>
          <p:nvPr/>
        </p:nvCxnSpPr>
        <p:spPr>
          <a:xfrm>
            <a:off x="7335402" y="5330302"/>
            <a:ext cx="11053" cy="781627"/>
          </a:xfrm>
          <a:prstGeom prst="straightConnector1">
            <a:avLst/>
          </a:prstGeom>
          <a:noFill/>
          <a:ln w="25400" cap="rnd" cmpd="sng" algn="ctr">
            <a:solidFill>
              <a:srgbClr val="92D050"/>
            </a:solidFill>
            <a:prstDash val="sysDot"/>
            <a:headEnd type="none"/>
            <a:tailEnd type="triangle"/>
          </a:ln>
          <a:effectLst/>
        </p:spPr>
      </p:cxnSp>
      <p:sp>
        <p:nvSpPr>
          <p:cNvPr id="190" name="Oval 189">
            <a:extLst>
              <a:ext uri="{FF2B5EF4-FFF2-40B4-BE49-F238E27FC236}">
                <a16:creationId xmlns:a16="http://schemas.microsoft.com/office/drawing/2014/main" id="{1B5D1C15-6696-4DD0-AF6E-B1C932595894}"/>
              </a:ext>
            </a:extLst>
          </p:cNvPr>
          <p:cNvSpPr/>
          <p:nvPr/>
        </p:nvSpPr>
        <p:spPr bwMode="auto">
          <a:xfrm>
            <a:off x="5966483" y="5281790"/>
            <a:ext cx="46622" cy="46622"/>
          </a:xfrm>
          <a:prstGeom prst="ellipse">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1" name="Oval 190">
            <a:extLst>
              <a:ext uri="{FF2B5EF4-FFF2-40B4-BE49-F238E27FC236}">
                <a16:creationId xmlns:a16="http://schemas.microsoft.com/office/drawing/2014/main" id="{7C9096DC-3836-4C7E-905E-AC43474BAA0D}"/>
              </a:ext>
            </a:extLst>
          </p:cNvPr>
          <p:cNvSpPr/>
          <p:nvPr/>
        </p:nvSpPr>
        <p:spPr bwMode="auto">
          <a:xfrm>
            <a:off x="7312091" y="5283679"/>
            <a:ext cx="46622" cy="46622"/>
          </a:xfrm>
          <a:prstGeom prst="ellipse">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92" name="Connector: Elbow 191">
            <a:extLst>
              <a:ext uri="{FF2B5EF4-FFF2-40B4-BE49-F238E27FC236}">
                <a16:creationId xmlns:a16="http://schemas.microsoft.com/office/drawing/2014/main" id="{E99758A6-FF55-484C-AF5F-2D37BA1DE20E}"/>
              </a:ext>
            </a:extLst>
          </p:cNvPr>
          <p:cNvCxnSpPr>
            <a:stCxn id="190" idx="4"/>
            <a:endCxn id="181" idx="0"/>
          </p:cNvCxnSpPr>
          <p:nvPr/>
        </p:nvCxnSpPr>
        <p:spPr>
          <a:xfrm rot="16200000" flipH="1">
            <a:off x="5823987" y="5494218"/>
            <a:ext cx="774596" cy="442983"/>
          </a:xfrm>
          <a:prstGeom prst="bentConnector3">
            <a:avLst>
              <a:gd name="adj1" fmla="val 50000"/>
            </a:avLst>
          </a:prstGeom>
          <a:noFill/>
          <a:ln w="25400" cap="rnd" cmpd="sng" algn="ctr">
            <a:solidFill>
              <a:srgbClr val="92D050"/>
            </a:solidFill>
            <a:prstDash val="sysDot"/>
            <a:headEnd type="none"/>
            <a:tailEnd type="triangle"/>
          </a:ln>
          <a:effectLst/>
        </p:spPr>
      </p:cxnSp>
      <p:grpSp>
        <p:nvGrpSpPr>
          <p:cNvPr id="193" name="Group 192">
            <a:extLst>
              <a:ext uri="{FF2B5EF4-FFF2-40B4-BE49-F238E27FC236}">
                <a16:creationId xmlns:a16="http://schemas.microsoft.com/office/drawing/2014/main" id="{1B77198F-5617-4B97-8224-0B9C847368F3}"/>
              </a:ext>
            </a:extLst>
          </p:cNvPr>
          <p:cNvGrpSpPr>
            <a:grpSpLocks noChangeAspect="1"/>
          </p:cNvGrpSpPr>
          <p:nvPr/>
        </p:nvGrpSpPr>
        <p:grpSpPr>
          <a:xfrm>
            <a:off x="2998595" y="2305543"/>
            <a:ext cx="1283439" cy="855626"/>
            <a:chOff x="833051" y="2220254"/>
            <a:chExt cx="1198410" cy="798940"/>
          </a:xfrm>
        </p:grpSpPr>
        <p:grpSp>
          <p:nvGrpSpPr>
            <p:cNvPr id="194" name="Group 193">
              <a:extLst>
                <a:ext uri="{FF2B5EF4-FFF2-40B4-BE49-F238E27FC236}">
                  <a16:creationId xmlns:a16="http://schemas.microsoft.com/office/drawing/2014/main" id="{FC89F216-0981-4C7A-B3D1-9C329895F0DB}"/>
                </a:ext>
              </a:extLst>
            </p:cNvPr>
            <p:cNvGrpSpPr/>
            <p:nvPr/>
          </p:nvGrpSpPr>
          <p:grpSpPr>
            <a:xfrm>
              <a:off x="833051" y="2220254"/>
              <a:ext cx="1198410" cy="798940"/>
              <a:chOff x="759175" y="2162524"/>
              <a:chExt cx="1371600" cy="914400"/>
            </a:xfrm>
          </p:grpSpPr>
          <p:sp>
            <p:nvSpPr>
              <p:cNvPr id="196" name="Rectangle 195">
                <a:extLst>
                  <a:ext uri="{FF2B5EF4-FFF2-40B4-BE49-F238E27FC236}">
                    <a16:creationId xmlns:a16="http://schemas.microsoft.com/office/drawing/2014/main" id="{5E064D0D-3242-405E-B3A4-9624AF6A7DD7}"/>
                  </a:ext>
                </a:extLst>
              </p:cNvPr>
              <p:cNvSpPr/>
              <p:nvPr/>
            </p:nvSpPr>
            <p:spPr bwMode="auto">
              <a:xfrm>
                <a:off x="759175" y="2162524"/>
                <a:ext cx="1371600" cy="914400"/>
              </a:xfrm>
              <a:prstGeom prst="rect">
                <a:avLst/>
              </a:prstGeom>
              <a:solidFill>
                <a:srgbClr val="FFFFFF"/>
              </a:solidFill>
              <a:ln w="12700" cap="flat" cmpd="sng" algn="ctr">
                <a:solidFill>
                  <a:srgbClr val="D2D2D2">
                    <a:lumMod val="90000"/>
                  </a:srgbClr>
                </a:solid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7" name="Rectangle 196">
                <a:extLst>
                  <a:ext uri="{FF2B5EF4-FFF2-40B4-BE49-F238E27FC236}">
                    <a16:creationId xmlns:a16="http://schemas.microsoft.com/office/drawing/2014/main" id="{EEC17D4B-56A4-4712-B1F0-7394DC6927FD}"/>
                  </a:ext>
                </a:extLst>
              </p:cNvPr>
              <p:cNvSpPr/>
              <p:nvPr/>
            </p:nvSpPr>
            <p:spPr bwMode="auto">
              <a:xfrm>
                <a:off x="759175" y="2162524"/>
                <a:ext cx="1371600" cy="137160"/>
              </a:xfrm>
              <a:prstGeom prst="rect">
                <a:avLst/>
              </a:prstGeom>
              <a:solidFill>
                <a:srgbClr val="D2D2D2">
                  <a:lumMod val="90000"/>
                </a:srgbClr>
              </a:solidFill>
              <a:ln w="12700"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95" name="Freeform 90">
              <a:extLst>
                <a:ext uri="{FF2B5EF4-FFF2-40B4-BE49-F238E27FC236}">
                  <a16:creationId xmlns:a16="http://schemas.microsoft.com/office/drawing/2014/main" id="{136E6FBA-5FA3-466C-84AF-D8FD28650679}"/>
                </a:ext>
              </a:extLst>
            </p:cNvPr>
            <p:cNvSpPr>
              <a:spLocks noChangeAspect="1" noEditPoints="1"/>
            </p:cNvSpPr>
            <p:nvPr/>
          </p:nvSpPr>
          <p:spPr bwMode="auto">
            <a:xfrm>
              <a:off x="1191750" y="2428425"/>
              <a:ext cx="481013" cy="481013"/>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002050"/>
            </a:solidFill>
            <a:ln>
              <a:noFill/>
            </a:ln>
          </p:spPr>
          <p:txBody>
            <a:bodyPr vert="horz" wrap="square" lIns="93247" tIns="46623" rIns="93247" bIns="46623" numCol="1" anchor="t" anchorCtr="0" compatLnSpc="1">
              <a:prstTxWarp prst="textNoShape">
                <a:avLst/>
              </a:prstTxWarp>
            </a:bodyP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198" name="Group 197">
            <a:extLst>
              <a:ext uri="{FF2B5EF4-FFF2-40B4-BE49-F238E27FC236}">
                <a16:creationId xmlns:a16="http://schemas.microsoft.com/office/drawing/2014/main" id="{F81614A0-444F-43AF-AC29-CAFB160CE7F6}"/>
              </a:ext>
            </a:extLst>
          </p:cNvPr>
          <p:cNvGrpSpPr/>
          <p:nvPr/>
        </p:nvGrpSpPr>
        <p:grpSpPr>
          <a:xfrm>
            <a:off x="9134826" y="2985172"/>
            <a:ext cx="1174533" cy="540648"/>
            <a:chOff x="9135239" y="2985099"/>
            <a:chExt cx="1174699" cy="540724"/>
          </a:xfrm>
        </p:grpSpPr>
        <p:sp>
          <p:nvSpPr>
            <p:cNvPr id="199" name="Oval 198">
              <a:extLst>
                <a:ext uri="{FF2B5EF4-FFF2-40B4-BE49-F238E27FC236}">
                  <a16:creationId xmlns:a16="http://schemas.microsoft.com/office/drawing/2014/main" id="{F166194C-0789-47D2-9126-548B06EBB47B}"/>
                </a:ext>
              </a:extLst>
            </p:cNvPr>
            <p:cNvSpPr/>
            <p:nvPr/>
          </p:nvSpPr>
          <p:spPr bwMode="auto">
            <a:xfrm>
              <a:off x="9734855" y="3098899"/>
              <a:ext cx="444373" cy="426924"/>
            </a:xfrm>
            <a:prstGeom prst="ellipse">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0" name="Oval 199">
              <a:extLst>
                <a:ext uri="{FF2B5EF4-FFF2-40B4-BE49-F238E27FC236}">
                  <a16:creationId xmlns:a16="http://schemas.microsoft.com/office/drawing/2014/main" id="{FD55D3BF-3B86-4634-B892-129030F0F90A}"/>
                </a:ext>
              </a:extLst>
            </p:cNvPr>
            <p:cNvSpPr/>
            <p:nvPr/>
          </p:nvSpPr>
          <p:spPr bwMode="auto">
            <a:xfrm>
              <a:off x="9629166" y="3055074"/>
              <a:ext cx="680772" cy="426924"/>
            </a:xfrm>
            <a:prstGeom prst="ellipse">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5868C6A9-B1E9-4877-AA00-8F91C9914A1A}"/>
                </a:ext>
              </a:extLst>
            </p:cNvPr>
            <p:cNvSpPr>
              <a:spLocks noChangeAspect="1"/>
            </p:cNvSpPr>
            <p:nvPr/>
          </p:nvSpPr>
          <p:spPr bwMode="auto">
            <a:xfrm>
              <a:off x="9681250" y="3085633"/>
              <a:ext cx="576605" cy="365808"/>
            </a:xfrm>
            <a:custGeom>
              <a:avLst/>
              <a:gdLst>
                <a:gd name="connsiteX0" fmla="*/ 5794343 w 7278721"/>
                <a:gd name="connsiteY0" fmla="*/ 1303047 h 4617748"/>
                <a:gd name="connsiteX1" fmla="*/ 7278721 w 7278721"/>
                <a:gd name="connsiteY1" fmla="*/ 2308887 h 4617748"/>
                <a:gd name="connsiteX2" fmla="*/ 5794343 w 7278721"/>
                <a:gd name="connsiteY2" fmla="*/ 3314727 h 4617748"/>
                <a:gd name="connsiteX3" fmla="*/ 5794343 w 7278721"/>
                <a:gd name="connsiteY3" fmla="*/ 2771171 h 4617748"/>
                <a:gd name="connsiteX4" fmla="*/ 4408129 w 7278721"/>
                <a:gd name="connsiteY4" fmla="*/ 2771171 h 4617748"/>
                <a:gd name="connsiteX5" fmla="*/ 4328415 w 7278721"/>
                <a:gd name="connsiteY5" fmla="*/ 2867785 h 4617748"/>
                <a:gd name="connsiteX6" fmla="*/ 3769517 w 7278721"/>
                <a:gd name="connsiteY6" fmla="*/ 3099288 h 4617748"/>
                <a:gd name="connsiteX7" fmla="*/ 2979116 w 7278721"/>
                <a:gd name="connsiteY7" fmla="*/ 2308887 h 4617748"/>
                <a:gd name="connsiteX8" fmla="*/ 3769517 w 7278721"/>
                <a:gd name="connsiteY8" fmla="*/ 1518486 h 4617748"/>
                <a:gd name="connsiteX9" fmla="*/ 4328415 w 7278721"/>
                <a:gd name="connsiteY9" fmla="*/ 1749989 h 4617748"/>
                <a:gd name="connsiteX10" fmla="*/ 4408129 w 7278721"/>
                <a:gd name="connsiteY10" fmla="*/ 1846603 h 4617748"/>
                <a:gd name="connsiteX11" fmla="*/ 5794343 w 7278721"/>
                <a:gd name="connsiteY11" fmla="*/ 1846603 h 4617748"/>
                <a:gd name="connsiteX12" fmla="*/ 3833692 w 7278721"/>
                <a:gd name="connsiteY12" fmla="*/ 864 h 4617748"/>
                <a:gd name="connsiteX13" fmla="*/ 5260439 w 7278721"/>
                <a:gd name="connsiteY13" fmla="*/ 545941 h 4617748"/>
                <a:gd name="connsiteX14" fmla="*/ 4841938 w 7278721"/>
                <a:gd name="connsiteY14" fmla="*/ 1040800 h 4617748"/>
                <a:gd name="connsiteX15" fmla="*/ 2539139 w 7278721"/>
                <a:gd name="connsiteY15" fmla="*/ 1193404 h 4617748"/>
                <a:gd name="connsiteX16" fmla="*/ 2612295 w 7278721"/>
                <a:gd name="connsiteY16" fmla="*/ 3500094 h 4617748"/>
                <a:gd name="connsiteX17" fmla="*/ 4920136 w 7278721"/>
                <a:gd name="connsiteY17" fmla="*/ 3506473 h 4617748"/>
                <a:gd name="connsiteX18" fmla="*/ 5369154 w 7278721"/>
                <a:gd name="connsiteY18" fmla="*/ 3973819 h 4617748"/>
                <a:gd name="connsiteX19" fmla="*/ 2160700 w 7278721"/>
                <a:gd name="connsiteY19" fmla="*/ 3964951 h 4617748"/>
                <a:gd name="connsiteX20" fmla="*/ 1516005 w 7278721"/>
                <a:gd name="connsiteY20" fmla="*/ 2812341 h 4617748"/>
                <a:gd name="connsiteX21" fmla="*/ 1508933 w 7278721"/>
                <a:gd name="connsiteY21" fmla="*/ 2771643 h 4617748"/>
                <a:gd name="connsiteX22" fmla="*/ 462756 w 7278721"/>
                <a:gd name="connsiteY22" fmla="*/ 2771643 h 4617748"/>
                <a:gd name="connsiteX23" fmla="*/ 0 w 7278721"/>
                <a:gd name="connsiteY23" fmla="*/ 2308887 h 4617748"/>
                <a:gd name="connsiteX24" fmla="*/ 462756 w 7278721"/>
                <a:gd name="connsiteY24" fmla="*/ 1846131 h 4617748"/>
                <a:gd name="connsiteX25" fmla="*/ 1509833 w 7278721"/>
                <a:gd name="connsiteY25" fmla="*/ 1846131 h 4617748"/>
                <a:gd name="connsiteX26" fmla="*/ 1532538 w 7278721"/>
                <a:gd name="connsiteY26" fmla="*/ 1735700 h 4617748"/>
                <a:gd name="connsiteX27" fmla="*/ 2058995 w 7278721"/>
                <a:gd name="connsiteY27" fmla="*/ 758098 h 4617748"/>
                <a:gd name="connsiteX28" fmla="*/ 3833692 w 7278721"/>
                <a:gd name="connsiteY28" fmla="*/ 864 h 461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278721" h="4617748">
                  <a:moveTo>
                    <a:pt x="5794343" y="1303047"/>
                  </a:moveTo>
                  <a:lnTo>
                    <a:pt x="7278721" y="2308887"/>
                  </a:lnTo>
                  <a:lnTo>
                    <a:pt x="5794343" y="3314727"/>
                  </a:lnTo>
                  <a:lnTo>
                    <a:pt x="5794343" y="2771171"/>
                  </a:lnTo>
                  <a:lnTo>
                    <a:pt x="4408129" y="2771171"/>
                  </a:lnTo>
                  <a:lnTo>
                    <a:pt x="4328415" y="2867785"/>
                  </a:lnTo>
                  <a:cubicBezTo>
                    <a:pt x="4185380" y="3010819"/>
                    <a:pt x="3987780" y="3099288"/>
                    <a:pt x="3769517" y="3099288"/>
                  </a:cubicBezTo>
                  <a:cubicBezTo>
                    <a:pt x="3332991" y="3099288"/>
                    <a:pt x="2979116" y="2745413"/>
                    <a:pt x="2979116" y="2308887"/>
                  </a:cubicBezTo>
                  <a:cubicBezTo>
                    <a:pt x="2979116" y="1872361"/>
                    <a:pt x="3332991" y="1518486"/>
                    <a:pt x="3769517" y="1518486"/>
                  </a:cubicBezTo>
                  <a:cubicBezTo>
                    <a:pt x="3987780" y="1518486"/>
                    <a:pt x="4185380" y="1606955"/>
                    <a:pt x="4328415" y="1749989"/>
                  </a:cubicBezTo>
                  <a:lnTo>
                    <a:pt x="4408129" y="1846603"/>
                  </a:lnTo>
                  <a:lnTo>
                    <a:pt x="5794343" y="1846603"/>
                  </a:lnTo>
                  <a:close/>
                  <a:moveTo>
                    <a:pt x="3833692" y="864"/>
                  </a:moveTo>
                  <a:cubicBezTo>
                    <a:pt x="4340038" y="14689"/>
                    <a:pt x="4844813" y="194447"/>
                    <a:pt x="5260439" y="545941"/>
                  </a:cubicBezTo>
                  <a:lnTo>
                    <a:pt x="4841938" y="1040800"/>
                  </a:lnTo>
                  <a:cubicBezTo>
                    <a:pt x="4158601" y="462903"/>
                    <a:pt x="3140242" y="530389"/>
                    <a:pt x="2539139" y="1193404"/>
                  </a:cubicBezTo>
                  <a:cubicBezTo>
                    <a:pt x="1938036" y="1856420"/>
                    <a:pt x="1970388" y="2876500"/>
                    <a:pt x="2612295" y="3500094"/>
                  </a:cubicBezTo>
                  <a:cubicBezTo>
                    <a:pt x="3254202" y="4123688"/>
                    <a:pt x="4274791" y="4126509"/>
                    <a:pt x="4920136" y="3506473"/>
                  </a:cubicBezTo>
                  <a:lnTo>
                    <a:pt x="5369154" y="3973819"/>
                  </a:lnTo>
                  <a:cubicBezTo>
                    <a:pt x="4471970" y="4835818"/>
                    <a:pt x="3053106" y="4831897"/>
                    <a:pt x="2160700" y="3964951"/>
                  </a:cubicBezTo>
                  <a:cubicBezTo>
                    <a:pt x="1826048" y="3639847"/>
                    <a:pt x="1610566" y="3237228"/>
                    <a:pt x="1516005" y="2812341"/>
                  </a:cubicBezTo>
                  <a:lnTo>
                    <a:pt x="1508933" y="2771643"/>
                  </a:lnTo>
                  <a:lnTo>
                    <a:pt x="462756" y="2771643"/>
                  </a:lnTo>
                  <a:cubicBezTo>
                    <a:pt x="207183" y="2771643"/>
                    <a:pt x="0" y="2564460"/>
                    <a:pt x="0" y="2308887"/>
                  </a:cubicBezTo>
                  <a:cubicBezTo>
                    <a:pt x="0" y="2053314"/>
                    <a:pt x="207183" y="1846131"/>
                    <a:pt x="462756" y="1846131"/>
                  </a:cubicBezTo>
                  <a:lnTo>
                    <a:pt x="1509833" y="1846131"/>
                  </a:lnTo>
                  <a:lnTo>
                    <a:pt x="1532538" y="1735700"/>
                  </a:lnTo>
                  <a:cubicBezTo>
                    <a:pt x="1622699" y="1382669"/>
                    <a:pt x="1797846" y="1046145"/>
                    <a:pt x="2058995" y="758098"/>
                  </a:cubicBezTo>
                  <a:cubicBezTo>
                    <a:pt x="2529064" y="239613"/>
                    <a:pt x="3182675" y="-16910"/>
                    <a:pt x="3833692" y="864"/>
                  </a:cubicBezTo>
                  <a:close/>
                </a:path>
              </a:pathLst>
            </a:custGeom>
            <a:solidFill>
              <a:srgbClr val="FFFFFF"/>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2" name="Rectangle 201">
              <a:extLst>
                <a:ext uri="{FF2B5EF4-FFF2-40B4-BE49-F238E27FC236}">
                  <a16:creationId xmlns:a16="http://schemas.microsoft.com/office/drawing/2014/main" id="{7A0CE993-B15C-483A-8B95-FFE72CF70E71}"/>
                </a:ext>
              </a:extLst>
            </p:cNvPr>
            <p:cNvSpPr/>
            <p:nvPr/>
          </p:nvSpPr>
          <p:spPr>
            <a:xfrm>
              <a:off x="9135239" y="2985099"/>
              <a:ext cx="753277" cy="246256"/>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rPr>
                <a:t>connector</a:t>
              </a:r>
              <a:endParaRPr kumimoji="0" lang="en-US" sz="1000" b="0" i="0" u="none" strike="noStrike" kern="0" cap="none" spc="0" normalizeH="0" baseline="0" noProof="0">
                <a:ln>
                  <a:noFill/>
                </a:ln>
                <a:solidFill>
                  <a:sysClr val="windowText" lastClr="000000"/>
                </a:solidFill>
                <a:effectLst/>
                <a:uLnTx/>
                <a:uFillTx/>
              </a:endParaRPr>
            </a:p>
          </p:txBody>
        </p:sp>
      </p:grpSp>
      <p:cxnSp>
        <p:nvCxnSpPr>
          <p:cNvPr id="203" name="Straight Arrow Connector 202">
            <a:extLst>
              <a:ext uri="{FF2B5EF4-FFF2-40B4-BE49-F238E27FC236}">
                <a16:creationId xmlns:a16="http://schemas.microsoft.com/office/drawing/2014/main" id="{E4615AA7-4B05-4F59-AB35-040541EA8233}"/>
              </a:ext>
            </a:extLst>
          </p:cNvPr>
          <p:cNvCxnSpPr>
            <a:stCxn id="153" idx="7"/>
            <a:endCxn id="145" idx="2"/>
          </p:cNvCxnSpPr>
          <p:nvPr/>
        </p:nvCxnSpPr>
        <p:spPr>
          <a:xfrm flipV="1">
            <a:off x="2576690" y="3509459"/>
            <a:ext cx="1063626" cy="912355"/>
          </a:xfrm>
          <a:prstGeom prst="straightConnector1">
            <a:avLst/>
          </a:prstGeom>
          <a:noFill/>
          <a:ln w="38100" cap="rnd" cmpd="sng" algn="ctr">
            <a:solidFill>
              <a:srgbClr val="92D050"/>
            </a:solidFill>
            <a:prstDash val="sysDot"/>
            <a:headEnd type="none" w="med" len="sm"/>
            <a:tailEnd type="triangle" w="med" len="sm"/>
          </a:ln>
          <a:effectLst/>
        </p:spPr>
      </p:cxnSp>
      <p:grpSp>
        <p:nvGrpSpPr>
          <p:cNvPr id="204" name="Group 203">
            <a:extLst>
              <a:ext uri="{FF2B5EF4-FFF2-40B4-BE49-F238E27FC236}">
                <a16:creationId xmlns:a16="http://schemas.microsoft.com/office/drawing/2014/main" id="{5B092231-7C40-4770-9248-452F494674A7}"/>
              </a:ext>
            </a:extLst>
          </p:cNvPr>
          <p:cNvGrpSpPr>
            <a:grpSpLocks noChangeAspect="1"/>
          </p:cNvGrpSpPr>
          <p:nvPr/>
        </p:nvGrpSpPr>
        <p:grpSpPr>
          <a:xfrm>
            <a:off x="6971243" y="6111929"/>
            <a:ext cx="750423" cy="488341"/>
            <a:chOff x="4868398" y="5377787"/>
            <a:chExt cx="457200" cy="297526"/>
          </a:xfrm>
        </p:grpSpPr>
        <p:sp>
          <p:nvSpPr>
            <p:cNvPr id="205" name="Rectangle 204">
              <a:extLst>
                <a:ext uri="{FF2B5EF4-FFF2-40B4-BE49-F238E27FC236}">
                  <a16:creationId xmlns:a16="http://schemas.microsoft.com/office/drawing/2014/main" id="{310A0931-1C4D-48F6-AD53-98FDA820FAD9}"/>
                </a:ext>
              </a:extLst>
            </p:cNvPr>
            <p:cNvSpPr/>
            <p:nvPr/>
          </p:nvSpPr>
          <p:spPr bwMode="auto">
            <a:xfrm>
              <a:off x="4876726" y="5388349"/>
              <a:ext cx="440542" cy="276403"/>
            </a:xfrm>
            <a:prstGeom prst="rect">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06" name="Picture 205">
              <a:extLst>
                <a:ext uri="{FF2B5EF4-FFF2-40B4-BE49-F238E27FC236}">
                  <a16:creationId xmlns:a16="http://schemas.microsoft.com/office/drawing/2014/main" id="{E61F3B74-9530-4A17-85B7-EC279E2A44F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7462" b="17462"/>
            <a:stretch/>
          </p:blipFill>
          <p:spPr>
            <a:xfrm>
              <a:off x="4868398" y="5377787"/>
              <a:ext cx="457200" cy="297526"/>
            </a:xfrm>
            <a:prstGeom prst="rect">
              <a:avLst/>
            </a:prstGeom>
          </p:spPr>
        </p:pic>
      </p:grpSp>
      <p:cxnSp>
        <p:nvCxnSpPr>
          <p:cNvPr id="207" name="Straight Arrow Connector 206">
            <a:extLst>
              <a:ext uri="{FF2B5EF4-FFF2-40B4-BE49-F238E27FC236}">
                <a16:creationId xmlns:a16="http://schemas.microsoft.com/office/drawing/2014/main" id="{FD40A814-3194-4E07-9F4F-4E59EDD431B3}"/>
              </a:ext>
            </a:extLst>
          </p:cNvPr>
          <p:cNvCxnSpPr>
            <a:stCxn id="186" idx="4"/>
            <a:endCxn id="210" idx="12"/>
          </p:cNvCxnSpPr>
          <p:nvPr/>
        </p:nvCxnSpPr>
        <p:spPr>
          <a:xfrm flipH="1">
            <a:off x="7345391" y="3426513"/>
            <a:ext cx="9278" cy="1718104"/>
          </a:xfrm>
          <a:prstGeom prst="straightConnector1">
            <a:avLst/>
          </a:prstGeom>
          <a:noFill/>
          <a:ln w="25400" cap="rnd" cmpd="sng" algn="ctr">
            <a:solidFill>
              <a:srgbClr val="92D050"/>
            </a:solidFill>
            <a:prstDash val="sysDot"/>
            <a:headEnd type="none"/>
            <a:tailEnd type="triangle"/>
          </a:ln>
          <a:effectLst/>
        </p:spPr>
      </p:cxnSp>
      <p:grpSp>
        <p:nvGrpSpPr>
          <p:cNvPr id="208" name="Group 207">
            <a:extLst>
              <a:ext uri="{FF2B5EF4-FFF2-40B4-BE49-F238E27FC236}">
                <a16:creationId xmlns:a16="http://schemas.microsoft.com/office/drawing/2014/main" id="{6E59A301-3374-4907-A515-84964AE617E2}"/>
              </a:ext>
            </a:extLst>
          </p:cNvPr>
          <p:cNvGrpSpPr/>
          <p:nvPr/>
        </p:nvGrpSpPr>
        <p:grpSpPr>
          <a:xfrm>
            <a:off x="6400485" y="5144576"/>
            <a:ext cx="1165453" cy="295625"/>
            <a:chOff x="6400509" y="5033005"/>
            <a:chExt cx="1165619" cy="295666"/>
          </a:xfrm>
        </p:grpSpPr>
        <p:sp>
          <p:nvSpPr>
            <p:cNvPr id="209" name="Rectangle 208">
              <a:extLst>
                <a:ext uri="{FF2B5EF4-FFF2-40B4-BE49-F238E27FC236}">
                  <a16:creationId xmlns:a16="http://schemas.microsoft.com/office/drawing/2014/main" id="{20C27BDF-0AAA-4D59-9302-420E751327FD}"/>
                </a:ext>
              </a:extLst>
            </p:cNvPr>
            <p:cNvSpPr/>
            <p:nvPr/>
          </p:nvSpPr>
          <p:spPr>
            <a:xfrm>
              <a:off x="6400509" y="5103883"/>
              <a:ext cx="753277" cy="153910"/>
            </a:xfrm>
            <a:prstGeom prst="rect">
              <a:avLst/>
            </a:prstGeom>
          </p:spPr>
          <p:txBody>
            <a:bodyPr wrap="square" lIns="91427" tIns="0" rIns="91427" bIns="0" anchor="ctr">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rPr>
                <a:t>connector</a:t>
              </a:r>
              <a:endParaRPr kumimoji="0" lang="en-US" sz="1000" b="0" i="0" u="none" strike="noStrike" kern="0" cap="none" spc="0" normalizeH="0" baseline="0" noProof="0">
                <a:ln>
                  <a:noFill/>
                </a:ln>
                <a:solidFill>
                  <a:sysClr val="windowText" lastClr="000000"/>
                </a:solidFill>
                <a:effectLst/>
                <a:uLnTx/>
                <a:uFillTx/>
              </a:endParaRPr>
            </a:p>
          </p:txBody>
        </p:sp>
        <p:sp>
          <p:nvSpPr>
            <p:cNvPr id="210" name="Freeform: Shape 123">
              <a:extLst>
                <a:ext uri="{FF2B5EF4-FFF2-40B4-BE49-F238E27FC236}">
                  <a16:creationId xmlns:a16="http://schemas.microsoft.com/office/drawing/2014/main" id="{05356242-9DE3-4914-8E10-B38D4285904C}"/>
                </a:ext>
              </a:extLst>
            </p:cNvPr>
            <p:cNvSpPr>
              <a:spLocks noChangeAspect="1"/>
            </p:cNvSpPr>
            <p:nvPr/>
          </p:nvSpPr>
          <p:spPr bwMode="auto">
            <a:xfrm>
              <a:off x="7100085" y="5033005"/>
              <a:ext cx="466043" cy="295666"/>
            </a:xfrm>
            <a:custGeom>
              <a:avLst/>
              <a:gdLst>
                <a:gd name="connsiteX0" fmla="*/ 5794343 w 7278721"/>
                <a:gd name="connsiteY0" fmla="*/ 1303047 h 4617748"/>
                <a:gd name="connsiteX1" fmla="*/ 7278721 w 7278721"/>
                <a:gd name="connsiteY1" fmla="*/ 2308887 h 4617748"/>
                <a:gd name="connsiteX2" fmla="*/ 5794343 w 7278721"/>
                <a:gd name="connsiteY2" fmla="*/ 3314727 h 4617748"/>
                <a:gd name="connsiteX3" fmla="*/ 5794343 w 7278721"/>
                <a:gd name="connsiteY3" fmla="*/ 2771171 h 4617748"/>
                <a:gd name="connsiteX4" fmla="*/ 4408129 w 7278721"/>
                <a:gd name="connsiteY4" fmla="*/ 2771171 h 4617748"/>
                <a:gd name="connsiteX5" fmla="*/ 4328415 w 7278721"/>
                <a:gd name="connsiteY5" fmla="*/ 2867785 h 4617748"/>
                <a:gd name="connsiteX6" fmla="*/ 3769517 w 7278721"/>
                <a:gd name="connsiteY6" fmla="*/ 3099288 h 4617748"/>
                <a:gd name="connsiteX7" fmla="*/ 2979116 w 7278721"/>
                <a:gd name="connsiteY7" fmla="*/ 2308887 h 4617748"/>
                <a:gd name="connsiteX8" fmla="*/ 3769517 w 7278721"/>
                <a:gd name="connsiteY8" fmla="*/ 1518486 h 4617748"/>
                <a:gd name="connsiteX9" fmla="*/ 4328415 w 7278721"/>
                <a:gd name="connsiteY9" fmla="*/ 1749989 h 4617748"/>
                <a:gd name="connsiteX10" fmla="*/ 4408129 w 7278721"/>
                <a:gd name="connsiteY10" fmla="*/ 1846603 h 4617748"/>
                <a:gd name="connsiteX11" fmla="*/ 5794343 w 7278721"/>
                <a:gd name="connsiteY11" fmla="*/ 1846603 h 4617748"/>
                <a:gd name="connsiteX12" fmla="*/ 3833692 w 7278721"/>
                <a:gd name="connsiteY12" fmla="*/ 864 h 4617748"/>
                <a:gd name="connsiteX13" fmla="*/ 5260439 w 7278721"/>
                <a:gd name="connsiteY13" fmla="*/ 545941 h 4617748"/>
                <a:gd name="connsiteX14" fmla="*/ 4841938 w 7278721"/>
                <a:gd name="connsiteY14" fmla="*/ 1040800 h 4617748"/>
                <a:gd name="connsiteX15" fmla="*/ 2539139 w 7278721"/>
                <a:gd name="connsiteY15" fmla="*/ 1193404 h 4617748"/>
                <a:gd name="connsiteX16" fmla="*/ 2612295 w 7278721"/>
                <a:gd name="connsiteY16" fmla="*/ 3500094 h 4617748"/>
                <a:gd name="connsiteX17" fmla="*/ 4920136 w 7278721"/>
                <a:gd name="connsiteY17" fmla="*/ 3506473 h 4617748"/>
                <a:gd name="connsiteX18" fmla="*/ 5369154 w 7278721"/>
                <a:gd name="connsiteY18" fmla="*/ 3973819 h 4617748"/>
                <a:gd name="connsiteX19" fmla="*/ 2160700 w 7278721"/>
                <a:gd name="connsiteY19" fmla="*/ 3964951 h 4617748"/>
                <a:gd name="connsiteX20" fmla="*/ 1516005 w 7278721"/>
                <a:gd name="connsiteY20" fmla="*/ 2812341 h 4617748"/>
                <a:gd name="connsiteX21" fmla="*/ 1508933 w 7278721"/>
                <a:gd name="connsiteY21" fmla="*/ 2771643 h 4617748"/>
                <a:gd name="connsiteX22" fmla="*/ 462756 w 7278721"/>
                <a:gd name="connsiteY22" fmla="*/ 2771643 h 4617748"/>
                <a:gd name="connsiteX23" fmla="*/ 0 w 7278721"/>
                <a:gd name="connsiteY23" fmla="*/ 2308887 h 4617748"/>
                <a:gd name="connsiteX24" fmla="*/ 462756 w 7278721"/>
                <a:gd name="connsiteY24" fmla="*/ 1846131 h 4617748"/>
                <a:gd name="connsiteX25" fmla="*/ 1509833 w 7278721"/>
                <a:gd name="connsiteY25" fmla="*/ 1846131 h 4617748"/>
                <a:gd name="connsiteX26" fmla="*/ 1532538 w 7278721"/>
                <a:gd name="connsiteY26" fmla="*/ 1735700 h 4617748"/>
                <a:gd name="connsiteX27" fmla="*/ 2058995 w 7278721"/>
                <a:gd name="connsiteY27" fmla="*/ 758098 h 4617748"/>
                <a:gd name="connsiteX28" fmla="*/ 3833692 w 7278721"/>
                <a:gd name="connsiteY28" fmla="*/ 864 h 461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278721" h="4617748">
                  <a:moveTo>
                    <a:pt x="5794343" y="1303047"/>
                  </a:moveTo>
                  <a:lnTo>
                    <a:pt x="7278721" y="2308887"/>
                  </a:lnTo>
                  <a:lnTo>
                    <a:pt x="5794343" y="3314727"/>
                  </a:lnTo>
                  <a:lnTo>
                    <a:pt x="5794343" y="2771171"/>
                  </a:lnTo>
                  <a:lnTo>
                    <a:pt x="4408129" y="2771171"/>
                  </a:lnTo>
                  <a:lnTo>
                    <a:pt x="4328415" y="2867785"/>
                  </a:lnTo>
                  <a:cubicBezTo>
                    <a:pt x="4185380" y="3010819"/>
                    <a:pt x="3987780" y="3099288"/>
                    <a:pt x="3769517" y="3099288"/>
                  </a:cubicBezTo>
                  <a:cubicBezTo>
                    <a:pt x="3332991" y="3099288"/>
                    <a:pt x="2979116" y="2745413"/>
                    <a:pt x="2979116" y="2308887"/>
                  </a:cubicBezTo>
                  <a:cubicBezTo>
                    <a:pt x="2979116" y="1872361"/>
                    <a:pt x="3332991" y="1518486"/>
                    <a:pt x="3769517" y="1518486"/>
                  </a:cubicBezTo>
                  <a:cubicBezTo>
                    <a:pt x="3987780" y="1518486"/>
                    <a:pt x="4185380" y="1606955"/>
                    <a:pt x="4328415" y="1749989"/>
                  </a:cubicBezTo>
                  <a:lnTo>
                    <a:pt x="4408129" y="1846603"/>
                  </a:lnTo>
                  <a:lnTo>
                    <a:pt x="5794343" y="1846603"/>
                  </a:lnTo>
                  <a:close/>
                  <a:moveTo>
                    <a:pt x="3833692" y="864"/>
                  </a:moveTo>
                  <a:cubicBezTo>
                    <a:pt x="4340038" y="14689"/>
                    <a:pt x="4844813" y="194447"/>
                    <a:pt x="5260439" y="545941"/>
                  </a:cubicBezTo>
                  <a:lnTo>
                    <a:pt x="4841938" y="1040800"/>
                  </a:lnTo>
                  <a:cubicBezTo>
                    <a:pt x="4158601" y="462903"/>
                    <a:pt x="3140242" y="530389"/>
                    <a:pt x="2539139" y="1193404"/>
                  </a:cubicBezTo>
                  <a:cubicBezTo>
                    <a:pt x="1938036" y="1856420"/>
                    <a:pt x="1970388" y="2876500"/>
                    <a:pt x="2612295" y="3500094"/>
                  </a:cubicBezTo>
                  <a:cubicBezTo>
                    <a:pt x="3254202" y="4123688"/>
                    <a:pt x="4274791" y="4126509"/>
                    <a:pt x="4920136" y="3506473"/>
                  </a:cubicBezTo>
                  <a:lnTo>
                    <a:pt x="5369154" y="3973819"/>
                  </a:lnTo>
                  <a:cubicBezTo>
                    <a:pt x="4471970" y="4835818"/>
                    <a:pt x="3053106" y="4831897"/>
                    <a:pt x="2160700" y="3964951"/>
                  </a:cubicBezTo>
                  <a:cubicBezTo>
                    <a:pt x="1826048" y="3639847"/>
                    <a:pt x="1610566" y="3237228"/>
                    <a:pt x="1516005" y="2812341"/>
                  </a:cubicBezTo>
                  <a:lnTo>
                    <a:pt x="1508933" y="2771643"/>
                  </a:lnTo>
                  <a:lnTo>
                    <a:pt x="462756" y="2771643"/>
                  </a:lnTo>
                  <a:cubicBezTo>
                    <a:pt x="207183" y="2771643"/>
                    <a:pt x="0" y="2564460"/>
                    <a:pt x="0" y="2308887"/>
                  </a:cubicBezTo>
                  <a:cubicBezTo>
                    <a:pt x="0" y="2053314"/>
                    <a:pt x="207183" y="1846131"/>
                    <a:pt x="462756" y="1846131"/>
                  </a:cubicBezTo>
                  <a:lnTo>
                    <a:pt x="1509833" y="1846131"/>
                  </a:lnTo>
                  <a:lnTo>
                    <a:pt x="1532538" y="1735700"/>
                  </a:lnTo>
                  <a:cubicBezTo>
                    <a:pt x="1622699" y="1382669"/>
                    <a:pt x="1797846" y="1046145"/>
                    <a:pt x="2058995" y="758098"/>
                  </a:cubicBezTo>
                  <a:cubicBezTo>
                    <a:pt x="2529064" y="239613"/>
                    <a:pt x="3182675" y="-16910"/>
                    <a:pt x="3833692" y="864"/>
                  </a:cubicBezTo>
                  <a:close/>
                </a:path>
              </a:pathLst>
            </a:custGeom>
            <a:solidFill>
              <a:srgbClr val="FFFFFF"/>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211" name="Group 210">
            <a:extLst>
              <a:ext uri="{FF2B5EF4-FFF2-40B4-BE49-F238E27FC236}">
                <a16:creationId xmlns:a16="http://schemas.microsoft.com/office/drawing/2014/main" id="{8555F7AF-09CF-4DA7-814D-6CB4D4CC04BA}"/>
              </a:ext>
            </a:extLst>
          </p:cNvPr>
          <p:cNvGrpSpPr/>
          <p:nvPr/>
        </p:nvGrpSpPr>
        <p:grpSpPr>
          <a:xfrm>
            <a:off x="5060244" y="5144576"/>
            <a:ext cx="1151877" cy="295625"/>
            <a:chOff x="5060079" y="5033005"/>
            <a:chExt cx="1152041" cy="295666"/>
          </a:xfrm>
        </p:grpSpPr>
        <p:sp>
          <p:nvSpPr>
            <p:cNvPr id="212" name="Rectangle 211">
              <a:extLst>
                <a:ext uri="{FF2B5EF4-FFF2-40B4-BE49-F238E27FC236}">
                  <a16:creationId xmlns:a16="http://schemas.microsoft.com/office/drawing/2014/main" id="{794D7033-F22F-4F79-8A92-8B03D769AA59}"/>
                </a:ext>
              </a:extLst>
            </p:cNvPr>
            <p:cNvSpPr/>
            <p:nvPr/>
          </p:nvSpPr>
          <p:spPr>
            <a:xfrm>
              <a:off x="5060079" y="5103883"/>
              <a:ext cx="753277" cy="153910"/>
            </a:xfrm>
            <a:prstGeom prst="rect">
              <a:avLst/>
            </a:prstGeom>
          </p:spPr>
          <p:txBody>
            <a:bodyPr wrap="square" lIns="91427" tIns="0" rIns="91427" bIns="0" anchor="ctr">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rPr>
                <a:t>connector</a:t>
              </a:r>
              <a:endParaRPr kumimoji="0" lang="en-US" sz="1000" b="0" i="0" u="none" strike="noStrike" kern="0" cap="none" spc="0" normalizeH="0" baseline="0" noProof="0">
                <a:ln>
                  <a:noFill/>
                </a:ln>
                <a:solidFill>
                  <a:sysClr val="windowText" lastClr="000000"/>
                </a:solidFill>
                <a:effectLst/>
                <a:uLnTx/>
                <a:uFillTx/>
              </a:endParaRPr>
            </a:p>
          </p:txBody>
        </p:sp>
        <p:sp>
          <p:nvSpPr>
            <p:cNvPr id="213" name="Freeform: Shape 123">
              <a:extLst>
                <a:ext uri="{FF2B5EF4-FFF2-40B4-BE49-F238E27FC236}">
                  <a16:creationId xmlns:a16="http://schemas.microsoft.com/office/drawing/2014/main" id="{AC0F0957-4F1A-412A-8C0B-D76B8E5EA353}"/>
                </a:ext>
              </a:extLst>
            </p:cNvPr>
            <p:cNvSpPr>
              <a:spLocks noChangeAspect="1"/>
            </p:cNvSpPr>
            <p:nvPr/>
          </p:nvSpPr>
          <p:spPr bwMode="auto">
            <a:xfrm>
              <a:off x="5746077" y="5033005"/>
              <a:ext cx="466043" cy="295666"/>
            </a:xfrm>
            <a:custGeom>
              <a:avLst/>
              <a:gdLst>
                <a:gd name="connsiteX0" fmla="*/ 5794343 w 7278721"/>
                <a:gd name="connsiteY0" fmla="*/ 1303047 h 4617748"/>
                <a:gd name="connsiteX1" fmla="*/ 7278721 w 7278721"/>
                <a:gd name="connsiteY1" fmla="*/ 2308887 h 4617748"/>
                <a:gd name="connsiteX2" fmla="*/ 5794343 w 7278721"/>
                <a:gd name="connsiteY2" fmla="*/ 3314727 h 4617748"/>
                <a:gd name="connsiteX3" fmla="*/ 5794343 w 7278721"/>
                <a:gd name="connsiteY3" fmla="*/ 2771171 h 4617748"/>
                <a:gd name="connsiteX4" fmla="*/ 4408129 w 7278721"/>
                <a:gd name="connsiteY4" fmla="*/ 2771171 h 4617748"/>
                <a:gd name="connsiteX5" fmla="*/ 4328415 w 7278721"/>
                <a:gd name="connsiteY5" fmla="*/ 2867785 h 4617748"/>
                <a:gd name="connsiteX6" fmla="*/ 3769517 w 7278721"/>
                <a:gd name="connsiteY6" fmla="*/ 3099288 h 4617748"/>
                <a:gd name="connsiteX7" fmla="*/ 2979116 w 7278721"/>
                <a:gd name="connsiteY7" fmla="*/ 2308887 h 4617748"/>
                <a:gd name="connsiteX8" fmla="*/ 3769517 w 7278721"/>
                <a:gd name="connsiteY8" fmla="*/ 1518486 h 4617748"/>
                <a:gd name="connsiteX9" fmla="*/ 4328415 w 7278721"/>
                <a:gd name="connsiteY9" fmla="*/ 1749989 h 4617748"/>
                <a:gd name="connsiteX10" fmla="*/ 4408129 w 7278721"/>
                <a:gd name="connsiteY10" fmla="*/ 1846603 h 4617748"/>
                <a:gd name="connsiteX11" fmla="*/ 5794343 w 7278721"/>
                <a:gd name="connsiteY11" fmla="*/ 1846603 h 4617748"/>
                <a:gd name="connsiteX12" fmla="*/ 3833692 w 7278721"/>
                <a:gd name="connsiteY12" fmla="*/ 864 h 4617748"/>
                <a:gd name="connsiteX13" fmla="*/ 5260439 w 7278721"/>
                <a:gd name="connsiteY13" fmla="*/ 545941 h 4617748"/>
                <a:gd name="connsiteX14" fmla="*/ 4841938 w 7278721"/>
                <a:gd name="connsiteY14" fmla="*/ 1040800 h 4617748"/>
                <a:gd name="connsiteX15" fmla="*/ 2539139 w 7278721"/>
                <a:gd name="connsiteY15" fmla="*/ 1193404 h 4617748"/>
                <a:gd name="connsiteX16" fmla="*/ 2612295 w 7278721"/>
                <a:gd name="connsiteY16" fmla="*/ 3500094 h 4617748"/>
                <a:gd name="connsiteX17" fmla="*/ 4920136 w 7278721"/>
                <a:gd name="connsiteY17" fmla="*/ 3506473 h 4617748"/>
                <a:gd name="connsiteX18" fmla="*/ 5369154 w 7278721"/>
                <a:gd name="connsiteY18" fmla="*/ 3973819 h 4617748"/>
                <a:gd name="connsiteX19" fmla="*/ 2160700 w 7278721"/>
                <a:gd name="connsiteY19" fmla="*/ 3964951 h 4617748"/>
                <a:gd name="connsiteX20" fmla="*/ 1516005 w 7278721"/>
                <a:gd name="connsiteY20" fmla="*/ 2812341 h 4617748"/>
                <a:gd name="connsiteX21" fmla="*/ 1508933 w 7278721"/>
                <a:gd name="connsiteY21" fmla="*/ 2771643 h 4617748"/>
                <a:gd name="connsiteX22" fmla="*/ 462756 w 7278721"/>
                <a:gd name="connsiteY22" fmla="*/ 2771643 h 4617748"/>
                <a:gd name="connsiteX23" fmla="*/ 0 w 7278721"/>
                <a:gd name="connsiteY23" fmla="*/ 2308887 h 4617748"/>
                <a:gd name="connsiteX24" fmla="*/ 462756 w 7278721"/>
                <a:gd name="connsiteY24" fmla="*/ 1846131 h 4617748"/>
                <a:gd name="connsiteX25" fmla="*/ 1509833 w 7278721"/>
                <a:gd name="connsiteY25" fmla="*/ 1846131 h 4617748"/>
                <a:gd name="connsiteX26" fmla="*/ 1532538 w 7278721"/>
                <a:gd name="connsiteY26" fmla="*/ 1735700 h 4617748"/>
                <a:gd name="connsiteX27" fmla="*/ 2058995 w 7278721"/>
                <a:gd name="connsiteY27" fmla="*/ 758098 h 4617748"/>
                <a:gd name="connsiteX28" fmla="*/ 3833692 w 7278721"/>
                <a:gd name="connsiteY28" fmla="*/ 864 h 461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278721" h="4617748">
                  <a:moveTo>
                    <a:pt x="5794343" y="1303047"/>
                  </a:moveTo>
                  <a:lnTo>
                    <a:pt x="7278721" y="2308887"/>
                  </a:lnTo>
                  <a:lnTo>
                    <a:pt x="5794343" y="3314727"/>
                  </a:lnTo>
                  <a:lnTo>
                    <a:pt x="5794343" y="2771171"/>
                  </a:lnTo>
                  <a:lnTo>
                    <a:pt x="4408129" y="2771171"/>
                  </a:lnTo>
                  <a:lnTo>
                    <a:pt x="4328415" y="2867785"/>
                  </a:lnTo>
                  <a:cubicBezTo>
                    <a:pt x="4185380" y="3010819"/>
                    <a:pt x="3987780" y="3099288"/>
                    <a:pt x="3769517" y="3099288"/>
                  </a:cubicBezTo>
                  <a:cubicBezTo>
                    <a:pt x="3332991" y="3099288"/>
                    <a:pt x="2979116" y="2745413"/>
                    <a:pt x="2979116" y="2308887"/>
                  </a:cubicBezTo>
                  <a:cubicBezTo>
                    <a:pt x="2979116" y="1872361"/>
                    <a:pt x="3332991" y="1518486"/>
                    <a:pt x="3769517" y="1518486"/>
                  </a:cubicBezTo>
                  <a:cubicBezTo>
                    <a:pt x="3987780" y="1518486"/>
                    <a:pt x="4185380" y="1606955"/>
                    <a:pt x="4328415" y="1749989"/>
                  </a:cubicBezTo>
                  <a:lnTo>
                    <a:pt x="4408129" y="1846603"/>
                  </a:lnTo>
                  <a:lnTo>
                    <a:pt x="5794343" y="1846603"/>
                  </a:lnTo>
                  <a:close/>
                  <a:moveTo>
                    <a:pt x="3833692" y="864"/>
                  </a:moveTo>
                  <a:cubicBezTo>
                    <a:pt x="4340038" y="14689"/>
                    <a:pt x="4844813" y="194447"/>
                    <a:pt x="5260439" y="545941"/>
                  </a:cubicBezTo>
                  <a:lnTo>
                    <a:pt x="4841938" y="1040800"/>
                  </a:lnTo>
                  <a:cubicBezTo>
                    <a:pt x="4158601" y="462903"/>
                    <a:pt x="3140242" y="530389"/>
                    <a:pt x="2539139" y="1193404"/>
                  </a:cubicBezTo>
                  <a:cubicBezTo>
                    <a:pt x="1938036" y="1856420"/>
                    <a:pt x="1970388" y="2876500"/>
                    <a:pt x="2612295" y="3500094"/>
                  </a:cubicBezTo>
                  <a:cubicBezTo>
                    <a:pt x="3254202" y="4123688"/>
                    <a:pt x="4274791" y="4126509"/>
                    <a:pt x="4920136" y="3506473"/>
                  </a:cubicBezTo>
                  <a:lnTo>
                    <a:pt x="5369154" y="3973819"/>
                  </a:lnTo>
                  <a:cubicBezTo>
                    <a:pt x="4471970" y="4835818"/>
                    <a:pt x="3053106" y="4831897"/>
                    <a:pt x="2160700" y="3964951"/>
                  </a:cubicBezTo>
                  <a:cubicBezTo>
                    <a:pt x="1826048" y="3639847"/>
                    <a:pt x="1610566" y="3237228"/>
                    <a:pt x="1516005" y="2812341"/>
                  </a:cubicBezTo>
                  <a:lnTo>
                    <a:pt x="1508933" y="2771643"/>
                  </a:lnTo>
                  <a:lnTo>
                    <a:pt x="462756" y="2771643"/>
                  </a:lnTo>
                  <a:cubicBezTo>
                    <a:pt x="207183" y="2771643"/>
                    <a:pt x="0" y="2564460"/>
                    <a:pt x="0" y="2308887"/>
                  </a:cubicBezTo>
                  <a:cubicBezTo>
                    <a:pt x="0" y="2053314"/>
                    <a:pt x="207183" y="1846131"/>
                    <a:pt x="462756" y="1846131"/>
                  </a:cubicBezTo>
                  <a:lnTo>
                    <a:pt x="1509833" y="1846131"/>
                  </a:lnTo>
                  <a:lnTo>
                    <a:pt x="1532538" y="1735700"/>
                  </a:lnTo>
                  <a:cubicBezTo>
                    <a:pt x="1622699" y="1382669"/>
                    <a:pt x="1797846" y="1046145"/>
                    <a:pt x="2058995" y="758098"/>
                  </a:cubicBezTo>
                  <a:cubicBezTo>
                    <a:pt x="2529064" y="239613"/>
                    <a:pt x="3182675" y="-16910"/>
                    <a:pt x="3833692" y="864"/>
                  </a:cubicBezTo>
                  <a:close/>
                </a:path>
              </a:pathLst>
            </a:custGeom>
            <a:solidFill>
              <a:srgbClr val="FFFFFF"/>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cxnSp>
        <p:nvCxnSpPr>
          <p:cNvPr id="214" name="Connector: Elbow 213">
            <a:extLst>
              <a:ext uri="{FF2B5EF4-FFF2-40B4-BE49-F238E27FC236}">
                <a16:creationId xmlns:a16="http://schemas.microsoft.com/office/drawing/2014/main" id="{AB280D3D-C27C-405E-93F4-ED182098CF24}"/>
              </a:ext>
            </a:extLst>
          </p:cNvPr>
          <p:cNvCxnSpPr>
            <a:stCxn id="182" idx="4"/>
          </p:cNvCxnSpPr>
          <p:nvPr/>
        </p:nvCxnSpPr>
        <p:spPr>
          <a:xfrm rot="16200000" flipH="1">
            <a:off x="7229549" y="3751815"/>
            <a:ext cx="1718049" cy="1067443"/>
          </a:xfrm>
          <a:prstGeom prst="bentConnector3">
            <a:avLst>
              <a:gd name="adj1" fmla="val 50000"/>
            </a:avLst>
          </a:prstGeom>
          <a:noFill/>
          <a:ln w="25400" cap="rnd" cmpd="sng" algn="ctr">
            <a:solidFill>
              <a:srgbClr val="92D050"/>
            </a:solidFill>
            <a:prstDash val="sysDot"/>
            <a:headEnd type="none"/>
            <a:tailEnd type="triangle"/>
          </a:ln>
          <a:effectLst/>
        </p:spPr>
      </p:cxnSp>
      <p:grpSp>
        <p:nvGrpSpPr>
          <p:cNvPr id="215" name="Group 214">
            <a:extLst>
              <a:ext uri="{FF2B5EF4-FFF2-40B4-BE49-F238E27FC236}">
                <a16:creationId xmlns:a16="http://schemas.microsoft.com/office/drawing/2014/main" id="{FF67FDCE-F2C2-42A2-BE76-4ED6B21DDDAA}"/>
              </a:ext>
            </a:extLst>
          </p:cNvPr>
          <p:cNvGrpSpPr/>
          <p:nvPr/>
        </p:nvGrpSpPr>
        <p:grpSpPr>
          <a:xfrm>
            <a:off x="6773448" y="2698055"/>
            <a:ext cx="1560155" cy="1025885"/>
            <a:chOff x="6906415" y="2562072"/>
            <a:chExt cx="1560377" cy="1026031"/>
          </a:xfrm>
        </p:grpSpPr>
        <p:sp>
          <p:nvSpPr>
            <p:cNvPr id="216" name="Freeform 38">
              <a:extLst>
                <a:ext uri="{FF2B5EF4-FFF2-40B4-BE49-F238E27FC236}">
                  <a16:creationId xmlns:a16="http://schemas.microsoft.com/office/drawing/2014/main" id="{BA98077D-0B9D-4EEF-B879-8928405F1CFF}"/>
                </a:ext>
              </a:extLst>
            </p:cNvPr>
            <p:cNvSpPr>
              <a:spLocks/>
            </p:cNvSpPr>
            <p:nvPr/>
          </p:nvSpPr>
          <p:spPr bwMode="auto">
            <a:xfrm>
              <a:off x="6906415" y="2562072"/>
              <a:ext cx="1560377" cy="102603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nvGrpSpPr>
            <p:cNvPr id="217" name="Group 216">
              <a:extLst>
                <a:ext uri="{FF2B5EF4-FFF2-40B4-BE49-F238E27FC236}">
                  <a16:creationId xmlns:a16="http://schemas.microsoft.com/office/drawing/2014/main" id="{3C59D4FB-65C2-46E3-BE23-EA689A55F242}"/>
                </a:ext>
              </a:extLst>
            </p:cNvPr>
            <p:cNvGrpSpPr>
              <a:grpSpLocks noChangeAspect="1"/>
            </p:cNvGrpSpPr>
            <p:nvPr/>
          </p:nvGrpSpPr>
          <p:grpSpPr>
            <a:xfrm>
              <a:off x="7400888" y="2968523"/>
              <a:ext cx="614026" cy="365760"/>
              <a:chOff x="10227446" y="2986117"/>
              <a:chExt cx="658968" cy="392532"/>
            </a:xfrm>
            <a:solidFill>
              <a:srgbClr val="002050"/>
            </a:solidFill>
          </p:grpSpPr>
          <p:grpSp>
            <p:nvGrpSpPr>
              <p:cNvPr id="218" name="Group 217">
                <a:extLst>
                  <a:ext uri="{FF2B5EF4-FFF2-40B4-BE49-F238E27FC236}">
                    <a16:creationId xmlns:a16="http://schemas.microsoft.com/office/drawing/2014/main" id="{F884CD21-4AB3-4053-9954-2EFCA79C282D}"/>
                  </a:ext>
                </a:extLst>
              </p:cNvPr>
              <p:cNvGrpSpPr/>
              <p:nvPr/>
            </p:nvGrpSpPr>
            <p:grpSpPr>
              <a:xfrm>
                <a:off x="10227446" y="2986117"/>
                <a:ext cx="658968" cy="392532"/>
                <a:chOff x="6002760" y="3291875"/>
                <a:chExt cx="3471152" cy="1658849"/>
              </a:xfrm>
              <a:grpFill/>
            </p:grpSpPr>
            <p:sp>
              <p:nvSpPr>
                <p:cNvPr id="220" name="Rectangle 219">
                  <a:extLst>
                    <a:ext uri="{FF2B5EF4-FFF2-40B4-BE49-F238E27FC236}">
                      <a16:creationId xmlns:a16="http://schemas.microsoft.com/office/drawing/2014/main" id="{8BCC26E4-E09C-48A4-8D43-2026CE7254A6}"/>
                    </a:ext>
                  </a:extLst>
                </p:cNvPr>
                <p:cNvSpPr/>
                <p:nvPr/>
              </p:nvSpPr>
              <p:spPr bwMode="auto">
                <a:xfrm>
                  <a:off x="6002760" y="3291875"/>
                  <a:ext cx="3471152" cy="157459"/>
                </a:xfrm>
                <a:prstGeom prst="rect">
                  <a:avLst/>
                </a:prstGeom>
                <a:grpFill/>
                <a:ln w="10795" cap="flat" cmpd="sng" algn="ctr">
                  <a:noFill/>
                  <a:prstDash val="solid"/>
                  <a:headEnd type="none" w="med" len="med"/>
                  <a:tailEnd type="none" w="med" len="med"/>
                </a:ln>
                <a:effectLst/>
              </p:spPr>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1" name="Rectangle 220">
                  <a:extLst>
                    <a:ext uri="{FF2B5EF4-FFF2-40B4-BE49-F238E27FC236}">
                      <a16:creationId xmlns:a16="http://schemas.microsoft.com/office/drawing/2014/main" id="{7701DA9F-B2CC-4B54-8519-B45B3CFD4E2F}"/>
                    </a:ext>
                  </a:extLst>
                </p:cNvPr>
                <p:cNvSpPr/>
                <p:nvPr/>
              </p:nvSpPr>
              <p:spPr bwMode="auto">
                <a:xfrm>
                  <a:off x="6002760" y="3489197"/>
                  <a:ext cx="3471152" cy="1461527"/>
                </a:xfrm>
                <a:prstGeom prst="rect">
                  <a:avLst/>
                </a:prstGeom>
                <a:grpFill/>
                <a:ln w="10795" cap="flat" cmpd="sng" algn="ctr">
                  <a:noFill/>
                  <a:prstDash val="solid"/>
                  <a:headEnd type="none" w="med" len="med"/>
                  <a:tailEnd type="none" w="med" len="med"/>
                </a:ln>
                <a:effectLst/>
              </p:spPr>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219" name="icon GEARS">
                <a:extLst>
                  <a:ext uri="{FF2B5EF4-FFF2-40B4-BE49-F238E27FC236}">
                    <a16:creationId xmlns:a16="http://schemas.microsoft.com/office/drawing/2014/main" id="{FA8DDF19-4A2A-4E0D-A1A3-58C1E7706C33}"/>
                  </a:ext>
                </a:extLst>
              </p:cNvPr>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FFFF"/>
              </a:solidFill>
              <a:ln>
                <a:noFill/>
              </a:ln>
              <a:extLst/>
            </p:spPr>
            <p:txBody>
              <a:bodyPr/>
              <a:lstStyle/>
              <a:p>
                <a:pPr marL="0" marR="0" lvl="0" indent="0" defTabSz="93123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noFill/>
                  <a:effectLst/>
                  <a:uLnTx/>
                  <a:uFillTx/>
                  <a:ea typeface="ＭＳ Ｐゴシック" charset="0"/>
                </a:endParaRPr>
              </a:p>
            </p:txBody>
          </p:sp>
        </p:grpSp>
      </p:grpSp>
      <p:grpSp>
        <p:nvGrpSpPr>
          <p:cNvPr id="222" name="Group 221">
            <a:extLst>
              <a:ext uri="{FF2B5EF4-FFF2-40B4-BE49-F238E27FC236}">
                <a16:creationId xmlns:a16="http://schemas.microsoft.com/office/drawing/2014/main" id="{C77FCD93-E13E-4A45-8B0E-2BA9A3434C27}"/>
              </a:ext>
            </a:extLst>
          </p:cNvPr>
          <p:cNvGrpSpPr/>
          <p:nvPr/>
        </p:nvGrpSpPr>
        <p:grpSpPr>
          <a:xfrm>
            <a:off x="5200248" y="2046269"/>
            <a:ext cx="2035981" cy="1239231"/>
            <a:chOff x="6882926" y="1192433"/>
            <a:chExt cx="2501906" cy="1522824"/>
          </a:xfrm>
        </p:grpSpPr>
        <p:sp>
          <p:nvSpPr>
            <p:cNvPr id="223" name="Freeform 38">
              <a:extLst>
                <a:ext uri="{FF2B5EF4-FFF2-40B4-BE49-F238E27FC236}">
                  <a16:creationId xmlns:a16="http://schemas.microsoft.com/office/drawing/2014/main" id="{6FA12A8D-6434-4742-8F00-4B99D527FF92}"/>
                </a:ext>
              </a:extLst>
            </p:cNvPr>
            <p:cNvSpPr>
              <a:spLocks/>
            </p:cNvSpPr>
            <p:nvPr/>
          </p:nvSpPr>
          <p:spPr bwMode="auto">
            <a:xfrm>
              <a:off x="6975768" y="1192433"/>
              <a:ext cx="2315888" cy="152282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a:solidFill>
                <a:srgbClr val="002050"/>
              </a:solidFill>
            </a:ln>
          </p:spPr>
          <p:txBody>
            <a:bodyPr vert="horz" wrap="square" lIns="93234" tIns="46616" rIns="93234" bIns="46616" numCol="1" anchor="t" anchorCtr="0" compatLnSpc="1">
              <a:prstTxWarp prst="textNoShape">
                <a:avLst/>
              </a:prstTxWarp>
            </a:bodyPr>
            <a:lstStyle/>
            <a:p>
              <a:pPr marL="0" marR="0" lvl="0" indent="0" defTabSz="93223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nvGrpSpPr>
            <p:cNvPr id="224" name="Group 223">
              <a:extLst>
                <a:ext uri="{FF2B5EF4-FFF2-40B4-BE49-F238E27FC236}">
                  <a16:creationId xmlns:a16="http://schemas.microsoft.com/office/drawing/2014/main" id="{814D7725-DFCA-467E-86CB-5F181282F208}"/>
                </a:ext>
              </a:extLst>
            </p:cNvPr>
            <p:cNvGrpSpPr/>
            <p:nvPr/>
          </p:nvGrpSpPr>
          <p:grpSpPr>
            <a:xfrm>
              <a:off x="6882926" y="1388426"/>
              <a:ext cx="2501906" cy="1218525"/>
              <a:chOff x="5181138" y="5521526"/>
              <a:chExt cx="2552074" cy="1242959"/>
            </a:xfrm>
          </p:grpSpPr>
          <p:sp>
            <p:nvSpPr>
              <p:cNvPr id="225" name="TextBox 224">
                <a:extLst>
                  <a:ext uri="{FF2B5EF4-FFF2-40B4-BE49-F238E27FC236}">
                    <a16:creationId xmlns:a16="http://schemas.microsoft.com/office/drawing/2014/main" id="{5425257B-F1F9-4503-9F48-7EC7041DD963}"/>
                  </a:ext>
                </a:extLst>
              </p:cNvPr>
              <p:cNvSpPr txBox="1"/>
              <p:nvPr/>
            </p:nvSpPr>
            <p:spPr>
              <a:xfrm>
                <a:off x="5181138" y="6258871"/>
                <a:ext cx="2552074" cy="505614"/>
              </a:xfrm>
              <a:prstGeom prst="rect">
                <a:avLst/>
              </a:prstGeom>
            </p:spPr>
            <p:txBody>
              <a:bodyPr wrap="square" lIns="0" tIns="0" rIns="0" bIns="0" rtlCol="0">
                <a:spAutoFit/>
              </a:bodyPr>
              <a:lstStyle/>
              <a:p>
                <a:pPr marL="0" marR="0" lvl="0" indent="0" algn="ctr" defTabSz="913397" eaLnBrk="1" fontAlgn="base" latinLnBrk="0" hangingPunct="1">
                  <a:lnSpc>
                    <a:spcPct val="90000"/>
                  </a:lnSpc>
                  <a:spcBef>
                    <a:spcPct val="0"/>
                  </a:spcBef>
                  <a:spcAft>
                    <a:spcPct val="0"/>
                  </a:spcAft>
                  <a:buClrTx/>
                  <a:buSzPct val="80000"/>
                  <a:buFontTx/>
                  <a:buNone/>
                  <a:tabLst/>
                  <a:defRPr/>
                </a:pPr>
                <a:r>
                  <a:rPr kumimoji="0" lang="en-US" sz="1428" b="0" i="0" u="none" strike="noStrike" kern="0" cap="none" spc="0" normalizeH="0" baseline="0" noProof="0">
                    <a:ln>
                      <a:noFill/>
                    </a:ln>
                    <a:solidFill>
                      <a:srgbClr val="002050"/>
                    </a:solidFill>
                    <a:effectLst/>
                    <a:uLnTx/>
                    <a:uFillTx/>
                    <a:ea typeface="ＭＳ Ｐゴシック" charset="0"/>
                    <a:cs typeface="Segoe UI Semibold" panose="020B0702040204020203" pitchFamily="34" charset="0"/>
                  </a:rPr>
                  <a:t>Microsoft Azure</a:t>
                </a:r>
              </a:p>
              <a:p>
                <a:pPr marL="0" marR="0" lvl="0" indent="0" algn="ctr" defTabSz="913397" eaLnBrk="1" fontAlgn="base" latinLnBrk="0" hangingPunct="1">
                  <a:lnSpc>
                    <a:spcPct val="90000"/>
                  </a:lnSpc>
                  <a:spcBef>
                    <a:spcPct val="0"/>
                  </a:spcBef>
                  <a:spcAft>
                    <a:spcPct val="0"/>
                  </a:spcAft>
                  <a:buClrTx/>
                  <a:buSzPct val="80000"/>
                  <a:buFontTx/>
                  <a:buNone/>
                  <a:tabLst/>
                  <a:defRPr/>
                </a:pPr>
                <a:r>
                  <a:rPr kumimoji="0" lang="en-US" sz="1428" b="0" i="0" u="none" strike="noStrike" kern="0" cap="none" spc="0" normalizeH="0" baseline="0" noProof="0">
                    <a:ln>
                      <a:noFill/>
                    </a:ln>
                    <a:solidFill>
                      <a:srgbClr val="002050"/>
                    </a:solidFill>
                    <a:effectLst/>
                    <a:uLnTx/>
                    <a:uFillTx/>
                    <a:ea typeface="ＭＳ Ｐゴシック" charset="0"/>
                    <a:cs typeface="Segoe UI Semibold" panose="020B0702040204020203" pitchFamily="34" charset="0"/>
                  </a:rPr>
                  <a:t>Active Directory</a:t>
                </a:r>
              </a:p>
            </p:txBody>
          </p:sp>
          <p:pic>
            <p:nvPicPr>
              <p:cNvPr id="226" name="Picture 225">
                <a:extLst>
                  <a:ext uri="{FF2B5EF4-FFF2-40B4-BE49-F238E27FC236}">
                    <a16:creationId xmlns:a16="http://schemas.microsoft.com/office/drawing/2014/main" id="{802D164E-C031-4DE0-9BB2-EC51F7402C2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138072" y="5521526"/>
                <a:ext cx="638203" cy="632929"/>
              </a:xfrm>
              <a:prstGeom prst="rect">
                <a:avLst/>
              </a:prstGeom>
            </p:spPr>
          </p:pic>
        </p:grpSp>
      </p:grpSp>
      <p:grpSp>
        <p:nvGrpSpPr>
          <p:cNvPr id="227" name="Group 226">
            <a:extLst>
              <a:ext uri="{FF2B5EF4-FFF2-40B4-BE49-F238E27FC236}">
                <a16:creationId xmlns:a16="http://schemas.microsoft.com/office/drawing/2014/main" id="{5EF48647-BFED-47E3-AF7E-DD737619821C}"/>
              </a:ext>
            </a:extLst>
          </p:cNvPr>
          <p:cNvGrpSpPr>
            <a:grpSpLocks noChangeAspect="1"/>
          </p:cNvGrpSpPr>
          <p:nvPr/>
        </p:nvGrpSpPr>
        <p:grpSpPr>
          <a:xfrm>
            <a:off x="10876446" y="4429019"/>
            <a:ext cx="1559148" cy="2565010"/>
            <a:chOff x="10877106" y="4429151"/>
            <a:chExt cx="1559369" cy="2565374"/>
          </a:xfrm>
        </p:grpSpPr>
        <p:grpSp>
          <p:nvGrpSpPr>
            <p:cNvPr id="228" name="Group 227">
              <a:extLst>
                <a:ext uri="{FF2B5EF4-FFF2-40B4-BE49-F238E27FC236}">
                  <a16:creationId xmlns:a16="http://schemas.microsoft.com/office/drawing/2014/main" id="{952D03BE-7F9E-4D74-9FF4-6AF226BC397F}"/>
                </a:ext>
              </a:extLst>
            </p:cNvPr>
            <p:cNvGrpSpPr>
              <a:grpSpLocks noChangeAspect="1"/>
            </p:cNvGrpSpPr>
            <p:nvPr/>
          </p:nvGrpSpPr>
          <p:grpSpPr>
            <a:xfrm>
              <a:off x="11581350" y="4429151"/>
              <a:ext cx="855125" cy="2565374"/>
              <a:chOff x="11631239" y="4516235"/>
              <a:chExt cx="826097" cy="2478290"/>
            </a:xfrm>
          </p:grpSpPr>
          <p:sp>
            <p:nvSpPr>
              <p:cNvPr id="234" name="Rectangle 233">
                <a:extLst>
                  <a:ext uri="{FF2B5EF4-FFF2-40B4-BE49-F238E27FC236}">
                    <a16:creationId xmlns:a16="http://schemas.microsoft.com/office/drawing/2014/main" id="{B1CDA892-30B1-48F5-89A1-29B1F1B47872}"/>
                  </a:ext>
                </a:extLst>
              </p:cNvPr>
              <p:cNvSpPr>
                <a:spLocks noChangeAspect="1"/>
              </p:cNvSpPr>
              <p:nvPr/>
            </p:nvSpPr>
            <p:spPr bwMode="auto">
              <a:xfrm>
                <a:off x="11631239" y="4516235"/>
                <a:ext cx="826097" cy="2478290"/>
              </a:xfrm>
              <a:prstGeom prst="rect">
                <a:avLst/>
              </a:prstGeom>
              <a:solidFill>
                <a:srgbClr val="FFFFFF"/>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35" name="Group 234">
                <a:extLst>
                  <a:ext uri="{FF2B5EF4-FFF2-40B4-BE49-F238E27FC236}">
                    <a16:creationId xmlns:a16="http://schemas.microsoft.com/office/drawing/2014/main" id="{334E7E5E-EDCF-4581-8CC3-09A827C0038C}"/>
                  </a:ext>
                </a:extLst>
              </p:cNvPr>
              <p:cNvGrpSpPr>
                <a:grpSpLocks noChangeAspect="1"/>
              </p:cNvGrpSpPr>
              <p:nvPr/>
            </p:nvGrpSpPr>
            <p:grpSpPr>
              <a:xfrm>
                <a:off x="11764517" y="4724808"/>
                <a:ext cx="559540" cy="1832354"/>
                <a:chOff x="11768846" y="4705243"/>
                <a:chExt cx="559540" cy="1832354"/>
              </a:xfrm>
            </p:grpSpPr>
            <p:sp>
              <p:nvSpPr>
                <p:cNvPr id="236" name="Rectangle 235">
                  <a:extLst>
                    <a:ext uri="{FF2B5EF4-FFF2-40B4-BE49-F238E27FC236}">
                      <a16:creationId xmlns:a16="http://schemas.microsoft.com/office/drawing/2014/main" id="{1799D96F-8F8D-4533-8469-8C3DE19EF417}"/>
                    </a:ext>
                  </a:extLst>
                </p:cNvPr>
                <p:cNvSpPr/>
                <p:nvPr/>
              </p:nvSpPr>
              <p:spPr bwMode="auto">
                <a:xfrm>
                  <a:off x="11768846" y="4705243"/>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7" name="Rectangle 236">
                  <a:extLst>
                    <a:ext uri="{FF2B5EF4-FFF2-40B4-BE49-F238E27FC236}">
                      <a16:creationId xmlns:a16="http://schemas.microsoft.com/office/drawing/2014/main" id="{D3276F4E-6561-46B9-AC69-AACD6B74D7D4}"/>
                    </a:ext>
                  </a:extLst>
                </p:cNvPr>
                <p:cNvSpPr/>
                <p:nvPr/>
              </p:nvSpPr>
              <p:spPr bwMode="auto">
                <a:xfrm>
                  <a:off x="11768846" y="5025994"/>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8" name="Rectangle 237">
                  <a:extLst>
                    <a:ext uri="{FF2B5EF4-FFF2-40B4-BE49-F238E27FC236}">
                      <a16:creationId xmlns:a16="http://schemas.microsoft.com/office/drawing/2014/main" id="{7B276901-5CE9-4FFC-955E-9044123A6245}"/>
                    </a:ext>
                  </a:extLst>
                </p:cNvPr>
                <p:cNvSpPr/>
                <p:nvPr/>
              </p:nvSpPr>
              <p:spPr bwMode="auto">
                <a:xfrm>
                  <a:off x="11768846" y="5346745"/>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9" name="Rectangle 238">
                  <a:extLst>
                    <a:ext uri="{FF2B5EF4-FFF2-40B4-BE49-F238E27FC236}">
                      <a16:creationId xmlns:a16="http://schemas.microsoft.com/office/drawing/2014/main" id="{614120C3-6DC4-4377-A275-A5004139B21D}"/>
                    </a:ext>
                  </a:extLst>
                </p:cNvPr>
                <p:cNvSpPr/>
                <p:nvPr/>
              </p:nvSpPr>
              <p:spPr bwMode="auto">
                <a:xfrm>
                  <a:off x="11768846" y="5667496"/>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0" name="Rectangle 239">
                  <a:extLst>
                    <a:ext uri="{FF2B5EF4-FFF2-40B4-BE49-F238E27FC236}">
                      <a16:creationId xmlns:a16="http://schemas.microsoft.com/office/drawing/2014/main" id="{442B8383-454B-4F5E-90CB-404764268255}"/>
                    </a:ext>
                  </a:extLst>
                </p:cNvPr>
                <p:cNvSpPr/>
                <p:nvPr/>
              </p:nvSpPr>
              <p:spPr bwMode="auto">
                <a:xfrm>
                  <a:off x="11768846" y="5988247"/>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1" name="Rectangle 240">
                  <a:extLst>
                    <a:ext uri="{FF2B5EF4-FFF2-40B4-BE49-F238E27FC236}">
                      <a16:creationId xmlns:a16="http://schemas.microsoft.com/office/drawing/2014/main" id="{9726439A-5A7A-4DFA-BE99-7D0B4CAAF48A}"/>
                    </a:ext>
                  </a:extLst>
                </p:cNvPr>
                <p:cNvSpPr/>
                <p:nvPr/>
              </p:nvSpPr>
              <p:spPr bwMode="auto">
                <a:xfrm>
                  <a:off x="11768846" y="6308997"/>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2" name="Rectangle 241">
                  <a:extLst>
                    <a:ext uri="{FF2B5EF4-FFF2-40B4-BE49-F238E27FC236}">
                      <a16:creationId xmlns:a16="http://schemas.microsoft.com/office/drawing/2014/main" id="{445B87CB-A99E-4859-9EA0-12ED8EAA27F9}"/>
                    </a:ext>
                  </a:extLst>
                </p:cNvPr>
                <p:cNvSpPr/>
                <p:nvPr/>
              </p:nvSpPr>
              <p:spPr bwMode="auto">
                <a:xfrm>
                  <a:off x="12099786" y="4705243"/>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3" name="Rectangle 242">
                  <a:extLst>
                    <a:ext uri="{FF2B5EF4-FFF2-40B4-BE49-F238E27FC236}">
                      <a16:creationId xmlns:a16="http://schemas.microsoft.com/office/drawing/2014/main" id="{1C1B34EC-F3E5-460C-972E-1C521E9A789B}"/>
                    </a:ext>
                  </a:extLst>
                </p:cNvPr>
                <p:cNvSpPr/>
                <p:nvPr/>
              </p:nvSpPr>
              <p:spPr bwMode="auto">
                <a:xfrm>
                  <a:off x="12099786" y="5025994"/>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4" name="Rectangle 243">
                  <a:extLst>
                    <a:ext uri="{FF2B5EF4-FFF2-40B4-BE49-F238E27FC236}">
                      <a16:creationId xmlns:a16="http://schemas.microsoft.com/office/drawing/2014/main" id="{76D03522-E512-400F-9E20-64C3E82E2371}"/>
                    </a:ext>
                  </a:extLst>
                </p:cNvPr>
                <p:cNvSpPr/>
                <p:nvPr/>
              </p:nvSpPr>
              <p:spPr bwMode="auto">
                <a:xfrm>
                  <a:off x="12099786" y="5346745"/>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5" name="Rectangle 244">
                  <a:extLst>
                    <a:ext uri="{FF2B5EF4-FFF2-40B4-BE49-F238E27FC236}">
                      <a16:creationId xmlns:a16="http://schemas.microsoft.com/office/drawing/2014/main" id="{134F4764-6F04-4741-9AD4-122B1346858D}"/>
                    </a:ext>
                  </a:extLst>
                </p:cNvPr>
                <p:cNvSpPr/>
                <p:nvPr/>
              </p:nvSpPr>
              <p:spPr bwMode="auto">
                <a:xfrm>
                  <a:off x="12099786" y="5667496"/>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6" name="Rectangle 245">
                  <a:extLst>
                    <a:ext uri="{FF2B5EF4-FFF2-40B4-BE49-F238E27FC236}">
                      <a16:creationId xmlns:a16="http://schemas.microsoft.com/office/drawing/2014/main" id="{DC9C4C56-70DA-4B52-ADBD-B65ADFA2AAEF}"/>
                    </a:ext>
                  </a:extLst>
                </p:cNvPr>
                <p:cNvSpPr/>
                <p:nvPr/>
              </p:nvSpPr>
              <p:spPr bwMode="auto">
                <a:xfrm>
                  <a:off x="12099786" y="5988247"/>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7" name="Rectangle 246">
                  <a:extLst>
                    <a:ext uri="{FF2B5EF4-FFF2-40B4-BE49-F238E27FC236}">
                      <a16:creationId xmlns:a16="http://schemas.microsoft.com/office/drawing/2014/main" id="{7E7ADFFE-826C-4EBB-8A76-5F9BDD255365}"/>
                    </a:ext>
                  </a:extLst>
                </p:cNvPr>
                <p:cNvSpPr/>
                <p:nvPr/>
              </p:nvSpPr>
              <p:spPr bwMode="auto">
                <a:xfrm>
                  <a:off x="12099786" y="6308997"/>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229" name="Group 228">
              <a:extLst>
                <a:ext uri="{FF2B5EF4-FFF2-40B4-BE49-F238E27FC236}">
                  <a16:creationId xmlns:a16="http://schemas.microsoft.com/office/drawing/2014/main" id="{D0BE8980-2317-4E35-86A3-51D4BCC1067E}"/>
                </a:ext>
              </a:extLst>
            </p:cNvPr>
            <p:cNvGrpSpPr>
              <a:grpSpLocks noChangeAspect="1"/>
            </p:cNvGrpSpPr>
            <p:nvPr/>
          </p:nvGrpSpPr>
          <p:grpSpPr>
            <a:xfrm>
              <a:off x="10877106" y="4617085"/>
              <a:ext cx="648393" cy="2377440"/>
              <a:chOff x="10857650" y="4479925"/>
              <a:chExt cx="685800" cy="2514600"/>
            </a:xfrm>
          </p:grpSpPr>
          <p:sp>
            <p:nvSpPr>
              <p:cNvPr id="230" name="Freeform: Shape 229">
                <a:extLst>
                  <a:ext uri="{FF2B5EF4-FFF2-40B4-BE49-F238E27FC236}">
                    <a16:creationId xmlns:a16="http://schemas.microsoft.com/office/drawing/2014/main" id="{AF6EE80C-02B3-489B-98FE-DFB5E2621AE9}"/>
                  </a:ext>
                </a:extLst>
              </p:cNvPr>
              <p:cNvSpPr>
                <a:spLocks/>
              </p:cNvSpPr>
              <p:nvPr/>
            </p:nvSpPr>
            <p:spPr bwMode="auto">
              <a:xfrm>
                <a:off x="10857650" y="4479925"/>
                <a:ext cx="685800" cy="2514600"/>
              </a:xfrm>
              <a:custGeom>
                <a:avLst/>
                <a:gdLst>
                  <a:gd name="connsiteX0" fmla="*/ 293914 w 685800"/>
                  <a:gd name="connsiteY0" fmla="*/ 0 h 2514600"/>
                  <a:gd name="connsiteX1" fmla="*/ 391885 w 685800"/>
                  <a:gd name="connsiteY1" fmla="*/ 0 h 2514600"/>
                  <a:gd name="connsiteX2" fmla="*/ 391885 w 685800"/>
                  <a:gd name="connsiteY2" fmla="*/ 228599 h 2514600"/>
                  <a:gd name="connsiteX3" fmla="*/ 489857 w 685800"/>
                  <a:gd name="connsiteY3" fmla="*/ 228599 h 2514600"/>
                  <a:gd name="connsiteX4" fmla="*/ 489857 w 685800"/>
                  <a:gd name="connsiteY4" fmla="*/ 457199 h 2514600"/>
                  <a:gd name="connsiteX5" fmla="*/ 587828 w 685800"/>
                  <a:gd name="connsiteY5" fmla="*/ 457199 h 2514600"/>
                  <a:gd name="connsiteX6" fmla="*/ 587828 w 685800"/>
                  <a:gd name="connsiteY6" fmla="*/ 685799 h 2514600"/>
                  <a:gd name="connsiteX7" fmla="*/ 685800 w 685800"/>
                  <a:gd name="connsiteY7" fmla="*/ 685799 h 2514600"/>
                  <a:gd name="connsiteX8" fmla="*/ 685800 w 685800"/>
                  <a:gd name="connsiteY8" fmla="*/ 2514599 h 2514600"/>
                  <a:gd name="connsiteX9" fmla="*/ 587828 w 685800"/>
                  <a:gd name="connsiteY9" fmla="*/ 2514599 h 2514600"/>
                  <a:gd name="connsiteX10" fmla="*/ 489857 w 685800"/>
                  <a:gd name="connsiteY10" fmla="*/ 2514599 h 2514600"/>
                  <a:gd name="connsiteX11" fmla="*/ 391885 w 685800"/>
                  <a:gd name="connsiteY11" fmla="*/ 2514599 h 2514600"/>
                  <a:gd name="connsiteX12" fmla="*/ 391885 w 685800"/>
                  <a:gd name="connsiteY12" fmla="*/ 2514600 h 2514600"/>
                  <a:gd name="connsiteX13" fmla="*/ 293914 w 685800"/>
                  <a:gd name="connsiteY13" fmla="*/ 2514600 h 2514600"/>
                  <a:gd name="connsiteX14" fmla="*/ 293914 w 685800"/>
                  <a:gd name="connsiteY14" fmla="*/ 2514599 h 2514600"/>
                  <a:gd name="connsiteX15" fmla="*/ 195943 w 685800"/>
                  <a:gd name="connsiteY15" fmla="*/ 2514599 h 2514600"/>
                  <a:gd name="connsiteX16" fmla="*/ 97971 w 685800"/>
                  <a:gd name="connsiteY16" fmla="*/ 2514599 h 2514600"/>
                  <a:gd name="connsiteX17" fmla="*/ 0 w 685800"/>
                  <a:gd name="connsiteY17" fmla="*/ 2514599 h 2514600"/>
                  <a:gd name="connsiteX18" fmla="*/ 0 w 685800"/>
                  <a:gd name="connsiteY18" fmla="*/ 685799 h 2514600"/>
                  <a:gd name="connsiteX19" fmla="*/ 97971 w 685800"/>
                  <a:gd name="connsiteY19" fmla="*/ 685799 h 2514600"/>
                  <a:gd name="connsiteX20" fmla="*/ 97971 w 685800"/>
                  <a:gd name="connsiteY20" fmla="*/ 457199 h 2514600"/>
                  <a:gd name="connsiteX21" fmla="*/ 195943 w 685800"/>
                  <a:gd name="connsiteY21" fmla="*/ 457199 h 2514600"/>
                  <a:gd name="connsiteX22" fmla="*/ 195943 w 685800"/>
                  <a:gd name="connsiteY22" fmla="*/ 228599 h 2514600"/>
                  <a:gd name="connsiteX23" fmla="*/ 293914 w 685800"/>
                  <a:gd name="connsiteY23" fmla="*/ 228599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800" h="2514600">
                    <a:moveTo>
                      <a:pt x="293914" y="0"/>
                    </a:moveTo>
                    <a:lnTo>
                      <a:pt x="391885" y="0"/>
                    </a:lnTo>
                    <a:lnTo>
                      <a:pt x="391885" y="228599"/>
                    </a:lnTo>
                    <a:lnTo>
                      <a:pt x="489857" y="228599"/>
                    </a:lnTo>
                    <a:lnTo>
                      <a:pt x="489857" y="457199"/>
                    </a:lnTo>
                    <a:lnTo>
                      <a:pt x="587828" y="457199"/>
                    </a:lnTo>
                    <a:lnTo>
                      <a:pt x="587828" y="685799"/>
                    </a:lnTo>
                    <a:lnTo>
                      <a:pt x="685800" y="685799"/>
                    </a:lnTo>
                    <a:lnTo>
                      <a:pt x="685800" y="2514599"/>
                    </a:lnTo>
                    <a:lnTo>
                      <a:pt x="587828" y="2514599"/>
                    </a:lnTo>
                    <a:lnTo>
                      <a:pt x="489857" y="2514599"/>
                    </a:lnTo>
                    <a:lnTo>
                      <a:pt x="391885" y="2514599"/>
                    </a:lnTo>
                    <a:lnTo>
                      <a:pt x="391885" y="2514600"/>
                    </a:lnTo>
                    <a:lnTo>
                      <a:pt x="293914" y="2514600"/>
                    </a:lnTo>
                    <a:lnTo>
                      <a:pt x="293914" y="2514599"/>
                    </a:lnTo>
                    <a:lnTo>
                      <a:pt x="195943" y="2514599"/>
                    </a:lnTo>
                    <a:lnTo>
                      <a:pt x="97971" y="2514599"/>
                    </a:lnTo>
                    <a:lnTo>
                      <a:pt x="0" y="2514599"/>
                    </a:lnTo>
                    <a:lnTo>
                      <a:pt x="0" y="685799"/>
                    </a:lnTo>
                    <a:lnTo>
                      <a:pt x="97971" y="685799"/>
                    </a:lnTo>
                    <a:lnTo>
                      <a:pt x="97971" y="457199"/>
                    </a:lnTo>
                    <a:lnTo>
                      <a:pt x="195943" y="457199"/>
                    </a:lnTo>
                    <a:lnTo>
                      <a:pt x="195943" y="228599"/>
                    </a:lnTo>
                    <a:lnTo>
                      <a:pt x="293914" y="228599"/>
                    </a:lnTo>
                    <a:close/>
                  </a:path>
                </a:pathLst>
              </a:custGeom>
              <a:solidFill>
                <a:srgbClr val="FFFFFF"/>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1" name="Rectangle 230">
                <a:extLst>
                  <a:ext uri="{FF2B5EF4-FFF2-40B4-BE49-F238E27FC236}">
                    <a16:creationId xmlns:a16="http://schemas.microsoft.com/office/drawing/2014/main" id="{AF1313E1-8F19-4E52-9712-2BBCF7C8FF86}"/>
                  </a:ext>
                </a:extLst>
              </p:cNvPr>
              <p:cNvSpPr/>
              <p:nvPr/>
            </p:nvSpPr>
            <p:spPr bwMode="auto">
              <a:xfrm>
                <a:off x="10920781" y="5798634"/>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2" name="Rectangle 231">
                <a:extLst>
                  <a:ext uri="{FF2B5EF4-FFF2-40B4-BE49-F238E27FC236}">
                    <a16:creationId xmlns:a16="http://schemas.microsoft.com/office/drawing/2014/main" id="{E3648B7C-415B-402A-91B3-3A87FDA7425D}"/>
                  </a:ext>
                </a:extLst>
              </p:cNvPr>
              <p:cNvSpPr/>
              <p:nvPr/>
            </p:nvSpPr>
            <p:spPr bwMode="auto">
              <a:xfrm>
                <a:off x="11251721" y="5477883"/>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3" name="Rectangle 232">
                <a:extLst>
                  <a:ext uri="{FF2B5EF4-FFF2-40B4-BE49-F238E27FC236}">
                    <a16:creationId xmlns:a16="http://schemas.microsoft.com/office/drawing/2014/main" id="{311FA3B9-B172-42DE-BBFF-6CC12DB10849}"/>
                  </a:ext>
                </a:extLst>
              </p:cNvPr>
              <p:cNvSpPr/>
              <p:nvPr/>
            </p:nvSpPr>
            <p:spPr bwMode="auto">
              <a:xfrm>
                <a:off x="11251721" y="6119385"/>
                <a:ext cx="228600" cy="228600"/>
              </a:xfrm>
              <a:prstGeom prst="rect">
                <a:avLst/>
              </a:prstGeom>
              <a:solidFill>
                <a:srgbClr val="002050"/>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248" name="Oval 247">
            <a:extLst>
              <a:ext uri="{FF2B5EF4-FFF2-40B4-BE49-F238E27FC236}">
                <a16:creationId xmlns:a16="http://schemas.microsoft.com/office/drawing/2014/main" id="{F231ED7C-40DF-4E16-A401-DCCD10F2CE59}"/>
              </a:ext>
            </a:extLst>
          </p:cNvPr>
          <p:cNvSpPr/>
          <p:nvPr/>
        </p:nvSpPr>
        <p:spPr bwMode="auto">
          <a:xfrm>
            <a:off x="8575672" y="5296378"/>
            <a:ext cx="46622" cy="46622"/>
          </a:xfrm>
          <a:prstGeom prst="ellipse">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49" name="Group 248">
            <a:extLst>
              <a:ext uri="{FF2B5EF4-FFF2-40B4-BE49-F238E27FC236}">
                <a16:creationId xmlns:a16="http://schemas.microsoft.com/office/drawing/2014/main" id="{0EF5F3A2-2968-4F2E-92B6-0A2A715FC86C}"/>
              </a:ext>
            </a:extLst>
          </p:cNvPr>
          <p:cNvGrpSpPr>
            <a:grpSpLocks noChangeAspect="1"/>
          </p:cNvGrpSpPr>
          <p:nvPr/>
        </p:nvGrpSpPr>
        <p:grpSpPr>
          <a:xfrm>
            <a:off x="8216725" y="6103008"/>
            <a:ext cx="750423" cy="488341"/>
            <a:chOff x="4868398" y="5377787"/>
            <a:chExt cx="457200" cy="297526"/>
          </a:xfrm>
        </p:grpSpPr>
        <p:sp>
          <p:nvSpPr>
            <p:cNvPr id="250" name="Rectangle 249">
              <a:extLst>
                <a:ext uri="{FF2B5EF4-FFF2-40B4-BE49-F238E27FC236}">
                  <a16:creationId xmlns:a16="http://schemas.microsoft.com/office/drawing/2014/main" id="{B3113C83-CA14-4F55-8FF4-EDA4990A2359}"/>
                </a:ext>
              </a:extLst>
            </p:cNvPr>
            <p:cNvSpPr/>
            <p:nvPr/>
          </p:nvSpPr>
          <p:spPr bwMode="auto">
            <a:xfrm>
              <a:off x="4876726" y="5388349"/>
              <a:ext cx="440542" cy="276403"/>
            </a:xfrm>
            <a:prstGeom prst="rect">
              <a:avLst/>
            </a:prstGeom>
            <a:solidFill>
              <a:srgbClr val="00205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51" name="Picture 250">
              <a:extLst>
                <a:ext uri="{FF2B5EF4-FFF2-40B4-BE49-F238E27FC236}">
                  <a16:creationId xmlns:a16="http://schemas.microsoft.com/office/drawing/2014/main" id="{C61E1613-7F82-4D58-83FB-814F4C2724F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7462" b="17462"/>
            <a:stretch/>
          </p:blipFill>
          <p:spPr>
            <a:xfrm>
              <a:off x="4868398" y="5377787"/>
              <a:ext cx="457200" cy="297526"/>
            </a:xfrm>
            <a:prstGeom prst="rect">
              <a:avLst/>
            </a:prstGeom>
          </p:spPr>
        </p:pic>
      </p:grpSp>
      <p:cxnSp>
        <p:nvCxnSpPr>
          <p:cNvPr id="252" name="Straight Arrow Connector 251">
            <a:extLst>
              <a:ext uri="{FF2B5EF4-FFF2-40B4-BE49-F238E27FC236}">
                <a16:creationId xmlns:a16="http://schemas.microsoft.com/office/drawing/2014/main" id="{B1253385-66E4-4571-8990-513B5AF2295E}"/>
              </a:ext>
            </a:extLst>
          </p:cNvPr>
          <p:cNvCxnSpPr>
            <a:stCxn id="248" idx="4"/>
          </p:cNvCxnSpPr>
          <p:nvPr/>
        </p:nvCxnSpPr>
        <p:spPr>
          <a:xfrm flipH="1">
            <a:off x="8594722" y="5342999"/>
            <a:ext cx="4261" cy="795871"/>
          </a:xfrm>
          <a:prstGeom prst="straightConnector1">
            <a:avLst/>
          </a:prstGeom>
          <a:noFill/>
          <a:ln w="25400" cap="rnd" cmpd="sng" algn="ctr">
            <a:solidFill>
              <a:srgbClr val="92D050"/>
            </a:solidFill>
            <a:prstDash val="sysDot"/>
            <a:headEnd type="none"/>
            <a:tailEnd type="triangle"/>
          </a:ln>
          <a:effectLst/>
        </p:spPr>
      </p:cxnSp>
      <p:grpSp>
        <p:nvGrpSpPr>
          <p:cNvPr id="253" name="Group 252">
            <a:extLst>
              <a:ext uri="{FF2B5EF4-FFF2-40B4-BE49-F238E27FC236}">
                <a16:creationId xmlns:a16="http://schemas.microsoft.com/office/drawing/2014/main" id="{D488E60C-2C33-4644-90DA-DCD31BBE1A97}"/>
              </a:ext>
            </a:extLst>
          </p:cNvPr>
          <p:cNvGrpSpPr/>
          <p:nvPr/>
        </p:nvGrpSpPr>
        <p:grpSpPr>
          <a:xfrm>
            <a:off x="7666832" y="5144576"/>
            <a:ext cx="1165453" cy="295625"/>
            <a:chOff x="7667036" y="5033005"/>
            <a:chExt cx="1165619" cy="295666"/>
          </a:xfrm>
        </p:grpSpPr>
        <p:sp>
          <p:nvSpPr>
            <p:cNvPr id="254" name="Rectangle 253">
              <a:extLst>
                <a:ext uri="{FF2B5EF4-FFF2-40B4-BE49-F238E27FC236}">
                  <a16:creationId xmlns:a16="http://schemas.microsoft.com/office/drawing/2014/main" id="{53437DB3-9F52-42DF-814D-023F34AC7B7B}"/>
                </a:ext>
              </a:extLst>
            </p:cNvPr>
            <p:cNvSpPr/>
            <p:nvPr/>
          </p:nvSpPr>
          <p:spPr>
            <a:xfrm>
              <a:off x="7667036" y="5103883"/>
              <a:ext cx="753277" cy="153910"/>
            </a:xfrm>
            <a:prstGeom prst="rect">
              <a:avLst/>
            </a:prstGeom>
          </p:spPr>
          <p:txBody>
            <a:bodyPr wrap="square" lIns="91427" tIns="0" rIns="91427" bIns="0" anchor="ctr">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rPr>
                <a:t>connector</a:t>
              </a:r>
              <a:endParaRPr kumimoji="0" lang="en-US" sz="1000" b="0" i="0" u="none" strike="noStrike" kern="0" cap="none" spc="0" normalizeH="0" baseline="0" noProof="0">
                <a:ln>
                  <a:noFill/>
                </a:ln>
                <a:solidFill>
                  <a:sysClr val="windowText" lastClr="000000"/>
                </a:solidFill>
                <a:effectLst/>
                <a:uLnTx/>
                <a:uFillTx/>
              </a:endParaRPr>
            </a:p>
          </p:txBody>
        </p:sp>
        <p:sp>
          <p:nvSpPr>
            <p:cNvPr id="255" name="Freeform: Shape 123">
              <a:extLst>
                <a:ext uri="{FF2B5EF4-FFF2-40B4-BE49-F238E27FC236}">
                  <a16:creationId xmlns:a16="http://schemas.microsoft.com/office/drawing/2014/main" id="{F0CCB583-5B1F-4083-89EC-80BD12B51710}"/>
                </a:ext>
              </a:extLst>
            </p:cNvPr>
            <p:cNvSpPr>
              <a:spLocks noChangeAspect="1"/>
            </p:cNvSpPr>
            <p:nvPr/>
          </p:nvSpPr>
          <p:spPr bwMode="auto">
            <a:xfrm>
              <a:off x="8366612" y="5033005"/>
              <a:ext cx="466043" cy="295666"/>
            </a:xfrm>
            <a:custGeom>
              <a:avLst/>
              <a:gdLst>
                <a:gd name="connsiteX0" fmla="*/ 5794343 w 7278721"/>
                <a:gd name="connsiteY0" fmla="*/ 1303047 h 4617748"/>
                <a:gd name="connsiteX1" fmla="*/ 7278721 w 7278721"/>
                <a:gd name="connsiteY1" fmla="*/ 2308887 h 4617748"/>
                <a:gd name="connsiteX2" fmla="*/ 5794343 w 7278721"/>
                <a:gd name="connsiteY2" fmla="*/ 3314727 h 4617748"/>
                <a:gd name="connsiteX3" fmla="*/ 5794343 w 7278721"/>
                <a:gd name="connsiteY3" fmla="*/ 2771171 h 4617748"/>
                <a:gd name="connsiteX4" fmla="*/ 4408129 w 7278721"/>
                <a:gd name="connsiteY4" fmla="*/ 2771171 h 4617748"/>
                <a:gd name="connsiteX5" fmla="*/ 4328415 w 7278721"/>
                <a:gd name="connsiteY5" fmla="*/ 2867785 h 4617748"/>
                <a:gd name="connsiteX6" fmla="*/ 3769517 w 7278721"/>
                <a:gd name="connsiteY6" fmla="*/ 3099288 h 4617748"/>
                <a:gd name="connsiteX7" fmla="*/ 2979116 w 7278721"/>
                <a:gd name="connsiteY7" fmla="*/ 2308887 h 4617748"/>
                <a:gd name="connsiteX8" fmla="*/ 3769517 w 7278721"/>
                <a:gd name="connsiteY8" fmla="*/ 1518486 h 4617748"/>
                <a:gd name="connsiteX9" fmla="*/ 4328415 w 7278721"/>
                <a:gd name="connsiteY9" fmla="*/ 1749989 h 4617748"/>
                <a:gd name="connsiteX10" fmla="*/ 4408129 w 7278721"/>
                <a:gd name="connsiteY10" fmla="*/ 1846603 h 4617748"/>
                <a:gd name="connsiteX11" fmla="*/ 5794343 w 7278721"/>
                <a:gd name="connsiteY11" fmla="*/ 1846603 h 4617748"/>
                <a:gd name="connsiteX12" fmla="*/ 3833692 w 7278721"/>
                <a:gd name="connsiteY12" fmla="*/ 864 h 4617748"/>
                <a:gd name="connsiteX13" fmla="*/ 5260439 w 7278721"/>
                <a:gd name="connsiteY13" fmla="*/ 545941 h 4617748"/>
                <a:gd name="connsiteX14" fmla="*/ 4841938 w 7278721"/>
                <a:gd name="connsiteY14" fmla="*/ 1040800 h 4617748"/>
                <a:gd name="connsiteX15" fmla="*/ 2539139 w 7278721"/>
                <a:gd name="connsiteY15" fmla="*/ 1193404 h 4617748"/>
                <a:gd name="connsiteX16" fmla="*/ 2612295 w 7278721"/>
                <a:gd name="connsiteY16" fmla="*/ 3500094 h 4617748"/>
                <a:gd name="connsiteX17" fmla="*/ 4920136 w 7278721"/>
                <a:gd name="connsiteY17" fmla="*/ 3506473 h 4617748"/>
                <a:gd name="connsiteX18" fmla="*/ 5369154 w 7278721"/>
                <a:gd name="connsiteY18" fmla="*/ 3973819 h 4617748"/>
                <a:gd name="connsiteX19" fmla="*/ 2160700 w 7278721"/>
                <a:gd name="connsiteY19" fmla="*/ 3964951 h 4617748"/>
                <a:gd name="connsiteX20" fmla="*/ 1516005 w 7278721"/>
                <a:gd name="connsiteY20" fmla="*/ 2812341 h 4617748"/>
                <a:gd name="connsiteX21" fmla="*/ 1508933 w 7278721"/>
                <a:gd name="connsiteY21" fmla="*/ 2771643 h 4617748"/>
                <a:gd name="connsiteX22" fmla="*/ 462756 w 7278721"/>
                <a:gd name="connsiteY22" fmla="*/ 2771643 h 4617748"/>
                <a:gd name="connsiteX23" fmla="*/ 0 w 7278721"/>
                <a:gd name="connsiteY23" fmla="*/ 2308887 h 4617748"/>
                <a:gd name="connsiteX24" fmla="*/ 462756 w 7278721"/>
                <a:gd name="connsiteY24" fmla="*/ 1846131 h 4617748"/>
                <a:gd name="connsiteX25" fmla="*/ 1509833 w 7278721"/>
                <a:gd name="connsiteY25" fmla="*/ 1846131 h 4617748"/>
                <a:gd name="connsiteX26" fmla="*/ 1532538 w 7278721"/>
                <a:gd name="connsiteY26" fmla="*/ 1735700 h 4617748"/>
                <a:gd name="connsiteX27" fmla="*/ 2058995 w 7278721"/>
                <a:gd name="connsiteY27" fmla="*/ 758098 h 4617748"/>
                <a:gd name="connsiteX28" fmla="*/ 3833692 w 7278721"/>
                <a:gd name="connsiteY28" fmla="*/ 864 h 461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278721" h="4617748">
                  <a:moveTo>
                    <a:pt x="5794343" y="1303047"/>
                  </a:moveTo>
                  <a:lnTo>
                    <a:pt x="7278721" y="2308887"/>
                  </a:lnTo>
                  <a:lnTo>
                    <a:pt x="5794343" y="3314727"/>
                  </a:lnTo>
                  <a:lnTo>
                    <a:pt x="5794343" y="2771171"/>
                  </a:lnTo>
                  <a:lnTo>
                    <a:pt x="4408129" y="2771171"/>
                  </a:lnTo>
                  <a:lnTo>
                    <a:pt x="4328415" y="2867785"/>
                  </a:lnTo>
                  <a:cubicBezTo>
                    <a:pt x="4185380" y="3010819"/>
                    <a:pt x="3987780" y="3099288"/>
                    <a:pt x="3769517" y="3099288"/>
                  </a:cubicBezTo>
                  <a:cubicBezTo>
                    <a:pt x="3332991" y="3099288"/>
                    <a:pt x="2979116" y="2745413"/>
                    <a:pt x="2979116" y="2308887"/>
                  </a:cubicBezTo>
                  <a:cubicBezTo>
                    <a:pt x="2979116" y="1872361"/>
                    <a:pt x="3332991" y="1518486"/>
                    <a:pt x="3769517" y="1518486"/>
                  </a:cubicBezTo>
                  <a:cubicBezTo>
                    <a:pt x="3987780" y="1518486"/>
                    <a:pt x="4185380" y="1606955"/>
                    <a:pt x="4328415" y="1749989"/>
                  </a:cubicBezTo>
                  <a:lnTo>
                    <a:pt x="4408129" y="1846603"/>
                  </a:lnTo>
                  <a:lnTo>
                    <a:pt x="5794343" y="1846603"/>
                  </a:lnTo>
                  <a:close/>
                  <a:moveTo>
                    <a:pt x="3833692" y="864"/>
                  </a:moveTo>
                  <a:cubicBezTo>
                    <a:pt x="4340038" y="14689"/>
                    <a:pt x="4844813" y="194447"/>
                    <a:pt x="5260439" y="545941"/>
                  </a:cubicBezTo>
                  <a:lnTo>
                    <a:pt x="4841938" y="1040800"/>
                  </a:lnTo>
                  <a:cubicBezTo>
                    <a:pt x="4158601" y="462903"/>
                    <a:pt x="3140242" y="530389"/>
                    <a:pt x="2539139" y="1193404"/>
                  </a:cubicBezTo>
                  <a:cubicBezTo>
                    <a:pt x="1938036" y="1856420"/>
                    <a:pt x="1970388" y="2876500"/>
                    <a:pt x="2612295" y="3500094"/>
                  </a:cubicBezTo>
                  <a:cubicBezTo>
                    <a:pt x="3254202" y="4123688"/>
                    <a:pt x="4274791" y="4126509"/>
                    <a:pt x="4920136" y="3506473"/>
                  </a:cubicBezTo>
                  <a:lnTo>
                    <a:pt x="5369154" y="3973819"/>
                  </a:lnTo>
                  <a:cubicBezTo>
                    <a:pt x="4471970" y="4835818"/>
                    <a:pt x="3053106" y="4831897"/>
                    <a:pt x="2160700" y="3964951"/>
                  </a:cubicBezTo>
                  <a:cubicBezTo>
                    <a:pt x="1826048" y="3639847"/>
                    <a:pt x="1610566" y="3237228"/>
                    <a:pt x="1516005" y="2812341"/>
                  </a:cubicBezTo>
                  <a:lnTo>
                    <a:pt x="1508933" y="2771643"/>
                  </a:lnTo>
                  <a:lnTo>
                    <a:pt x="462756" y="2771643"/>
                  </a:lnTo>
                  <a:cubicBezTo>
                    <a:pt x="207183" y="2771643"/>
                    <a:pt x="0" y="2564460"/>
                    <a:pt x="0" y="2308887"/>
                  </a:cubicBezTo>
                  <a:cubicBezTo>
                    <a:pt x="0" y="2053314"/>
                    <a:pt x="207183" y="1846131"/>
                    <a:pt x="462756" y="1846131"/>
                  </a:cubicBezTo>
                  <a:lnTo>
                    <a:pt x="1509833" y="1846131"/>
                  </a:lnTo>
                  <a:lnTo>
                    <a:pt x="1532538" y="1735700"/>
                  </a:lnTo>
                  <a:cubicBezTo>
                    <a:pt x="1622699" y="1382669"/>
                    <a:pt x="1797846" y="1046145"/>
                    <a:pt x="2058995" y="758098"/>
                  </a:cubicBezTo>
                  <a:cubicBezTo>
                    <a:pt x="2529064" y="239613"/>
                    <a:pt x="3182675" y="-16910"/>
                    <a:pt x="3833692" y="864"/>
                  </a:cubicBezTo>
                  <a:close/>
                </a:path>
              </a:pathLst>
            </a:custGeom>
            <a:solidFill>
              <a:srgbClr val="FFFFFF"/>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256" name="Rectangle 255">
            <a:extLst>
              <a:ext uri="{FF2B5EF4-FFF2-40B4-BE49-F238E27FC236}">
                <a16:creationId xmlns:a16="http://schemas.microsoft.com/office/drawing/2014/main" id="{03BB6713-EED9-4C58-94C9-53BB9D45D000}"/>
              </a:ext>
            </a:extLst>
          </p:cNvPr>
          <p:cNvSpPr/>
          <p:nvPr/>
        </p:nvSpPr>
        <p:spPr>
          <a:xfrm>
            <a:off x="4042163" y="6638088"/>
            <a:ext cx="1857590" cy="282383"/>
          </a:xfrm>
          <a:prstGeom prst="rect">
            <a:avLst/>
          </a:prstGeom>
        </p:spPr>
        <p:txBody>
          <a:bodyPr wrap="non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a:ln>
                  <a:noFill/>
                </a:ln>
                <a:solidFill>
                  <a:srgbClr val="FFFFFF"/>
                </a:solidFill>
                <a:effectLst/>
                <a:uLnTx/>
                <a:uFillTx/>
              </a:rPr>
              <a:t>https://sales.contoso.com</a:t>
            </a:r>
            <a:endParaRPr kumimoji="0" lang="en-US" sz="1599" b="0" i="0" u="none" strike="noStrike" kern="0" cap="none" spc="0" normalizeH="0" baseline="0" noProof="0">
              <a:ln>
                <a:noFill/>
              </a:ln>
              <a:solidFill>
                <a:sysClr val="windowText" lastClr="000000"/>
              </a:solidFill>
              <a:effectLst/>
              <a:uLnTx/>
              <a:uFillTx/>
            </a:endParaRPr>
          </a:p>
        </p:txBody>
      </p:sp>
      <p:sp>
        <p:nvSpPr>
          <p:cNvPr id="257" name="Rectangle 256">
            <a:extLst>
              <a:ext uri="{FF2B5EF4-FFF2-40B4-BE49-F238E27FC236}">
                <a16:creationId xmlns:a16="http://schemas.microsoft.com/office/drawing/2014/main" id="{2BBAAC9A-B748-4136-8E19-7569E5268318}"/>
              </a:ext>
            </a:extLst>
          </p:cNvPr>
          <p:cNvSpPr/>
          <p:nvPr/>
        </p:nvSpPr>
        <p:spPr>
          <a:xfrm>
            <a:off x="5788640" y="6638088"/>
            <a:ext cx="1203624" cy="282383"/>
          </a:xfrm>
          <a:prstGeom prst="rect">
            <a:avLst/>
          </a:prstGeom>
        </p:spPr>
        <p:txBody>
          <a:bodyPr wrap="non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a:ln>
                  <a:noFill/>
                </a:ln>
                <a:solidFill>
                  <a:srgbClr val="FFFFFF"/>
                </a:solidFill>
                <a:effectLst/>
                <a:uLnTx/>
                <a:uFillTx/>
              </a:rPr>
              <a:t>https://expense</a:t>
            </a:r>
            <a:endParaRPr kumimoji="0" lang="en-US" sz="1599" b="0" i="0" u="none" strike="noStrike" kern="0" cap="none" spc="0" normalizeH="0" baseline="0" noProof="0">
              <a:ln>
                <a:noFill/>
              </a:ln>
              <a:solidFill>
                <a:sysClr val="windowText" lastClr="000000"/>
              </a:solidFill>
              <a:effectLst/>
              <a:uLnTx/>
              <a:uFillTx/>
            </a:endParaRPr>
          </a:p>
        </p:txBody>
      </p:sp>
      <p:sp>
        <p:nvSpPr>
          <p:cNvPr id="258" name="Rectangle 257">
            <a:extLst>
              <a:ext uri="{FF2B5EF4-FFF2-40B4-BE49-F238E27FC236}">
                <a16:creationId xmlns:a16="http://schemas.microsoft.com/office/drawing/2014/main" id="{F86B6C6C-A885-4F5C-961D-8AB43B4A357C}"/>
              </a:ext>
            </a:extLst>
          </p:cNvPr>
          <p:cNvSpPr/>
          <p:nvPr/>
        </p:nvSpPr>
        <p:spPr>
          <a:xfrm>
            <a:off x="6916456" y="6638088"/>
            <a:ext cx="1026073" cy="282383"/>
          </a:xfrm>
          <a:prstGeom prst="rect">
            <a:avLst/>
          </a:prstGeom>
        </p:spPr>
        <p:txBody>
          <a:bodyPr wrap="non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a:ln>
                  <a:noFill/>
                </a:ln>
                <a:solidFill>
                  <a:srgbClr val="FFFFFF"/>
                </a:solidFill>
                <a:effectLst/>
                <a:uLnTx/>
                <a:uFillTx/>
              </a:rPr>
              <a:t>https://travel</a:t>
            </a:r>
            <a:endParaRPr kumimoji="0" lang="en-US" sz="1599" b="0" i="0" u="none" strike="noStrike" kern="0" cap="none" spc="0" normalizeH="0" baseline="0" noProof="0">
              <a:ln>
                <a:noFill/>
              </a:ln>
              <a:solidFill>
                <a:sysClr val="windowText" lastClr="000000"/>
              </a:solidFill>
              <a:effectLst/>
              <a:uLnTx/>
              <a:uFillTx/>
            </a:endParaRPr>
          </a:p>
        </p:txBody>
      </p:sp>
      <p:sp>
        <p:nvSpPr>
          <p:cNvPr id="259" name="Rectangle 258">
            <a:extLst>
              <a:ext uri="{FF2B5EF4-FFF2-40B4-BE49-F238E27FC236}">
                <a16:creationId xmlns:a16="http://schemas.microsoft.com/office/drawing/2014/main" id="{04572F8B-7E0A-4342-BC22-E3C88A3788C3}"/>
              </a:ext>
            </a:extLst>
          </p:cNvPr>
          <p:cNvSpPr/>
          <p:nvPr/>
        </p:nvSpPr>
        <p:spPr>
          <a:xfrm>
            <a:off x="8109482" y="6638088"/>
            <a:ext cx="1075774" cy="282383"/>
          </a:xfrm>
          <a:prstGeom prst="rect">
            <a:avLst/>
          </a:prstGeom>
        </p:spPr>
        <p:txBody>
          <a:bodyPr wrap="non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a:ln>
                  <a:noFill/>
                </a:ln>
                <a:solidFill>
                  <a:srgbClr val="FFFFFF"/>
                </a:solidFill>
                <a:effectLst/>
                <a:uLnTx/>
                <a:uFillTx/>
              </a:rPr>
              <a:t>https://hrweb</a:t>
            </a:r>
            <a:endParaRPr kumimoji="0" lang="en-US" sz="1599" b="0" i="0" u="none" strike="noStrike" kern="0" cap="none" spc="0" normalizeH="0" baseline="0" noProof="0">
              <a:ln>
                <a:noFill/>
              </a:ln>
              <a:solidFill>
                <a:sysClr val="windowText" lastClr="000000"/>
              </a:solidFill>
              <a:effectLst/>
              <a:uLnTx/>
              <a:uFillTx/>
            </a:endParaRPr>
          </a:p>
        </p:txBody>
      </p:sp>
      <p:cxnSp>
        <p:nvCxnSpPr>
          <p:cNvPr id="260" name="Connector: Elbow 148">
            <a:extLst>
              <a:ext uri="{FF2B5EF4-FFF2-40B4-BE49-F238E27FC236}">
                <a16:creationId xmlns:a16="http://schemas.microsoft.com/office/drawing/2014/main" id="{A7AB7A2A-E721-4C3B-A3F1-9C39F937DCA6}"/>
              </a:ext>
            </a:extLst>
          </p:cNvPr>
          <p:cNvCxnSpPr/>
          <p:nvPr/>
        </p:nvCxnSpPr>
        <p:spPr>
          <a:xfrm flipV="1">
            <a:off x="10257283" y="3264217"/>
            <a:ext cx="233634" cy="4353"/>
          </a:xfrm>
          <a:prstGeom prst="straightConnector1">
            <a:avLst/>
          </a:prstGeom>
          <a:noFill/>
          <a:ln w="25400" cap="rnd" cmpd="sng" algn="ctr">
            <a:solidFill>
              <a:srgbClr val="92D050"/>
            </a:solidFill>
            <a:prstDash val="sysDot"/>
            <a:headEnd type="none"/>
            <a:tailEnd type="triangle"/>
          </a:ln>
          <a:effectLst/>
        </p:spPr>
      </p:cxnSp>
    </p:spTree>
    <p:extLst>
      <p:ext uri="{BB962C8B-B14F-4D97-AF65-F5344CB8AC3E}">
        <p14:creationId xmlns:p14="http://schemas.microsoft.com/office/powerpoint/2010/main" val="7007048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5490157"/>
          </a:xfrm>
        </p:spPr>
        <p:txBody>
          <a:bodyPr/>
          <a:lstStyle/>
          <a:p>
            <a:pPr marL="0" indent="0">
              <a:buNone/>
            </a:pPr>
            <a:r>
              <a:rPr lang="en-GB" sz="3200" dirty="0">
                <a:solidFill>
                  <a:schemeClr val="tx2"/>
                </a:solidFill>
              </a:rPr>
              <a:t>Requires Azure AD Basic or Premium (P1 or P2) subscription</a:t>
            </a:r>
          </a:p>
          <a:p>
            <a:pPr marL="285750" lvl="1" indent="-285750">
              <a:lnSpc>
                <a:spcPct val="114000"/>
              </a:lnSpc>
            </a:pPr>
            <a:r>
              <a:rPr lang="en-GB" sz="1800" dirty="0">
                <a:hlinkClick r:id="rId3"/>
              </a:rPr>
              <a:t>https://www.microsoft.com/en-us/cloud-platform/azure-active-directory-features</a:t>
            </a:r>
            <a:endParaRPr lang="en-GB" sz="1800" dirty="0"/>
          </a:p>
          <a:p>
            <a:pPr marL="0" indent="0">
              <a:buNone/>
            </a:pPr>
            <a:r>
              <a:rPr lang="en-GB" sz="3200" dirty="0">
                <a:solidFill>
                  <a:schemeClr val="tx2"/>
                </a:solidFill>
              </a:rPr>
              <a:t>Connector must be installed on </a:t>
            </a:r>
          </a:p>
          <a:p>
            <a:pPr marL="285750" lvl="1" indent="-285750">
              <a:lnSpc>
                <a:spcPct val="114000"/>
              </a:lnSpc>
            </a:pPr>
            <a:r>
              <a:rPr lang="en-GB" sz="1800" dirty="0"/>
              <a:t>Windows Server 2102 R2 or higher</a:t>
            </a:r>
          </a:p>
          <a:p>
            <a:pPr marL="285750" lvl="1" indent="-285750">
              <a:lnSpc>
                <a:spcPct val="114000"/>
              </a:lnSpc>
            </a:pPr>
            <a:r>
              <a:rPr lang="en-GB" sz="1800" dirty="0"/>
              <a:t>Windows 8.1 or higher</a:t>
            </a:r>
          </a:p>
          <a:p>
            <a:pPr marL="0" indent="0">
              <a:buNone/>
            </a:pPr>
            <a:r>
              <a:rPr lang="en-GB" sz="3200" dirty="0">
                <a:solidFill>
                  <a:schemeClr val="tx2"/>
                </a:solidFill>
              </a:rPr>
              <a:t>The on-premises firewall must be enabled for outbound traffic from the connector</a:t>
            </a:r>
          </a:p>
          <a:p>
            <a:pPr marL="285750" lvl="1" indent="-285750">
              <a:lnSpc>
                <a:spcPct val="114000"/>
              </a:lnSpc>
            </a:pPr>
            <a:r>
              <a:rPr lang="en-GB" sz="1800" dirty="0"/>
              <a:t>You can check the outbound traffic requirements by connecting, via a browser, to </a:t>
            </a:r>
            <a:r>
              <a:rPr lang="en-GB" sz="1800" dirty="0">
                <a:hlinkClick r:id="rId4"/>
              </a:rPr>
              <a:t>http://testport.cloudapp.net/</a:t>
            </a:r>
            <a:r>
              <a:rPr lang="en-GB" sz="1800" dirty="0"/>
              <a:t> </a:t>
            </a:r>
          </a:p>
          <a:p>
            <a:pPr marL="0" indent="0">
              <a:buNone/>
            </a:pPr>
            <a:r>
              <a:rPr lang="en-GB" sz="3200" dirty="0">
                <a:solidFill>
                  <a:schemeClr val="tx2"/>
                </a:solidFill>
              </a:rPr>
              <a:t>Download the connector from the Azure Portal when you enable the Application Proxy</a:t>
            </a:r>
          </a:p>
          <a:p>
            <a:pPr marL="285750" lvl="1" indent="-285750">
              <a:lnSpc>
                <a:spcPct val="114000"/>
              </a:lnSpc>
            </a:pPr>
            <a:r>
              <a:rPr lang="en-GB" sz="1800" dirty="0"/>
              <a:t>Install and register with your Azure AD tenant</a:t>
            </a:r>
          </a:p>
          <a:p>
            <a:pPr marL="285750" lvl="1" indent="-285750">
              <a:lnSpc>
                <a:spcPct val="114000"/>
              </a:lnSpc>
            </a:pPr>
            <a:r>
              <a:rPr lang="en-GB" sz="1800" dirty="0"/>
              <a:t>A </a:t>
            </a:r>
            <a:r>
              <a:rPr lang="en-GB" sz="1800" dirty="0" err="1"/>
              <a:t>troubleshooter</a:t>
            </a:r>
            <a:r>
              <a:rPr lang="en-GB" sz="1800" dirty="0"/>
              <a:t> is included as part of the install process</a:t>
            </a:r>
          </a:p>
        </p:txBody>
      </p:sp>
      <p:sp>
        <p:nvSpPr>
          <p:cNvPr id="3" name="Title 2"/>
          <p:cNvSpPr>
            <a:spLocks noGrp="1"/>
          </p:cNvSpPr>
          <p:nvPr>
            <p:ph type="title"/>
          </p:nvPr>
        </p:nvSpPr>
        <p:spPr>
          <a:xfrm>
            <a:off x="366169" y="295278"/>
            <a:ext cx="12068719" cy="917575"/>
          </a:xfrm>
        </p:spPr>
        <p:txBody>
          <a:bodyPr/>
          <a:lstStyle/>
          <a:p>
            <a:r>
              <a:rPr lang="en-GB" dirty="0"/>
              <a:t>Prerequisites for the Azure AD Application Proxy</a:t>
            </a:r>
          </a:p>
        </p:txBody>
      </p:sp>
    </p:spTree>
    <p:extLst>
      <p:ext uri="{BB962C8B-B14F-4D97-AF65-F5344CB8AC3E}">
        <p14:creationId xmlns:p14="http://schemas.microsoft.com/office/powerpoint/2010/main" val="7849342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Effect transition="in" filter="fade">
                                      <p:cBhvr>
                                        <p:cTn id="15" dur="500"/>
                                        <p:tgtEl>
                                          <p:spTgt spid="2">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xEl>
                                              <p:pRg st="3" end="3"/>
                                            </p:txEl>
                                          </p:spTgt>
                                        </p:tgtEl>
                                        <p:attrNameLst>
                                          <p:attrName>style.visibility</p:attrName>
                                        </p:attrNameLst>
                                      </p:cBhvr>
                                      <p:to>
                                        <p:strVal val="visible"/>
                                      </p:to>
                                    </p:set>
                                    <p:animEffect transition="in" filter="fade">
                                      <p:cBhvr>
                                        <p:cTn id="18" dur="500"/>
                                        <p:tgtEl>
                                          <p:spTgt spid="2">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Effect transition="in" filter="fade">
                                      <p:cBhvr>
                                        <p:cTn id="26" dur="500"/>
                                        <p:tgtEl>
                                          <p:spTgt spid="2">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
                                            <p:txEl>
                                              <p:pRg st="6" end="6"/>
                                            </p:txEl>
                                          </p:spTgt>
                                        </p:tgtEl>
                                        <p:attrNameLst>
                                          <p:attrName>style.visibility</p:attrName>
                                        </p:attrNameLst>
                                      </p:cBhvr>
                                      <p:to>
                                        <p:strVal val="visible"/>
                                      </p:to>
                                    </p:set>
                                    <p:animEffect transition="in" filter="fade">
                                      <p:cBhvr>
                                        <p:cTn id="29" dur="500"/>
                                        <p:tgtEl>
                                          <p:spTgt spid="2">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
                                            <p:txEl>
                                              <p:pRg st="7" end="7"/>
                                            </p:txEl>
                                          </p:spTgt>
                                        </p:tgtEl>
                                        <p:attrNameLst>
                                          <p:attrName>style.visibility</p:attrName>
                                        </p:attrNameLst>
                                      </p:cBhvr>
                                      <p:to>
                                        <p:strVal val="visible"/>
                                      </p:to>
                                    </p:set>
                                    <p:animEffect transition="in" filter="fade">
                                      <p:cBhvr>
                                        <p:cTn id="34" dur="500"/>
                                        <p:tgtEl>
                                          <p:spTgt spid="2">
                                            <p:txEl>
                                              <p:pRg st="7" end="7"/>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
                                            <p:txEl>
                                              <p:pRg st="8" end="8"/>
                                            </p:txEl>
                                          </p:spTgt>
                                        </p:tgtEl>
                                        <p:attrNameLst>
                                          <p:attrName>style.visibility</p:attrName>
                                        </p:attrNameLst>
                                      </p:cBhvr>
                                      <p:to>
                                        <p:strVal val="visible"/>
                                      </p:to>
                                    </p:set>
                                    <p:animEffect transition="in" filter="fade">
                                      <p:cBhvr>
                                        <p:cTn id="37" dur="500"/>
                                        <p:tgtEl>
                                          <p:spTgt spid="2">
                                            <p:txEl>
                                              <p:pRg st="8" end="8"/>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
                                            <p:txEl>
                                              <p:pRg st="9" end="9"/>
                                            </p:txEl>
                                          </p:spTgt>
                                        </p:tgtEl>
                                        <p:attrNameLst>
                                          <p:attrName>style.visibility</p:attrName>
                                        </p:attrNameLst>
                                      </p:cBhvr>
                                      <p:to>
                                        <p:strVal val="visible"/>
                                      </p:to>
                                    </p:set>
                                    <p:animEffect transition="in" filter="fade">
                                      <p:cBhvr>
                                        <p:cTn id="40" dur="500"/>
                                        <p:tgtEl>
                                          <p:spTgt spid="2">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 name="Chart 60">
            <a:extLst>
              <a:ext uri="{FF2B5EF4-FFF2-40B4-BE49-F238E27FC236}">
                <a16:creationId xmlns:a16="http://schemas.microsoft.com/office/drawing/2014/main" id="{FB702BA7-344C-4B53-9067-01C6F5CA9314}"/>
              </a:ext>
            </a:extLst>
          </p:cNvPr>
          <p:cNvGraphicFramePr/>
          <p:nvPr/>
        </p:nvGraphicFramePr>
        <p:xfrm>
          <a:off x="7571536" y="1775426"/>
          <a:ext cx="4311973" cy="2874645"/>
        </p:xfrm>
        <a:graphic>
          <a:graphicData uri="http://schemas.openxmlformats.org/drawingml/2006/chart">
            <c:chart xmlns:c="http://schemas.openxmlformats.org/drawingml/2006/chart" xmlns:r="http://schemas.openxmlformats.org/officeDocument/2006/relationships" r:id="rId3"/>
          </a:graphicData>
        </a:graphic>
      </p:graphicFrame>
      <p:sp>
        <p:nvSpPr>
          <p:cNvPr id="117" name="Rectangle 64">
            <a:extLst>
              <a:ext uri="{FF2B5EF4-FFF2-40B4-BE49-F238E27FC236}">
                <a16:creationId xmlns:a16="http://schemas.microsoft.com/office/drawing/2014/main" id="{7D36F1FC-08D6-4D8D-9515-BF96D327E9A4}"/>
              </a:ext>
            </a:extLst>
          </p:cNvPr>
          <p:cNvSpPr/>
          <p:nvPr/>
        </p:nvSpPr>
        <p:spPr>
          <a:xfrm>
            <a:off x="8925362" y="2606716"/>
            <a:ext cx="1538803" cy="1176736"/>
          </a:xfrm>
          <a:prstGeom prst="rect">
            <a:avLst/>
          </a:prstGeom>
          <a:noFill/>
          <a:ln cap="flat">
            <a:noFill/>
            <a:prstDash val="solid"/>
          </a:ln>
        </p:spPr>
        <p:txBody>
          <a:bodyPr vert="horz" wrap="none" lIns="89642" tIns="44821" rIns="89642" bIns="44821" anchor="t" anchorCtr="0" compatLnSpc="1">
            <a:spAutoFit/>
          </a:bodyPr>
          <a:lstStyle/>
          <a:p>
            <a:pPr defTabSz="914367">
              <a:defRPr sz="1800" b="0" i="0" u="none" strike="noStrike" kern="0" cap="none" spc="0" baseline="0">
                <a:solidFill>
                  <a:srgbClr val="000000"/>
                </a:solidFill>
                <a:uFillTx/>
              </a:defRPr>
            </a:pPr>
            <a:r>
              <a:rPr lang="en-US" sz="7058" spc="-294">
                <a:solidFill>
                  <a:srgbClr val="0078D7"/>
                </a:solidFill>
                <a:latin typeface="Segoe UI Semibold" pitchFamily="34"/>
                <a:ea typeface="Segoe UI Black" pitchFamily="34"/>
                <a:cs typeface="Segoe UI Semibold" pitchFamily="34"/>
              </a:rPr>
              <a:t>80</a:t>
            </a:r>
            <a:r>
              <a:rPr lang="en-US" sz="4313" spc="-294">
                <a:solidFill>
                  <a:srgbClr val="0078D7"/>
                </a:solidFill>
                <a:latin typeface="Segoe UI Semibold" pitchFamily="34"/>
                <a:ea typeface="Segoe UI Black" pitchFamily="34"/>
                <a:cs typeface="Segoe UI Semibold" pitchFamily="34"/>
              </a:rPr>
              <a:t>%</a:t>
            </a:r>
            <a:endParaRPr lang="en-US" sz="7058" spc="-294">
              <a:solidFill>
                <a:srgbClr val="0078D7"/>
              </a:solidFill>
              <a:latin typeface="Segoe UI Semibold" pitchFamily="34"/>
              <a:ea typeface="Segoe UI Black" pitchFamily="34"/>
              <a:cs typeface="Segoe UI Semibold" pitchFamily="34"/>
            </a:endParaRPr>
          </a:p>
        </p:txBody>
      </p:sp>
      <p:sp>
        <p:nvSpPr>
          <p:cNvPr id="118" name="Rectangle 68">
            <a:extLst>
              <a:ext uri="{FF2B5EF4-FFF2-40B4-BE49-F238E27FC236}">
                <a16:creationId xmlns:a16="http://schemas.microsoft.com/office/drawing/2014/main" id="{A0EDB180-DB36-4D57-BB27-19045DB11CE8}"/>
              </a:ext>
            </a:extLst>
          </p:cNvPr>
          <p:cNvSpPr/>
          <p:nvPr/>
        </p:nvSpPr>
        <p:spPr>
          <a:xfrm>
            <a:off x="8259812" y="4659770"/>
            <a:ext cx="3213315" cy="693967"/>
          </a:xfrm>
          <a:prstGeom prst="rect">
            <a:avLst/>
          </a:prstGeom>
          <a:noFill/>
          <a:ln cap="flat">
            <a:noFill/>
            <a:prstDash val="solid"/>
          </a:ln>
        </p:spPr>
        <p:txBody>
          <a:bodyPr vert="horz" wrap="square" lIns="89642" tIns="44821" rIns="89642" bIns="44821" anchor="t" anchorCtr="1" compatLnSpc="1">
            <a:spAutoFit/>
          </a:bodyPr>
          <a:lstStyle/>
          <a:p>
            <a:pPr algn="ctr" defTabSz="914367">
              <a:defRPr sz="1800" b="0" i="0" u="none" strike="noStrike" kern="0" cap="none" spc="0" baseline="0">
                <a:solidFill>
                  <a:srgbClr val="000000"/>
                </a:solidFill>
                <a:uFillTx/>
              </a:defRPr>
            </a:pPr>
            <a:r>
              <a:rPr lang="en-US" sz="1961">
                <a:solidFill>
                  <a:srgbClr val="505050"/>
                </a:solidFill>
                <a:latin typeface="Segoe UI Semibold" pitchFamily="34"/>
                <a:cs typeface="Segoe UI Semibold" pitchFamily="34"/>
              </a:rPr>
              <a:t>of employees use non-approved apps for work</a:t>
            </a:r>
          </a:p>
        </p:txBody>
      </p:sp>
      <p:sp>
        <p:nvSpPr>
          <p:cNvPr id="119" name="Oval 71">
            <a:extLst>
              <a:ext uri="{FF2B5EF4-FFF2-40B4-BE49-F238E27FC236}">
                <a16:creationId xmlns:a16="http://schemas.microsoft.com/office/drawing/2014/main" id="{08767C45-9FD3-4A1B-AE84-476F5CBFE495}"/>
              </a:ext>
            </a:extLst>
          </p:cNvPr>
          <p:cNvSpPr/>
          <p:nvPr/>
        </p:nvSpPr>
        <p:spPr>
          <a:xfrm>
            <a:off x="8065878" y="1635242"/>
            <a:ext cx="1296248" cy="12962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8F8F8"/>
          </a:solidFill>
          <a:ln w="57150" cap="flat">
            <a:solidFill>
              <a:srgbClr val="0078D7"/>
            </a:solidFill>
            <a:prstDash val="solid"/>
          </a:ln>
        </p:spPr>
        <p:txBody>
          <a:bodyPr vert="horz" wrap="square" lIns="175734" tIns="140586" rIns="175734" bIns="140586" anchor="t" anchorCtr="1" compatLnSpc="1">
            <a:noAutofit/>
          </a:bodyPr>
          <a:lstStyle/>
          <a:p>
            <a:pPr algn="ctr" defTabSz="895920">
              <a:lnSpc>
                <a:spcPct val="90000"/>
              </a:lnSpc>
              <a:defRPr sz="1800" b="0" i="0" u="none" strike="noStrike" kern="0" cap="none" spc="0" baseline="0">
                <a:solidFill>
                  <a:srgbClr val="000000"/>
                </a:solidFill>
                <a:uFillTx/>
              </a:defRPr>
            </a:pPr>
            <a:endParaRPr lang="en-US" sz="5293">
              <a:solidFill>
                <a:srgbClr val="000000"/>
              </a:solidFill>
              <a:latin typeface="Segoe UI Semilight"/>
              <a:ea typeface="Segoe UI" pitchFamily="34"/>
              <a:cs typeface="Segoe UI" pitchFamily="34"/>
            </a:endParaRPr>
          </a:p>
        </p:txBody>
      </p:sp>
      <p:graphicFrame>
        <p:nvGraphicFramePr>
          <p:cNvPr id="120" name="Chart 61">
            <a:extLst>
              <a:ext uri="{FF2B5EF4-FFF2-40B4-BE49-F238E27FC236}">
                <a16:creationId xmlns:a16="http://schemas.microsoft.com/office/drawing/2014/main" id="{F1B551B1-1A08-4C80-819E-AE5E3AD44B86}"/>
              </a:ext>
            </a:extLst>
          </p:cNvPr>
          <p:cNvGraphicFramePr/>
          <p:nvPr/>
        </p:nvGraphicFramePr>
        <p:xfrm>
          <a:off x="210328" y="1775426"/>
          <a:ext cx="4311973" cy="2874645"/>
        </p:xfrm>
        <a:graphic>
          <a:graphicData uri="http://schemas.openxmlformats.org/drawingml/2006/chart">
            <c:chart xmlns:c="http://schemas.openxmlformats.org/drawingml/2006/chart" xmlns:r="http://schemas.openxmlformats.org/officeDocument/2006/relationships" r:id="rId4"/>
          </a:graphicData>
        </a:graphic>
      </p:graphicFrame>
      <p:sp>
        <p:nvSpPr>
          <p:cNvPr id="121" name="Rectangle 65">
            <a:extLst>
              <a:ext uri="{FF2B5EF4-FFF2-40B4-BE49-F238E27FC236}">
                <a16:creationId xmlns:a16="http://schemas.microsoft.com/office/drawing/2014/main" id="{83ACC6DF-A1E9-4C14-85D8-D6F2FA4D8434}"/>
              </a:ext>
            </a:extLst>
          </p:cNvPr>
          <p:cNvSpPr/>
          <p:nvPr/>
        </p:nvSpPr>
        <p:spPr>
          <a:xfrm>
            <a:off x="1666059" y="2624375"/>
            <a:ext cx="1400511" cy="1176736"/>
          </a:xfrm>
          <a:prstGeom prst="rect">
            <a:avLst/>
          </a:prstGeom>
          <a:noFill/>
          <a:ln cap="flat">
            <a:noFill/>
            <a:prstDash val="solid"/>
          </a:ln>
        </p:spPr>
        <p:txBody>
          <a:bodyPr vert="horz" wrap="none" lIns="89642" tIns="44821" rIns="89642" bIns="44821" anchor="t" anchorCtr="0" compatLnSpc="1">
            <a:spAutoFit/>
          </a:bodyPr>
          <a:lstStyle/>
          <a:p>
            <a:pPr defTabSz="914367">
              <a:defRPr sz="1800" b="0" i="0" u="none" strike="noStrike" kern="0" cap="none" spc="0" baseline="0">
                <a:solidFill>
                  <a:srgbClr val="000000"/>
                </a:solidFill>
                <a:uFillTx/>
              </a:defRPr>
            </a:pPr>
            <a:r>
              <a:rPr lang="en-US" sz="7058" spc="-294">
                <a:solidFill>
                  <a:srgbClr val="0078D7"/>
                </a:solidFill>
                <a:latin typeface="Segoe UI Semibold" pitchFamily="34"/>
                <a:ea typeface="Segoe UI Black" pitchFamily="34"/>
                <a:cs typeface="Segoe UI Semibold" pitchFamily="34"/>
              </a:rPr>
              <a:t>81</a:t>
            </a:r>
            <a:r>
              <a:rPr lang="en-US" sz="4313" spc="-294">
                <a:solidFill>
                  <a:srgbClr val="0078D7"/>
                </a:solidFill>
                <a:latin typeface="Segoe UI Semibold" pitchFamily="34"/>
                <a:ea typeface="Segoe UI Black" pitchFamily="34"/>
                <a:cs typeface="Segoe UI Semibold" pitchFamily="34"/>
              </a:rPr>
              <a:t>%</a:t>
            </a:r>
            <a:endParaRPr lang="en-US" sz="7058" spc="-294">
              <a:solidFill>
                <a:srgbClr val="0078D7"/>
              </a:solidFill>
              <a:latin typeface="Segoe UI Semibold" pitchFamily="34"/>
              <a:ea typeface="Segoe UI Black" pitchFamily="34"/>
              <a:cs typeface="Segoe UI Semibold" pitchFamily="34"/>
            </a:endParaRPr>
          </a:p>
        </p:txBody>
      </p:sp>
      <p:sp>
        <p:nvSpPr>
          <p:cNvPr id="122" name="Rectangle 69">
            <a:extLst>
              <a:ext uri="{FF2B5EF4-FFF2-40B4-BE49-F238E27FC236}">
                <a16:creationId xmlns:a16="http://schemas.microsoft.com/office/drawing/2014/main" id="{5B523AF2-883B-420F-BAA2-96A969C4B28A}"/>
              </a:ext>
            </a:extLst>
          </p:cNvPr>
          <p:cNvSpPr/>
          <p:nvPr/>
        </p:nvSpPr>
        <p:spPr>
          <a:xfrm>
            <a:off x="915812" y="4637862"/>
            <a:ext cx="2809475" cy="693967"/>
          </a:xfrm>
          <a:prstGeom prst="rect">
            <a:avLst/>
          </a:prstGeom>
          <a:noFill/>
          <a:ln cap="flat">
            <a:noFill/>
            <a:prstDash val="solid"/>
          </a:ln>
        </p:spPr>
        <p:txBody>
          <a:bodyPr vert="horz" wrap="square" lIns="89642" tIns="44821" rIns="89642" bIns="44821" anchor="t" anchorCtr="1" compatLnSpc="1">
            <a:spAutoFit/>
          </a:bodyPr>
          <a:lstStyle/>
          <a:p>
            <a:pPr algn="ctr" defTabSz="914367">
              <a:defRPr sz="1800" b="0" i="0" u="none" strike="noStrike" kern="0" cap="none" spc="0" baseline="0">
                <a:solidFill>
                  <a:srgbClr val="000000"/>
                </a:solidFill>
                <a:uFillTx/>
              </a:defRPr>
            </a:pPr>
            <a:r>
              <a:rPr lang="en-US" sz="1961">
                <a:solidFill>
                  <a:srgbClr val="505050"/>
                </a:solidFill>
                <a:latin typeface="Segoe UI Semibold" pitchFamily="34"/>
                <a:cs typeface="Segoe UI Semibold" pitchFamily="34"/>
              </a:rPr>
              <a:t>of breaches are caused by credential theft</a:t>
            </a:r>
            <a:endParaRPr lang="en-US" sz="1961">
              <a:solidFill>
                <a:srgbClr val="505050"/>
              </a:solidFill>
              <a:latin typeface="Segoe UI"/>
            </a:endParaRPr>
          </a:p>
        </p:txBody>
      </p:sp>
      <p:sp>
        <p:nvSpPr>
          <p:cNvPr id="123" name="Oval 80">
            <a:extLst>
              <a:ext uri="{FF2B5EF4-FFF2-40B4-BE49-F238E27FC236}">
                <a16:creationId xmlns:a16="http://schemas.microsoft.com/office/drawing/2014/main" id="{4D6C095F-9963-4B61-9A3B-3920E308FCB7}"/>
              </a:ext>
            </a:extLst>
          </p:cNvPr>
          <p:cNvSpPr/>
          <p:nvPr/>
        </p:nvSpPr>
        <p:spPr>
          <a:xfrm>
            <a:off x="677410" y="1635242"/>
            <a:ext cx="1296248" cy="12962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8F8F8"/>
          </a:solidFill>
          <a:ln w="57150" cap="flat">
            <a:solidFill>
              <a:srgbClr val="0078D7"/>
            </a:solidFill>
            <a:prstDash val="solid"/>
          </a:ln>
        </p:spPr>
        <p:txBody>
          <a:bodyPr vert="horz" wrap="square" lIns="175734" tIns="140586" rIns="175734" bIns="140586" anchor="t" anchorCtr="1" compatLnSpc="1">
            <a:noAutofit/>
          </a:bodyPr>
          <a:lstStyle/>
          <a:p>
            <a:pPr algn="ctr" defTabSz="895920">
              <a:lnSpc>
                <a:spcPct val="90000"/>
              </a:lnSpc>
              <a:defRPr sz="1800" b="0" i="0" u="none" strike="noStrike" kern="0" cap="none" spc="0" baseline="0">
                <a:solidFill>
                  <a:srgbClr val="000000"/>
                </a:solidFill>
                <a:uFillTx/>
              </a:defRPr>
            </a:pPr>
            <a:endParaRPr lang="en-US" sz="5293">
              <a:solidFill>
                <a:srgbClr val="000000"/>
              </a:solidFill>
              <a:latin typeface="Segoe UI Semilight"/>
              <a:ea typeface="Segoe UI" pitchFamily="34"/>
              <a:cs typeface="Segoe UI" pitchFamily="34"/>
            </a:endParaRPr>
          </a:p>
        </p:txBody>
      </p:sp>
      <p:graphicFrame>
        <p:nvGraphicFramePr>
          <p:cNvPr id="124" name="Chart 62">
            <a:extLst>
              <a:ext uri="{FF2B5EF4-FFF2-40B4-BE49-F238E27FC236}">
                <a16:creationId xmlns:a16="http://schemas.microsoft.com/office/drawing/2014/main" id="{D86B2161-8B6D-420A-815B-109C6BAD8705}"/>
              </a:ext>
            </a:extLst>
          </p:cNvPr>
          <p:cNvGraphicFramePr/>
          <p:nvPr/>
        </p:nvGraphicFramePr>
        <p:xfrm>
          <a:off x="3880273" y="1775426"/>
          <a:ext cx="4311973" cy="2874645"/>
        </p:xfrm>
        <a:graphic>
          <a:graphicData uri="http://schemas.openxmlformats.org/drawingml/2006/chart">
            <c:chart xmlns:c="http://schemas.openxmlformats.org/drawingml/2006/chart" xmlns:r="http://schemas.openxmlformats.org/officeDocument/2006/relationships" r:id="rId5"/>
          </a:graphicData>
        </a:graphic>
      </p:graphicFrame>
      <p:sp>
        <p:nvSpPr>
          <p:cNvPr id="125" name="Rectangle 63">
            <a:extLst>
              <a:ext uri="{FF2B5EF4-FFF2-40B4-BE49-F238E27FC236}">
                <a16:creationId xmlns:a16="http://schemas.microsoft.com/office/drawing/2014/main" id="{5B3E453F-53E6-41A6-9362-495745A5D21F}"/>
              </a:ext>
            </a:extLst>
          </p:cNvPr>
          <p:cNvSpPr/>
          <p:nvPr/>
        </p:nvSpPr>
        <p:spPr>
          <a:xfrm>
            <a:off x="5285213" y="2687780"/>
            <a:ext cx="1520248" cy="1176649"/>
          </a:xfrm>
          <a:prstGeom prst="rect">
            <a:avLst/>
          </a:prstGeom>
          <a:noFill/>
          <a:ln cap="flat">
            <a:noFill/>
            <a:prstDash val="solid"/>
          </a:ln>
        </p:spPr>
        <p:txBody>
          <a:bodyPr vert="horz" wrap="none" lIns="89642" tIns="44821" rIns="89642" bIns="44821" anchor="t" anchorCtr="0" compatLnSpc="1">
            <a:spAutoFit/>
          </a:bodyPr>
          <a:lstStyle/>
          <a:p>
            <a:pPr defTabSz="914367">
              <a:defRPr sz="1800" b="0" i="0" u="none" strike="noStrike" kern="0" cap="none" spc="0" baseline="0">
                <a:solidFill>
                  <a:srgbClr val="000000"/>
                </a:solidFill>
                <a:uFillTx/>
              </a:defRPr>
            </a:pPr>
            <a:r>
              <a:rPr lang="en-US" sz="7058" spc="-294">
                <a:solidFill>
                  <a:srgbClr val="0078D7"/>
                </a:solidFill>
                <a:latin typeface="Segoe UI Semibold" pitchFamily="34"/>
                <a:ea typeface="Segoe UI Black" pitchFamily="34"/>
                <a:cs typeface="Segoe UI Semibold" pitchFamily="34"/>
              </a:rPr>
              <a:t>73</a:t>
            </a:r>
            <a:r>
              <a:rPr lang="en-US" sz="4313" spc="-294">
                <a:solidFill>
                  <a:srgbClr val="0078D7"/>
                </a:solidFill>
                <a:latin typeface="Segoe UI Semibold" pitchFamily="34"/>
                <a:ea typeface="Segoe UI Black" pitchFamily="34"/>
                <a:cs typeface="Segoe UI Semibold" pitchFamily="34"/>
              </a:rPr>
              <a:t>%</a:t>
            </a:r>
            <a:endParaRPr lang="en-US" sz="7058" spc="-294">
              <a:solidFill>
                <a:srgbClr val="0078D7"/>
              </a:solidFill>
              <a:latin typeface="Segoe UI Semibold" pitchFamily="34"/>
              <a:ea typeface="Segoe UI Black" pitchFamily="34"/>
              <a:cs typeface="Segoe UI Semibold" pitchFamily="34"/>
            </a:endParaRPr>
          </a:p>
        </p:txBody>
      </p:sp>
      <p:sp>
        <p:nvSpPr>
          <p:cNvPr id="126" name="Rectangle 67">
            <a:extLst>
              <a:ext uri="{FF2B5EF4-FFF2-40B4-BE49-F238E27FC236}">
                <a16:creationId xmlns:a16="http://schemas.microsoft.com/office/drawing/2014/main" id="{F23B407F-2E83-4A80-83C6-0577E6839CA9}"/>
              </a:ext>
            </a:extLst>
          </p:cNvPr>
          <p:cNvSpPr/>
          <p:nvPr/>
        </p:nvSpPr>
        <p:spPr>
          <a:xfrm>
            <a:off x="4582945" y="4718487"/>
            <a:ext cx="2809475" cy="693967"/>
          </a:xfrm>
          <a:prstGeom prst="rect">
            <a:avLst/>
          </a:prstGeom>
          <a:noFill/>
          <a:ln cap="flat">
            <a:noFill/>
            <a:prstDash val="solid"/>
          </a:ln>
        </p:spPr>
        <p:txBody>
          <a:bodyPr vert="horz" wrap="square" lIns="89642" tIns="44821" rIns="89642" bIns="44821" anchor="t" anchorCtr="1" compatLnSpc="1">
            <a:spAutoFit/>
          </a:bodyPr>
          <a:lstStyle/>
          <a:p>
            <a:pPr algn="ctr" defTabSz="914367">
              <a:defRPr sz="1800" b="0" i="0" u="none" strike="noStrike" kern="0" cap="none" spc="0" baseline="0">
                <a:solidFill>
                  <a:srgbClr val="000000"/>
                </a:solidFill>
                <a:uFillTx/>
              </a:defRPr>
            </a:pPr>
            <a:r>
              <a:rPr lang="en-US" sz="1961">
                <a:solidFill>
                  <a:srgbClr val="505050"/>
                </a:solidFill>
                <a:latin typeface="Segoe UI Semibold" pitchFamily="34"/>
                <a:cs typeface="Segoe UI Semibold" pitchFamily="34"/>
              </a:rPr>
              <a:t>of passwords are duplicates</a:t>
            </a:r>
            <a:endParaRPr lang="en-US" sz="1961">
              <a:solidFill>
                <a:srgbClr val="505050"/>
              </a:solidFill>
              <a:latin typeface="Segoe UI"/>
            </a:endParaRPr>
          </a:p>
        </p:txBody>
      </p:sp>
      <p:sp>
        <p:nvSpPr>
          <p:cNvPr id="127" name="Oval 85">
            <a:extLst>
              <a:ext uri="{FF2B5EF4-FFF2-40B4-BE49-F238E27FC236}">
                <a16:creationId xmlns:a16="http://schemas.microsoft.com/office/drawing/2014/main" id="{1454AA45-2C2B-4C10-BC74-FA050B393ED7}"/>
              </a:ext>
            </a:extLst>
          </p:cNvPr>
          <p:cNvSpPr/>
          <p:nvPr/>
        </p:nvSpPr>
        <p:spPr>
          <a:xfrm>
            <a:off x="4401885" y="1635242"/>
            <a:ext cx="1296248" cy="12962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8F8F8"/>
          </a:solidFill>
          <a:ln w="57150" cap="flat">
            <a:solidFill>
              <a:srgbClr val="0078D7"/>
            </a:solidFill>
            <a:prstDash val="solid"/>
          </a:ln>
        </p:spPr>
        <p:txBody>
          <a:bodyPr vert="horz" wrap="square" lIns="175734" tIns="140586" rIns="175734" bIns="140586" anchor="t" anchorCtr="1" compatLnSpc="1">
            <a:noAutofit/>
          </a:bodyPr>
          <a:lstStyle/>
          <a:p>
            <a:pPr algn="ctr" defTabSz="895920">
              <a:lnSpc>
                <a:spcPct val="90000"/>
              </a:lnSpc>
              <a:defRPr sz="1800" b="0" i="0" u="none" strike="noStrike" kern="0" cap="none" spc="0" baseline="0">
                <a:solidFill>
                  <a:srgbClr val="000000"/>
                </a:solidFill>
                <a:uFillTx/>
              </a:defRPr>
            </a:pPr>
            <a:endParaRPr lang="en-US" sz="5293">
              <a:solidFill>
                <a:srgbClr val="000000"/>
              </a:solidFill>
              <a:latin typeface="Segoe UI Semilight"/>
              <a:ea typeface="Segoe UI" pitchFamily="34"/>
              <a:cs typeface="Segoe UI" pitchFamily="34"/>
            </a:endParaRPr>
          </a:p>
        </p:txBody>
      </p:sp>
      <p:grpSp>
        <p:nvGrpSpPr>
          <p:cNvPr id="128" name="Group 23">
            <a:extLst>
              <a:ext uri="{FF2B5EF4-FFF2-40B4-BE49-F238E27FC236}">
                <a16:creationId xmlns:a16="http://schemas.microsoft.com/office/drawing/2014/main" id="{F7152BA3-95FF-47EE-ADF7-28BED0E96114}"/>
              </a:ext>
            </a:extLst>
          </p:cNvPr>
          <p:cNvGrpSpPr/>
          <p:nvPr/>
        </p:nvGrpSpPr>
        <p:grpSpPr>
          <a:xfrm>
            <a:off x="4786144" y="1861640"/>
            <a:ext cx="647813" cy="843452"/>
            <a:chOff x="6043543" y="2417216"/>
            <a:chExt cx="462348" cy="601977"/>
          </a:xfrm>
          <a:solidFill>
            <a:schemeClr val="tx2"/>
          </a:solidFill>
        </p:grpSpPr>
        <p:sp>
          <p:nvSpPr>
            <p:cNvPr id="129" name="Freeform 2001">
              <a:extLst>
                <a:ext uri="{FF2B5EF4-FFF2-40B4-BE49-F238E27FC236}">
                  <a16:creationId xmlns:a16="http://schemas.microsoft.com/office/drawing/2014/main" id="{3F890433-9696-41EA-8573-0D56D6E145CA}"/>
                </a:ext>
              </a:extLst>
            </p:cNvPr>
            <p:cNvSpPr/>
            <p:nvPr/>
          </p:nvSpPr>
          <p:spPr>
            <a:xfrm>
              <a:off x="6043543" y="2549091"/>
              <a:ext cx="238932" cy="179972"/>
            </a:xfrm>
            <a:custGeom>
              <a:avLst/>
              <a:gdLst>
                <a:gd name="f0" fmla="val 10800000"/>
                <a:gd name="f1" fmla="val 5400000"/>
                <a:gd name="f2" fmla="val 180"/>
                <a:gd name="f3" fmla="val w"/>
                <a:gd name="f4" fmla="val h"/>
                <a:gd name="f5" fmla="val 0"/>
                <a:gd name="f6" fmla="val 154"/>
                <a:gd name="f7" fmla="val 116"/>
                <a:gd name="f8" fmla="val 90"/>
                <a:gd name="f9" fmla="val 57"/>
                <a:gd name="f10" fmla="val 135"/>
                <a:gd name="f11" fmla="val 19"/>
                <a:gd name="f12" fmla="val 97"/>
                <a:gd name="f13" fmla="+- 0 0 -90"/>
                <a:gd name="f14" fmla="*/ f3 1 154"/>
                <a:gd name="f15" fmla="*/ f4 1 116"/>
                <a:gd name="f16" fmla="val f5"/>
                <a:gd name="f17" fmla="val f6"/>
                <a:gd name="f18" fmla="val f7"/>
                <a:gd name="f19" fmla="*/ f13 f0 1"/>
                <a:gd name="f20" fmla="+- f18 0 f16"/>
                <a:gd name="f21" fmla="+- f17 0 f16"/>
                <a:gd name="f22" fmla="*/ f19 1 f2"/>
                <a:gd name="f23" fmla="*/ f21 1 154"/>
                <a:gd name="f24" fmla="*/ f20 1 116"/>
                <a:gd name="f25" fmla="*/ 90 f21 1"/>
                <a:gd name="f26" fmla="*/ 116 f20 1"/>
                <a:gd name="f27" fmla="*/ 0 f21 1"/>
                <a:gd name="f28" fmla="*/ 0 f20 1"/>
                <a:gd name="f29" fmla="*/ 154 f21 1"/>
                <a:gd name="f30" fmla="*/ 57 f20 1"/>
                <a:gd name="f31" fmla="*/ 135 f21 1"/>
                <a:gd name="f32" fmla="*/ 19 f20 1"/>
                <a:gd name="f33" fmla="*/ 19 f21 1"/>
                <a:gd name="f34" fmla="*/ 97 f20 1"/>
                <a:gd name="f35" fmla="+- f22 0 f1"/>
                <a:gd name="f36" fmla="*/ f25 1 154"/>
                <a:gd name="f37" fmla="*/ f26 1 116"/>
                <a:gd name="f38" fmla="*/ f27 1 154"/>
                <a:gd name="f39" fmla="*/ f28 1 116"/>
                <a:gd name="f40" fmla="*/ f29 1 154"/>
                <a:gd name="f41" fmla="*/ f30 1 116"/>
                <a:gd name="f42" fmla="*/ f31 1 154"/>
                <a:gd name="f43" fmla="*/ f32 1 116"/>
                <a:gd name="f44" fmla="*/ f33 1 154"/>
                <a:gd name="f45" fmla="*/ f34 1 116"/>
                <a:gd name="f46" fmla="*/ 0 1 f23"/>
                <a:gd name="f47" fmla="*/ f17 1 f23"/>
                <a:gd name="f48" fmla="*/ 0 1 f24"/>
                <a:gd name="f49" fmla="*/ f18 1 f24"/>
                <a:gd name="f50" fmla="*/ f36 1 f23"/>
                <a:gd name="f51" fmla="*/ f37 1 f24"/>
                <a:gd name="f52" fmla="*/ f38 1 f23"/>
                <a:gd name="f53" fmla="*/ f39 1 f24"/>
                <a:gd name="f54" fmla="*/ f40 1 f23"/>
                <a:gd name="f55" fmla="*/ f41 1 f24"/>
                <a:gd name="f56" fmla="*/ f42 1 f23"/>
                <a:gd name="f57" fmla="*/ f43 1 f24"/>
                <a:gd name="f58" fmla="*/ f44 1 f23"/>
                <a:gd name="f59" fmla="*/ f45 1 f24"/>
                <a:gd name="f60" fmla="*/ f46 f14 1"/>
                <a:gd name="f61" fmla="*/ f47 f14 1"/>
                <a:gd name="f62" fmla="*/ f49 f15 1"/>
                <a:gd name="f63" fmla="*/ f48 f15 1"/>
                <a:gd name="f64" fmla="*/ f50 f14 1"/>
                <a:gd name="f65" fmla="*/ f51 f15 1"/>
                <a:gd name="f66" fmla="*/ f52 f14 1"/>
                <a:gd name="f67" fmla="*/ f53 f15 1"/>
                <a:gd name="f68" fmla="*/ f54 f14 1"/>
                <a:gd name="f69" fmla="*/ f55 f15 1"/>
                <a:gd name="f70" fmla="*/ f56 f14 1"/>
                <a:gd name="f71" fmla="*/ f57 f15 1"/>
                <a:gd name="f72" fmla="*/ f58 f14 1"/>
                <a:gd name="f73" fmla="*/ f59 f15 1"/>
              </a:gdLst>
              <a:ahLst/>
              <a:cxnLst>
                <a:cxn ang="3cd4">
                  <a:pos x="hc" y="t"/>
                </a:cxn>
                <a:cxn ang="0">
                  <a:pos x="r" y="vc"/>
                </a:cxn>
                <a:cxn ang="cd4">
                  <a:pos x="hc" y="b"/>
                </a:cxn>
                <a:cxn ang="cd2">
                  <a:pos x="l" y="vc"/>
                </a:cxn>
                <a:cxn ang="f35">
                  <a:pos x="f64" y="f65"/>
                </a:cxn>
                <a:cxn ang="f35">
                  <a:pos x="f66" y="f65"/>
                </a:cxn>
                <a:cxn ang="f35">
                  <a:pos x="f66" y="f67"/>
                </a:cxn>
                <a:cxn ang="f35">
                  <a:pos x="f68" y="f67"/>
                </a:cxn>
                <a:cxn ang="f35">
                  <a:pos x="f68" y="f69"/>
                </a:cxn>
                <a:cxn ang="f35">
                  <a:pos x="f70" y="f69"/>
                </a:cxn>
                <a:cxn ang="f35">
                  <a:pos x="f70" y="f71"/>
                </a:cxn>
                <a:cxn ang="f35">
                  <a:pos x="f72" y="f71"/>
                </a:cxn>
                <a:cxn ang="f35">
                  <a:pos x="f72" y="f73"/>
                </a:cxn>
                <a:cxn ang="f35">
                  <a:pos x="f64" y="f73"/>
                </a:cxn>
                <a:cxn ang="f35">
                  <a:pos x="f64" y="f65"/>
                </a:cxn>
              </a:cxnLst>
              <a:rect l="f60" t="f63" r="f61" b="f62"/>
              <a:pathLst>
                <a:path w="154" h="116">
                  <a:moveTo>
                    <a:pt x="f8" y="f7"/>
                  </a:moveTo>
                  <a:lnTo>
                    <a:pt x="f5" y="f7"/>
                  </a:lnTo>
                  <a:lnTo>
                    <a:pt x="f5" y="f5"/>
                  </a:lnTo>
                  <a:lnTo>
                    <a:pt x="f6" y="f5"/>
                  </a:lnTo>
                  <a:lnTo>
                    <a:pt x="f6" y="f9"/>
                  </a:lnTo>
                  <a:lnTo>
                    <a:pt x="f10" y="f9"/>
                  </a:lnTo>
                  <a:lnTo>
                    <a:pt x="f10" y="f11"/>
                  </a:lnTo>
                  <a:lnTo>
                    <a:pt x="f11" y="f11"/>
                  </a:lnTo>
                  <a:lnTo>
                    <a:pt x="f11" y="f12"/>
                  </a:lnTo>
                  <a:lnTo>
                    <a:pt x="f8" y="f12"/>
                  </a:lnTo>
                  <a:lnTo>
                    <a:pt x="f8" y="f7"/>
                  </a:lnTo>
                  <a:close/>
                </a:path>
              </a:pathLst>
            </a:custGeom>
            <a:grpFill/>
            <a:ln cap="flat">
              <a:noFill/>
              <a:prstDash val="solid"/>
            </a:ln>
          </p:spPr>
          <p:txBody>
            <a:bodyPr vert="horz" wrap="square" lIns="89642" tIns="44821" rIns="89642" bIns="44821" anchor="t" anchorCtr="0" compatLnSpc="1">
              <a:noAutofit/>
            </a:bodyPr>
            <a:lstStyle/>
            <a:p>
              <a:pPr defTabSz="914367">
                <a:defRPr sz="1800" b="0" i="0" u="none" strike="noStrike" kern="0" cap="none" spc="0" baseline="0">
                  <a:solidFill>
                    <a:srgbClr val="000000"/>
                  </a:solidFill>
                  <a:uFillTx/>
                </a:defRPr>
              </a:pPr>
              <a:endParaRPr lang="en-US" sz="1765">
                <a:solidFill>
                  <a:srgbClr val="505050"/>
                </a:solidFill>
                <a:latin typeface="Segoe UI"/>
              </a:endParaRPr>
            </a:p>
          </p:txBody>
        </p:sp>
        <p:sp>
          <p:nvSpPr>
            <p:cNvPr id="130" name="Freeform 2002">
              <a:extLst>
                <a:ext uri="{FF2B5EF4-FFF2-40B4-BE49-F238E27FC236}">
                  <a16:creationId xmlns:a16="http://schemas.microsoft.com/office/drawing/2014/main" id="{B2941636-7290-4990-8C56-C56D2F4FE08F}"/>
                </a:ext>
              </a:extLst>
            </p:cNvPr>
            <p:cNvSpPr/>
            <p:nvPr/>
          </p:nvSpPr>
          <p:spPr>
            <a:xfrm>
              <a:off x="6083887" y="2417216"/>
              <a:ext cx="161355" cy="134983"/>
            </a:xfrm>
            <a:custGeom>
              <a:avLst/>
              <a:gdLst>
                <a:gd name="f0" fmla="val 10800000"/>
                <a:gd name="f1" fmla="val 5400000"/>
                <a:gd name="f2" fmla="val 180"/>
                <a:gd name="f3" fmla="val w"/>
                <a:gd name="f4" fmla="val h"/>
                <a:gd name="f5" fmla="val 0"/>
                <a:gd name="f6" fmla="val 44"/>
                <a:gd name="f7" fmla="val 37"/>
                <a:gd name="f8" fmla="val 36"/>
                <a:gd name="f9" fmla="val 22"/>
                <a:gd name="f10" fmla="val 14"/>
                <a:gd name="f11" fmla="val 29"/>
                <a:gd name="f12" fmla="val 8"/>
                <a:gd name="f13" fmla="val 10"/>
                <a:gd name="f14" fmla="val 9"/>
                <a:gd name="f15" fmla="val 34"/>
                <a:gd name="f16" fmla="+- 0 0 -90"/>
                <a:gd name="f17" fmla="*/ f3 1 44"/>
                <a:gd name="f18" fmla="*/ f4 1 37"/>
                <a:gd name="f19" fmla="val f5"/>
                <a:gd name="f20" fmla="val f6"/>
                <a:gd name="f21" fmla="val f7"/>
                <a:gd name="f22" fmla="*/ f16 f0 1"/>
                <a:gd name="f23" fmla="+- f21 0 f19"/>
                <a:gd name="f24" fmla="+- f20 0 f19"/>
                <a:gd name="f25" fmla="*/ f22 1 f2"/>
                <a:gd name="f26" fmla="*/ f24 1 44"/>
                <a:gd name="f27" fmla="*/ f23 1 37"/>
                <a:gd name="f28" fmla="*/ 44 f24 1"/>
                <a:gd name="f29" fmla="*/ 37 f23 1"/>
                <a:gd name="f30" fmla="*/ 36 f24 1"/>
                <a:gd name="f31" fmla="*/ 22 f23 1"/>
                <a:gd name="f32" fmla="*/ 22 f24 1"/>
                <a:gd name="f33" fmla="*/ 8 f23 1"/>
                <a:gd name="f34" fmla="*/ 8 f24 1"/>
                <a:gd name="f35" fmla="*/ 0 f24 1"/>
                <a:gd name="f36" fmla="*/ 0 f23 1"/>
                <a:gd name="f37" fmla="+- f25 0 f1"/>
                <a:gd name="f38" fmla="*/ f28 1 44"/>
                <a:gd name="f39" fmla="*/ f29 1 37"/>
                <a:gd name="f40" fmla="*/ f30 1 44"/>
                <a:gd name="f41" fmla="*/ f31 1 37"/>
                <a:gd name="f42" fmla="*/ f32 1 44"/>
                <a:gd name="f43" fmla="*/ f33 1 37"/>
                <a:gd name="f44" fmla="*/ f34 1 44"/>
                <a:gd name="f45" fmla="*/ f35 1 44"/>
                <a:gd name="f46" fmla="*/ f36 1 37"/>
                <a:gd name="f47" fmla="*/ 0 1 f26"/>
                <a:gd name="f48" fmla="*/ f20 1 f26"/>
                <a:gd name="f49" fmla="*/ 0 1 f27"/>
                <a:gd name="f50" fmla="*/ f21 1 f27"/>
                <a:gd name="f51" fmla="*/ f38 1 f26"/>
                <a:gd name="f52" fmla="*/ f39 1 f27"/>
                <a:gd name="f53" fmla="*/ f40 1 f26"/>
                <a:gd name="f54" fmla="*/ f41 1 f27"/>
                <a:gd name="f55" fmla="*/ f42 1 f26"/>
                <a:gd name="f56" fmla="*/ f43 1 f27"/>
                <a:gd name="f57" fmla="*/ f44 1 f26"/>
                <a:gd name="f58" fmla="*/ f45 1 f26"/>
                <a:gd name="f59" fmla="*/ f46 1 f27"/>
                <a:gd name="f60" fmla="*/ f47 f17 1"/>
                <a:gd name="f61" fmla="*/ f48 f17 1"/>
                <a:gd name="f62" fmla="*/ f50 f18 1"/>
                <a:gd name="f63" fmla="*/ f49 f18 1"/>
                <a:gd name="f64" fmla="*/ f51 f17 1"/>
                <a:gd name="f65" fmla="*/ f52 f18 1"/>
                <a:gd name="f66" fmla="*/ f53 f17 1"/>
                <a:gd name="f67" fmla="*/ f54 f18 1"/>
                <a:gd name="f68" fmla="*/ f55 f17 1"/>
                <a:gd name="f69" fmla="*/ f56 f18 1"/>
                <a:gd name="f70" fmla="*/ f57 f17 1"/>
                <a:gd name="f71" fmla="*/ f58 f17 1"/>
                <a:gd name="f72" fmla="*/ f59 f18 1"/>
              </a:gdLst>
              <a:ahLst/>
              <a:cxnLst>
                <a:cxn ang="3cd4">
                  <a:pos x="hc" y="t"/>
                </a:cxn>
                <a:cxn ang="0">
                  <a:pos x="r" y="vc"/>
                </a:cxn>
                <a:cxn ang="cd4">
                  <a:pos x="hc" y="b"/>
                </a:cxn>
                <a:cxn ang="cd2">
                  <a:pos x="l" y="vc"/>
                </a:cxn>
                <a:cxn ang="f37">
                  <a:pos x="f64" y="f65"/>
                </a:cxn>
                <a:cxn ang="f37">
                  <a:pos x="f66" y="f65"/>
                </a:cxn>
                <a:cxn ang="f37">
                  <a:pos x="f66" y="f67"/>
                </a:cxn>
                <a:cxn ang="f37">
                  <a:pos x="f68" y="f69"/>
                </a:cxn>
                <a:cxn ang="f37">
                  <a:pos x="f70" y="f67"/>
                </a:cxn>
                <a:cxn ang="f37">
                  <a:pos x="f70" y="f65"/>
                </a:cxn>
                <a:cxn ang="f37">
                  <a:pos x="f71" y="f65"/>
                </a:cxn>
                <a:cxn ang="f37">
                  <a:pos x="f71" y="f67"/>
                </a:cxn>
                <a:cxn ang="f37">
                  <a:pos x="f68" y="f72"/>
                </a:cxn>
                <a:cxn ang="f37">
                  <a:pos x="f64" y="f67"/>
                </a:cxn>
                <a:cxn ang="f37">
                  <a:pos x="f64" y="f65"/>
                </a:cxn>
              </a:cxnLst>
              <a:rect l="f60" t="f63" r="f61" b="f62"/>
              <a:pathLst>
                <a:path w="44" h="37">
                  <a:moveTo>
                    <a:pt x="f6" y="f7"/>
                  </a:moveTo>
                  <a:cubicBezTo>
                    <a:pt x="f8" y="f7"/>
                    <a:pt x="f8" y="f7"/>
                    <a:pt x="f8" y="f7"/>
                  </a:cubicBezTo>
                  <a:cubicBezTo>
                    <a:pt x="f8" y="f9"/>
                    <a:pt x="f8" y="f9"/>
                    <a:pt x="f8" y="f9"/>
                  </a:cubicBezTo>
                  <a:cubicBezTo>
                    <a:pt x="f8" y="f10"/>
                    <a:pt x="f11" y="f12"/>
                    <a:pt x="f9" y="f12"/>
                  </a:cubicBezTo>
                  <a:cubicBezTo>
                    <a:pt x="f10" y="f12"/>
                    <a:pt x="f12" y="f10"/>
                    <a:pt x="f12" y="f9"/>
                  </a:cubicBezTo>
                  <a:cubicBezTo>
                    <a:pt x="f12" y="f7"/>
                    <a:pt x="f12" y="f7"/>
                    <a:pt x="f12" y="f7"/>
                  </a:cubicBezTo>
                  <a:cubicBezTo>
                    <a:pt x="f5" y="f7"/>
                    <a:pt x="f5" y="f7"/>
                    <a:pt x="f5" y="f7"/>
                  </a:cubicBezTo>
                  <a:cubicBezTo>
                    <a:pt x="f5" y="f9"/>
                    <a:pt x="f5" y="f9"/>
                    <a:pt x="f5" y="f9"/>
                  </a:cubicBezTo>
                  <a:cubicBezTo>
                    <a:pt x="f5" y="f13"/>
                    <a:pt x="f14" y="f5"/>
                    <a:pt x="f9" y="f5"/>
                  </a:cubicBezTo>
                  <a:cubicBezTo>
                    <a:pt x="f15" y="f5"/>
                    <a:pt x="f6" y="f13"/>
                    <a:pt x="f6" y="f9"/>
                  </a:cubicBezTo>
                  <a:lnTo>
                    <a:pt x="f6" y="f7"/>
                  </a:lnTo>
                  <a:close/>
                </a:path>
              </a:pathLst>
            </a:custGeom>
            <a:grpFill/>
            <a:ln cap="flat">
              <a:noFill/>
              <a:prstDash val="solid"/>
            </a:ln>
          </p:spPr>
          <p:txBody>
            <a:bodyPr vert="horz" wrap="square" lIns="89642" tIns="44821" rIns="89642" bIns="44821" anchor="t" anchorCtr="0" compatLnSpc="1">
              <a:noAutofit/>
            </a:bodyPr>
            <a:lstStyle/>
            <a:p>
              <a:pPr defTabSz="914367">
                <a:defRPr sz="1800" b="0" i="0" u="none" strike="noStrike" kern="0" cap="none" spc="0" baseline="0">
                  <a:solidFill>
                    <a:srgbClr val="000000"/>
                  </a:solidFill>
                  <a:uFillTx/>
                </a:defRPr>
              </a:pPr>
              <a:endParaRPr lang="en-US" sz="1765">
                <a:solidFill>
                  <a:srgbClr val="505050"/>
                </a:solidFill>
                <a:latin typeface="Segoe UI"/>
              </a:endParaRPr>
            </a:p>
          </p:txBody>
        </p:sp>
        <p:sp>
          <p:nvSpPr>
            <p:cNvPr id="131" name="Freeform 2003">
              <a:extLst>
                <a:ext uri="{FF2B5EF4-FFF2-40B4-BE49-F238E27FC236}">
                  <a16:creationId xmlns:a16="http://schemas.microsoft.com/office/drawing/2014/main" id="{94B85F0A-2A79-452D-A457-BAD0BFA27FB7}"/>
                </a:ext>
              </a:extLst>
            </p:cNvPr>
            <p:cNvSpPr/>
            <p:nvPr/>
          </p:nvSpPr>
          <p:spPr>
            <a:xfrm>
              <a:off x="6194045" y="2618905"/>
              <a:ext cx="311846" cy="311846"/>
            </a:xfrm>
            <a:custGeom>
              <a:avLst/>
              <a:gdLst>
                <a:gd name="f0" fmla="val 10800000"/>
                <a:gd name="f1" fmla="val 5400000"/>
                <a:gd name="f2" fmla="val 180"/>
                <a:gd name="f3" fmla="val w"/>
                <a:gd name="f4" fmla="val h"/>
                <a:gd name="f5" fmla="val 0"/>
                <a:gd name="f6" fmla="val 85"/>
                <a:gd name="f7" fmla="val 62"/>
                <a:gd name="f8" fmla="val 75"/>
                <a:gd name="f9" fmla="val 51"/>
                <a:gd name="f10" fmla="val 64"/>
                <a:gd name="f11" fmla="val 41"/>
                <a:gd name="f12" fmla="val 57"/>
                <a:gd name="f13" fmla="val 37"/>
                <a:gd name="f14" fmla="val 58"/>
                <a:gd name="f15" fmla="val 34"/>
                <a:gd name="f16" fmla="val 59"/>
                <a:gd name="f17" fmla="val 30"/>
                <a:gd name="f18" fmla="val 13"/>
                <a:gd name="f19" fmla="val 46"/>
                <a:gd name="f20" fmla="val 29"/>
                <a:gd name="f21" fmla="val 32"/>
                <a:gd name="f22" fmla="val 35"/>
                <a:gd name="f23" fmla="val 70"/>
                <a:gd name="f24" fmla="val 77"/>
                <a:gd name="f25" fmla="val 67"/>
                <a:gd name="f26" fmla="val 49"/>
                <a:gd name="f27" fmla="val 39"/>
                <a:gd name="f28" fmla="val 50"/>
                <a:gd name="f29" fmla="val 17"/>
                <a:gd name="f30" fmla="val 42"/>
                <a:gd name="f31" fmla="val 8"/>
                <a:gd name="f32" fmla="val 18"/>
                <a:gd name="f33" fmla="val 43"/>
                <a:gd name="f34" fmla="val 47"/>
                <a:gd name="f35" fmla="val 44"/>
                <a:gd name="f36" fmla="val 56"/>
                <a:gd name="f37" fmla="+- 0 0 -90"/>
                <a:gd name="f38" fmla="*/ f3 1 85"/>
                <a:gd name="f39" fmla="*/ f4 1 85"/>
                <a:gd name="f40" fmla="val f5"/>
                <a:gd name="f41" fmla="val f6"/>
                <a:gd name="f42" fmla="*/ f37 f0 1"/>
                <a:gd name="f43" fmla="+- f41 0 f40"/>
                <a:gd name="f44" fmla="*/ f42 1 f2"/>
                <a:gd name="f45" fmla="*/ f43 1 85"/>
                <a:gd name="f46" fmla="*/ 85 f43 1"/>
                <a:gd name="f47" fmla="*/ 62 f43 1"/>
                <a:gd name="f48" fmla="*/ 75 f43 1"/>
                <a:gd name="f49" fmla="*/ 51 f43 1"/>
                <a:gd name="f50" fmla="*/ 64 f43 1"/>
                <a:gd name="f51" fmla="*/ 41 f43 1"/>
                <a:gd name="f52" fmla="*/ 57 f43 1"/>
                <a:gd name="f53" fmla="*/ 30 f43 1"/>
                <a:gd name="f54" fmla="*/ 59 f43 1"/>
                <a:gd name="f55" fmla="*/ 0 f43 1"/>
                <a:gd name="f56" fmla="*/ 29 f43 1"/>
                <a:gd name="f57" fmla="*/ 58 f43 1"/>
                <a:gd name="f58" fmla="*/ 37 f43 1"/>
                <a:gd name="f59" fmla="*/ 70 f43 1"/>
                <a:gd name="f60" fmla="*/ 77 f43 1"/>
                <a:gd name="f61" fmla="*/ 67 f43 1"/>
                <a:gd name="f62" fmla="*/ 49 f43 1"/>
                <a:gd name="f63" fmla="*/ 39 f43 1"/>
                <a:gd name="f64" fmla="*/ 50 f43 1"/>
                <a:gd name="f65" fmla="*/ 8 f43 1"/>
                <a:gd name="f66" fmla="*/ 43 f43 1"/>
                <a:gd name="f67" fmla="*/ 47 f43 1"/>
                <a:gd name="f68" fmla="*/ 44 f43 1"/>
                <a:gd name="f69" fmla="*/ 46 f43 1"/>
                <a:gd name="f70" fmla="*/ 56 f43 1"/>
                <a:gd name="f71" fmla="+- f44 0 f1"/>
                <a:gd name="f72" fmla="*/ f46 1 85"/>
                <a:gd name="f73" fmla="*/ f47 1 85"/>
                <a:gd name="f74" fmla="*/ f48 1 85"/>
                <a:gd name="f75" fmla="*/ f49 1 85"/>
                <a:gd name="f76" fmla="*/ f50 1 85"/>
                <a:gd name="f77" fmla="*/ f51 1 85"/>
                <a:gd name="f78" fmla="*/ f52 1 85"/>
                <a:gd name="f79" fmla="*/ f53 1 85"/>
                <a:gd name="f80" fmla="*/ f54 1 85"/>
                <a:gd name="f81" fmla="*/ f55 1 85"/>
                <a:gd name="f82" fmla="*/ f56 1 85"/>
                <a:gd name="f83" fmla="*/ f57 1 85"/>
                <a:gd name="f84" fmla="*/ f58 1 85"/>
                <a:gd name="f85" fmla="*/ f59 1 85"/>
                <a:gd name="f86" fmla="*/ f60 1 85"/>
                <a:gd name="f87" fmla="*/ f61 1 85"/>
                <a:gd name="f88" fmla="*/ f62 1 85"/>
                <a:gd name="f89" fmla="*/ f63 1 85"/>
                <a:gd name="f90" fmla="*/ f64 1 85"/>
                <a:gd name="f91" fmla="*/ f65 1 85"/>
                <a:gd name="f92" fmla="*/ f66 1 85"/>
                <a:gd name="f93" fmla="*/ f67 1 85"/>
                <a:gd name="f94" fmla="*/ f68 1 85"/>
                <a:gd name="f95" fmla="*/ f69 1 85"/>
                <a:gd name="f96" fmla="*/ f70 1 85"/>
                <a:gd name="f97" fmla="*/ 0 1 f45"/>
                <a:gd name="f98" fmla="*/ f41 1 f45"/>
                <a:gd name="f99" fmla="*/ f72 1 f45"/>
                <a:gd name="f100" fmla="*/ f73 1 f45"/>
                <a:gd name="f101" fmla="*/ f74 1 f45"/>
                <a:gd name="f102" fmla="*/ f75 1 f45"/>
                <a:gd name="f103" fmla="*/ f76 1 f45"/>
                <a:gd name="f104" fmla="*/ f77 1 f45"/>
                <a:gd name="f105" fmla="*/ f78 1 f45"/>
                <a:gd name="f106" fmla="*/ f79 1 f45"/>
                <a:gd name="f107" fmla="*/ f80 1 f45"/>
                <a:gd name="f108" fmla="*/ f81 1 f45"/>
                <a:gd name="f109" fmla="*/ f82 1 f45"/>
                <a:gd name="f110" fmla="*/ f83 1 f45"/>
                <a:gd name="f111" fmla="*/ f84 1 f45"/>
                <a:gd name="f112" fmla="*/ f85 1 f45"/>
                <a:gd name="f113" fmla="*/ f86 1 f45"/>
                <a:gd name="f114" fmla="*/ f87 1 f45"/>
                <a:gd name="f115" fmla="*/ f88 1 f45"/>
                <a:gd name="f116" fmla="*/ f89 1 f45"/>
                <a:gd name="f117" fmla="*/ f90 1 f45"/>
                <a:gd name="f118" fmla="*/ f91 1 f45"/>
                <a:gd name="f119" fmla="*/ f92 1 f45"/>
                <a:gd name="f120" fmla="*/ f93 1 f45"/>
                <a:gd name="f121" fmla="*/ f94 1 f45"/>
                <a:gd name="f122" fmla="*/ f95 1 f45"/>
                <a:gd name="f123" fmla="*/ f96 1 f45"/>
                <a:gd name="f124" fmla="*/ f97 f38 1"/>
                <a:gd name="f125" fmla="*/ f98 f38 1"/>
                <a:gd name="f126" fmla="*/ f98 f39 1"/>
                <a:gd name="f127" fmla="*/ f97 f39 1"/>
                <a:gd name="f128" fmla="*/ f99 f38 1"/>
                <a:gd name="f129" fmla="*/ f99 f39 1"/>
                <a:gd name="f130" fmla="*/ f100 f38 1"/>
                <a:gd name="f131" fmla="*/ f101 f39 1"/>
                <a:gd name="f132" fmla="*/ f102 f38 1"/>
                <a:gd name="f133" fmla="*/ f103 f39 1"/>
                <a:gd name="f134" fmla="*/ f104 f38 1"/>
                <a:gd name="f135" fmla="*/ f105 f39 1"/>
                <a:gd name="f136" fmla="*/ f106 f38 1"/>
                <a:gd name="f137" fmla="*/ f107 f39 1"/>
                <a:gd name="f138" fmla="*/ f108 f38 1"/>
                <a:gd name="f139" fmla="*/ f109 f39 1"/>
                <a:gd name="f140" fmla="*/ f108 f39 1"/>
                <a:gd name="f141" fmla="*/ f107 f38 1"/>
                <a:gd name="f142" fmla="*/ f110 f38 1"/>
                <a:gd name="f143" fmla="*/ f111 f39 1"/>
                <a:gd name="f144" fmla="*/ f112 f38 1"/>
                <a:gd name="f145" fmla="*/ f113 f39 1"/>
                <a:gd name="f146" fmla="*/ f113 f38 1"/>
                <a:gd name="f147" fmla="*/ f114 f39 1"/>
                <a:gd name="f148" fmla="*/ f115 f38 1"/>
                <a:gd name="f149" fmla="*/ f116 f39 1"/>
                <a:gd name="f150" fmla="*/ f117 f38 1"/>
                <a:gd name="f151" fmla="*/ f118 f39 1"/>
                <a:gd name="f152" fmla="*/ f118 f38 1"/>
                <a:gd name="f153" fmla="*/ f102 f39 1"/>
                <a:gd name="f154" fmla="*/ f119 f38 1"/>
                <a:gd name="f155" fmla="*/ f120 f39 1"/>
                <a:gd name="f156" fmla="*/ f121 f38 1"/>
                <a:gd name="f157" fmla="*/ f122 f39 1"/>
                <a:gd name="f158" fmla="*/ f117 f39 1"/>
                <a:gd name="f159" fmla="*/ f123 f39 1"/>
              </a:gdLst>
              <a:ahLst/>
              <a:cxnLst>
                <a:cxn ang="3cd4">
                  <a:pos x="hc" y="t"/>
                </a:cxn>
                <a:cxn ang="0">
                  <a:pos x="r" y="vc"/>
                </a:cxn>
                <a:cxn ang="cd4">
                  <a:pos x="hc" y="b"/>
                </a:cxn>
                <a:cxn ang="cd2">
                  <a:pos x="l" y="vc"/>
                </a:cxn>
                <a:cxn ang="f71">
                  <a:pos x="f128" y="f129"/>
                </a:cxn>
                <a:cxn ang="f71">
                  <a:pos x="f130" y="f129"/>
                </a:cxn>
                <a:cxn ang="f71">
                  <a:pos x="f130" y="f131"/>
                </a:cxn>
                <a:cxn ang="f71">
                  <a:pos x="f132" y="f131"/>
                </a:cxn>
                <a:cxn ang="f71">
                  <a:pos x="f132" y="f133"/>
                </a:cxn>
                <a:cxn ang="f71">
                  <a:pos x="f134" y="f133"/>
                </a:cxn>
                <a:cxn ang="f71">
                  <a:pos x="f134" y="f135"/>
                </a:cxn>
                <a:cxn ang="f71">
                  <a:pos x="f136" y="f137"/>
                </a:cxn>
                <a:cxn ang="f71">
                  <a:pos x="f138" y="f139"/>
                </a:cxn>
                <a:cxn ang="f71">
                  <a:pos x="f136" y="f140"/>
                </a:cxn>
                <a:cxn ang="f71">
                  <a:pos x="f141" y="f139"/>
                </a:cxn>
                <a:cxn ang="f71">
                  <a:pos x="f142" y="f143"/>
                </a:cxn>
                <a:cxn ang="f71">
                  <a:pos x="f128" y="f133"/>
                </a:cxn>
                <a:cxn ang="f71">
                  <a:pos x="f128" y="f129"/>
                </a:cxn>
                <a:cxn ang="f71">
                  <a:pos x="f144" y="f145"/>
                </a:cxn>
                <a:cxn ang="f71">
                  <a:pos x="f146" y="f145"/>
                </a:cxn>
                <a:cxn ang="f71">
                  <a:pos x="f146" y="f147"/>
                </a:cxn>
                <a:cxn ang="f71">
                  <a:pos x="f148" y="f149"/>
                </a:cxn>
                <a:cxn ang="f71">
                  <a:pos x="f150" y="f143"/>
                </a:cxn>
                <a:cxn ang="f71">
                  <a:pos x="f132" y="f139"/>
                </a:cxn>
                <a:cxn ang="f71">
                  <a:pos x="f136" y="f151"/>
                </a:cxn>
                <a:cxn ang="f71">
                  <a:pos x="f152" y="f139"/>
                </a:cxn>
                <a:cxn ang="f71">
                  <a:pos x="f136" y="f153"/>
                </a:cxn>
                <a:cxn ang="f71">
                  <a:pos x="f154" y="f155"/>
                </a:cxn>
                <a:cxn ang="f71">
                  <a:pos x="f156" y="f157"/>
                </a:cxn>
                <a:cxn ang="f71">
                  <a:pos x="f148" y="f157"/>
                </a:cxn>
                <a:cxn ang="f71">
                  <a:pos x="f148" y="f158"/>
                </a:cxn>
                <a:cxn ang="f71">
                  <a:pos x="f148" y="f159"/>
                </a:cxn>
                <a:cxn ang="f71">
                  <a:pos x="f141" y="f159"/>
                </a:cxn>
                <a:cxn ang="f71">
                  <a:pos x="f141" y="f147"/>
                </a:cxn>
                <a:cxn ang="f71">
                  <a:pos x="f144" y="f147"/>
                </a:cxn>
                <a:cxn ang="f71">
                  <a:pos x="f144" y="f145"/>
                </a:cxn>
              </a:cxnLst>
              <a:rect l="f124" t="f127" r="f125" b="f126"/>
              <a:pathLst>
                <a:path w="85" h="85">
                  <a:moveTo>
                    <a:pt x="f6" y="f6"/>
                  </a:moveTo>
                  <a:cubicBezTo>
                    <a:pt x="f7" y="f6"/>
                    <a:pt x="f7" y="f6"/>
                    <a:pt x="f7" y="f6"/>
                  </a:cubicBezTo>
                  <a:cubicBezTo>
                    <a:pt x="f7" y="f8"/>
                    <a:pt x="f7" y="f8"/>
                    <a:pt x="f7" y="f8"/>
                  </a:cubicBezTo>
                  <a:cubicBezTo>
                    <a:pt x="f9" y="f8"/>
                    <a:pt x="f9" y="f8"/>
                    <a:pt x="f9" y="f8"/>
                  </a:cubicBezTo>
                  <a:cubicBezTo>
                    <a:pt x="f9" y="f10"/>
                    <a:pt x="f9" y="f10"/>
                    <a:pt x="f9" y="f10"/>
                  </a:cubicBezTo>
                  <a:cubicBezTo>
                    <a:pt x="f11" y="f10"/>
                    <a:pt x="f11" y="f10"/>
                    <a:pt x="f11" y="f10"/>
                  </a:cubicBezTo>
                  <a:cubicBezTo>
                    <a:pt x="f11" y="f12"/>
                    <a:pt x="f11" y="f12"/>
                    <a:pt x="f11" y="f12"/>
                  </a:cubicBezTo>
                  <a:cubicBezTo>
                    <a:pt x="f13" y="f14"/>
                    <a:pt x="f15" y="f16"/>
                    <a:pt x="f17" y="f16"/>
                  </a:cubicBezTo>
                  <a:cubicBezTo>
                    <a:pt x="f18" y="f16"/>
                    <a:pt x="f5" y="f19"/>
                    <a:pt x="f5" y="f20"/>
                  </a:cubicBezTo>
                  <a:cubicBezTo>
                    <a:pt x="f5" y="f18"/>
                    <a:pt x="f18" y="f5"/>
                    <a:pt x="f17" y="f5"/>
                  </a:cubicBezTo>
                  <a:cubicBezTo>
                    <a:pt x="f19" y="f5"/>
                    <a:pt x="f16" y="f18"/>
                    <a:pt x="f16" y="f20"/>
                  </a:cubicBezTo>
                  <a:cubicBezTo>
                    <a:pt x="f16" y="f21"/>
                    <a:pt x="f16" y="f22"/>
                    <a:pt x="f14" y="f13"/>
                  </a:cubicBezTo>
                  <a:cubicBezTo>
                    <a:pt x="f6" y="f10"/>
                    <a:pt x="f6" y="f10"/>
                    <a:pt x="f6" y="f10"/>
                  </a:cubicBezTo>
                  <a:lnTo>
                    <a:pt x="f6" y="f6"/>
                  </a:lnTo>
                  <a:close/>
                  <a:moveTo>
                    <a:pt x="f23" y="f24"/>
                  </a:moveTo>
                  <a:cubicBezTo>
                    <a:pt x="f24" y="f24"/>
                    <a:pt x="f24" y="f24"/>
                    <a:pt x="f24" y="f24"/>
                  </a:cubicBezTo>
                  <a:cubicBezTo>
                    <a:pt x="f24" y="f25"/>
                    <a:pt x="f24" y="f25"/>
                    <a:pt x="f24" y="f25"/>
                  </a:cubicBezTo>
                  <a:cubicBezTo>
                    <a:pt x="f26" y="f27"/>
                    <a:pt x="f26" y="f27"/>
                    <a:pt x="f26" y="f27"/>
                  </a:cubicBezTo>
                  <a:cubicBezTo>
                    <a:pt x="f28" y="f13"/>
                    <a:pt x="f28" y="f13"/>
                    <a:pt x="f28" y="f13"/>
                  </a:cubicBezTo>
                  <a:cubicBezTo>
                    <a:pt x="f9" y="f15"/>
                    <a:pt x="f9" y="f21"/>
                    <a:pt x="f9" y="f20"/>
                  </a:cubicBezTo>
                  <a:cubicBezTo>
                    <a:pt x="f9" y="f29"/>
                    <a:pt x="f30" y="f31"/>
                    <a:pt x="f17" y="f31"/>
                  </a:cubicBezTo>
                  <a:cubicBezTo>
                    <a:pt x="f32" y="f31"/>
                    <a:pt x="f31" y="f29"/>
                    <a:pt x="f31" y="f20"/>
                  </a:cubicBezTo>
                  <a:cubicBezTo>
                    <a:pt x="f31" y="f30"/>
                    <a:pt x="f32" y="f9"/>
                    <a:pt x="f17" y="f9"/>
                  </a:cubicBezTo>
                  <a:cubicBezTo>
                    <a:pt x="f15" y="f9"/>
                    <a:pt x="f27" y="f28"/>
                    <a:pt x="f33" y="f34"/>
                  </a:cubicBezTo>
                  <a:cubicBezTo>
                    <a:pt x="f35" y="f19"/>
                    <a:pt x="f35" y="f19"/>
                    <a:pt x="f35" y="f19"/>
                  </a:cubicBezTo>
                  <a:cubicBezTo>
                    <a:pt x="f26" y="f19"/>
                    <a:pt x="f26" y="f19"/>
                    <a:pt x="f26" y="f19"/>
                  </a:cubicBezTo>
                  <a:cubicBezTo>
                    <a:pt x="f26" y="f28"/>
                    <a:pt x="f26" y="f28"/>
                    <a:pt x="f26" y="f28"/>
                  </a:cubicBezTo>
                  <a:cubicBezTo>
                    <a:pt x="f26" y="f36"/>
                    <a:pt x="f26" y="f36"/>
                    <a:pt x="f26" y="f36"/>
                  </a:cubicBezTo>
                  <a:cubicBezTo>
                    <a:pt x="f16" y="f36"/>
                    <a:pt x="f16" y="f36"/>
                    <a:pt x="f16" y="f36"/>
                  </a:cubicBezTo>
                  <a:cubicBezTo>
                    <a:pt x="f16" y="f25"/>
                    <a:pt x="f16" y="f25"/>
                    <a:pt x="f16" y="f25"/>
                  </a:cubicBezTo>
                  <a:cubicBezTo>
                    <a:pt x="f23" y="f25"/>
                    <a:pt x="f23" y="f25"/>
                    <a:pt x="f23" y="f25"/>
                  </a:cubicBezTo>
                  <a:lnTo>
                    <a:pt x="f23" y="f24"/>
                  </a:lnTo>
                  <a:close/>
                </a:path>
              </a:pathLst>
            </a:custGeom>
            <a:grpFill/>
            <a:ln cap="flat">
              <a:noFill/>
              <a:prstDash val="solid"/>
            </a:ln>
          </p:spPr>
          <p:txBody>
            <a:bodyPr vert="horz" wrap="square" lIns="89642" tIns="44821" rIns="89642" bIns="44821" anchor="t" anchorCtr="0" compatLnSpc="1">
              <a:noAutofit/>
            </a:bodyPr>
            <a:lstStyle/>
            <a:p>
              <a:pPr defTabSz="914367">
                <a:defRPr sz="1800" b="0" i="0" u="none" strike="noStrike" kern="0" cap="none" spc="0" baseline="0">
                  <a:solidFill>
                    <a:srgbClr val="000000"/>
                  </a:solidFill>
                  <a:uFillTx/>
                </a:defRPr>
              </a:pPr>
              <a:endParaRPr lang="en-US" sz="1765">
                <a:solidFill>
                  <a:srgbClr val="505050"/>
                </a:solidFill>
                <a:latin typeface="Segoe UI"/>
              </a:endParaRPr>
            </a:p>
          </p:txBody>
        </p:sp>
        <p:sp>
          <p:nvSpPr>
            <p:cNvPr id="132" name="Oval 2004">
              <a:extLst>
                <a:ext uri="{FF2B5EF4-FFF2-40B4-BE49-F238E27FC236}">
                  <a16:creationId xmlns:a16="http://schemas.microsoft.com/office/drawing/2014/main" id="{834789B1-18B0-4280-89AD-D53FB8A8B313}"/>
                </a:ext>
              </a:extLst>
            </p:cNvPr>
            <p:cNvSpPr/>
            <p:nvPr/>
          </p:nvSpPr>
          <p:spPr>
            <a:xfrm>
              <a:off x="6256105" y="2680965"/>
              <a:ext cx="37234" cy="3723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grpFill/>
            <a:ln cap="flat">
              <a:noFill/>
              <a:prstDash val="solid"/>
            </a:ln>
          </p:spPr>
          <p:txBody>
            <a:bodyPr vert="horz" wrap="square" lIns="89642" tIns="44821" rIns="89642" bIns="44821" anchor="t" anchorCtr="0" compatLnSpc="1">
              <a:noAutofit/>
            </a:bodyPr>
            <a:lstStyle/>
            <a:p>
              <a:pPr defTabSz="914367">
                <a:defRPr sz="1800" b="0" i="0" u="none" strike="noStrike" kern="0" cap="none" spc="0" baseline="0">
                  <a:solidFill>
                    <a:srgbClr val="000000"/>
                  </a:solidFill>
                  <a:uFillTx/>
                </a:defRPr>
              </a:pPr>
              <a:endParaRPr lang="en-US" sz="1765">
                <a:solidFill>
                  <a:srgbClr val="505050"/>
                </a:solidFill>
                <a:latin typeface="Segoe UI"/>
              </a:endParaRPr>
            </a:p>
          </p:txBody>
        </p:sp>
        <p:sp>
          <p:nvSpPr>
            <p:cNvPr id="133" name="Freeform 2005">
              <a:extLst>
                <a:ext uri="{FF2B5EF4-FFF2-40B4-BE49-F238E27FC236}">
                  <a16:creationId xmlns:a16="http://schemas.microsoft.com/office/drawing/2014/main" id="{B89F6071-9BEC-451B-B0E3-400BD3024248}"/>
                </a:ext>
              </a:extLst>
            </p:cNvPr>
            <p:cNvSpPr/>
            <p:nvPr/>
          </p:nvSpPr>
          <p:spPr>
            <a:xfrm>
              <a:off x="6131984" y="2691829"/>
              <a:ext cx="167563" cy="327364"/>
            </a:xfrm>
            <a:custGeom>
              <a:avLst/>
              <a:gdLst>
                <a:gd name="f0" fmla="val 10800000"/>
                <a:gd name="f1" fmla="val 5400000"/>
                <a:gd name="f2" fmla="val 180"/>
                <a:gd name="f3" fmla="val w"/>
                <a:gd name="f4" fmla="val h"/>
                <a:gd name="f5" fmla="val 0"/>
                <a:gd name="f6" fmla="val 46"/>
                <a:gd name="f7" fmla="val 89"/>
                <a:gd name="f8" fmla="val 31"/>
                <a:gd name="f9" fmla="val 18"/>
                <a:gd name="f10" fmla="val 78"/>
                <a:gd name="f11" fmla="val 15"/>
                <a:gd name="f12" fmla="val 13"/>
                <a:gd name="f13" fmla="val 45"/>
                <a:gd name="f14" fmla="val 11"/>
                <a:gd name="f15" fmla="val 44"/>
                <a:gd name="f16" fmla="val 9"/>
                <a:gd name="f17" fmla="val 43"/>
                <a:gd name="f18" fmla="val 4"/>
                <a:gd name="f19" fmla="val 39"/>
                <a:gd name="f20" fmla="val 1"/>
                <a:gd name="f21" fmla="val 33"/>
                <a:gd name="f22" fmla="val 26"/>
                <a:gd name="f23" fmla="val 20"/>
                <a:gd name="f24" fmla="val 2"/>
                <a:gd name="f25" fmla="val 6"/>
                <a:gd name="f26" fmla="val 8"/>
                <a:gd name="f27" fmla="val 17"/>
                <a:gd name="f28" fmla="val 19"/>
                <a:gd name="f29" fmla="val 21"/>
                <a:gd name="f30" fmla="val 10"/>
                <a:gd name="f31" fmla="val 12"/>
                <a:gd name="f32" fmla="val 16"/>
                <a:gd name="f33" fmla="val 7"/>
                <a:gd name="f34" fmla="val 30"/>
                <a:gd name="f35" fmla="val 35"/>
                <a:gd name="f36" fmla="val 14"/>
                <a:gd name="f37" fmla="val 38"/>
                <a:gd name="f38" fmla="val 40"/>
                <a:gd name="f39" fmla="val 41"/>
                <a:gd name="f40" fmla="val 42"/>
                <a:gd name="f41" fmla="val 24"/>
                <a:gd name="f42" fmla="val 75"/>
                <a:gd name="f43" fmla="val 80"/>
                <a:gd name="f44" fmla="val 34"/>
                <a:gd name="f45" fmla="val 28"/>
                <a:gd name="f46" fmla="val 69"/>
                <a:gd name="f47" fmla="val 63"/>
                <a:gd name="f48" fmla="val 27"/>
                <a:gd name="f49" fmla="val 57"/>
                <a:gd name="f50" fmla="val 32"/>
                <a:gd name="f51" fmla="val 51"/>
                <a:gd name="f52" fmla="val 25"/>
                <a:gd name="f53" fmla="val 37"/>
                <a:gd name="f54" fmla="val 50"/>
                <a:gd name="f55" fmla="val 36"/>
                <a:gd name="f56" fmla="val 62"/>
                <a:gd name="f57" fmla="val 74"/>
                <a:gd name="f58" fmla="+- 0 0 -90"/>
                <a:gd name="f59" fmla="*/ f3 1 46"/>
                <a:gd name="f60" fmla="*/ f4 1 89"/>
                <a:gd name="f61" fmla="val f5"/>
                <a:gd name="f62" fmla="val f6"/>
                <a:gd name="f63" fmla="val f7"/>
                <a:gd name="f64" fmla="*/ f58 f0 1"/>
                <a:gd name="f65" fmla="+- f63 0 f61"/>
                <a:gd name="f66" fmla="+- f62 0 f61"/>
                <a:gd name="f67" fmla="*/ f64 1 f2"/>
                <a:gd name="f68" fmla="*/ f66 1 46"/>
                <a:gd name="f69" fmla="*/ f65 1 89"/>
                <a:gd name="f70" fmla="*/ 31 f66 1"/>
                <a:gd name="f71" fmla="*/ 89 f65 1"/>
                <a:gd name="f72" fmla="*/ 18 f66 1"/>
                <a:gd name="f73" fmla="*/ 78 f65 1"/>
                <a:gd name="f74" fmla="*/ 15 f66 1"/>
                <a:gd name="f75" fmla="*/ 46 f65 1"/>
                <a:gd name="f76" fmla="*/ 9 f66 1"/>
                <a:gd name="f77" fmla="*/ 43 f65 1"/>
                <a:gd name="f78" fmla="*/ 0 f66 1"/>
                <a:gd name="f79" fmla="*/ 26 f65 1"/>
                <a:gd name="f80" fmla="*/ 6 f66 1"/>
                <a:gd name="f81" fmla="*/ 8 f65 1"/>
                <a:gd name="f82" fmla="*/ 19 f66 1"/>
                <a:gd name="f83" fmla="*/ 0 f65 1"/>
                <a:gd name="f84" fmla="*/ 21 f66 1"/>
                <a:gd name="f85" fmla="*/ 6 f65 1"/>
                <a:gd name="f86" fmla="*/ 11 f66 1"/>
                <a:gd name="f87" fmla="*/ 12 f65 1"/>
                <a:gd name="f88" fmla="*/ 7 f66 1"/>
                <a:gd name="f89" fmla="*/ 14 f66 1"/>
                <a:gd name="f90" fmla="*/ 38 f65 1"/>
                <a:gd name="f91" fmla="*/ 41 f65 1"/>
                <a:gd name="f92" fmla="*/ 42 f65 1"/>
                <a:gd name="f93" fmla="*/ 24 f66 1"/>
                <a:gd name="f94" fmla="*/ 75 f65 1"/>
                <a:gd name="f95" fmla="*/ 30 f66 1"/>
                <a:gd name="f96" fmla="*/ 80 f65 1"/>
                <a:gd name="f97" fmla="*/ 34 f66 1"/>
                <a:gd name="f98" fmla="*/ 28 f66 1"/>
                <a:gd name="f99" fmla="*/ 69 f65 1"/>
                <a:gd name="f100" fmla="*/ 33 f66 1"/>
                <a:gd name="f101" fmla="*/ 63 f65 1"/>
                <a:gd name="f102" fmla="*/ 27 f66 1"/>
                <a:gd name="f103" fmla="*/ 57 f65 1"/>
                <a:gd name="f104" fmla="*/ 32 f66 1"/>
                <a:gd name="f105" fmla="*/ 51 f65 1"/>
                <a:gd name="f106" fmla="*/ 25 f66 1"/>
                <a:gd name="f107" fmla="*/ 45 f65 1"/>
                <a:gd name="f108" fmla="*/ 41 f66 1"/>
                <a:gd name="f109" fmla="*/ 34 f65 1"/>
                <a:gd name="f110" fmla="*/ 46 f66 1"/>
                <a:gd name="f111" fmla="*/ 37 f66 1"/>
                <a:gd name="f112" fmla="*/ 42 f66 1"/>
                <a:gd name="f113" fmla="*/ 50 f65 1"/>
                <a:gd name="f114" fmla="*/ 36 f66 1"/>
                <a:gd name="f115" fmla="*/ 43 f66 1"/>
                <a:gd name="f116" fmla="*/ 62 f65 1"/>
                <a:gd name="f117" fmla="*/ 44 f66 1"/>
                <a:gd name="f118" fmla="*/ 74 f65 1"/>
                <a:gd name="f119" fmla="+- f67 0 f1"/>
                <a:gd name="f120" fmla="*/ f70 1 46"/>
                <a:gd name="f121" fmla="*/ f71 1 89"/>
                <a:gd name="f122" fmla="*/ f72 1 46"/>
                <a:gd name="f123" fmla="*/ f73 1 89"/>
                <a:gd name="f124" fmla="*/ f74 1 46"/>
                <a:gd name="f125" fmla="*/ f75 1 89"/>
                <a:gd name="f126" fmla="*/ f76 1 46"/>
                <a:gd name="f127" fmla="*/ f77 1 89"/>
                <a:gd name="f128" fmla="*/ f78 1 46"/>
                <a:gd name="f129" fmla="*/ f79 1 89"/>
                <a:gd name="f130" fmla="*/ f80 1 46"/>
                <a:gd name="f131" fmla="*/ f81 1 89"/>
                <a:gd name="f132" fmla="*/ f82 1 46"/>
                <a:gd name="f133" fmla="*/ f83 1 89"/>
                <a:gd name="f134" fmla="*/ f84 1 46"/>
                <a:gd name="f135" fmla="*/ f85 1 89"/>
                <a:gd name="f136" fmla="*/ f86 1 46"/>
                <a:gd name="f137" fmla="*/ f87 1 89"/>
                <a:gd name="f138" fmla="*/ f88 1 46"/>
                <a:gd name="f139" fmla="*/ f89 1 46"/>
                <a:gd name="f140" fmla="*/ f90 1 89"/>
                <a:gd name="f141" fmla="*/ f91 1 89"/>
                <a:gd name="f142" fmla="*/ f92 1 89"/>
                <a:gd name="f143" fmla="*/ f93 1 46"/>
                <a:gd name="f144" fmla="*/ f94 1 89"/>
                <a:gd name="f145" fmla="*/ f95 1 46"/>
                <a:gd name="f146" fmla="*/ f96 1 89"/>
                <a:gd name="f147" fmla="*/ f97 1 46"/>
                <a:gd name="f148" fmla="*/ f98 1 46"/>
                <a:gd name="f149" fmla="*/ f99 1 89"/>
                <a:gd name="f150" fmla="*/ f100 1 46"/>
                <a:gd name="f151" fmla="*/ f101 1 89"/>
                <a:gd name="f152" fmla="*/ f102 1 46"/>
                <a:gd name="f153" fmla="*/ f103 1 89"/>
                <a:gd name="f154" fmla="*/ f104 1 46"/>
                <a:gd name="f155" fmla="*/ f105 1 89"/>
                <a:gd name="f156" fmla="*/ f106 1 46"/>
                <a:gd name="f157" fmla="*/ f107 1 89"/>
                <a:gd name="f158" fmla="*/ f108 1 46"/>
                <a:gd name="f159" fmla="*/ f109 1 89"/>
                <a:gd name="f160" fmla="*/ f110 1 46"/>
                <a:gd name="f161" fmla="*/ f111 1 46"/>
                <a:gd name="f162" fmla="*/ f112 1 46"/>
                <a:gd name="f163" fmla="*/ f113 1 89"/>
                <a:gd name="f164" fmla="*/ f114 1 46"/>
                <a:gd name="f165" fmla="*/ f115 1 46"/>
                <a:gd name="f166" fmla="*/ f116 1 89"/>
                <a:gd name="f167" fmla="*/ f117 1 46"/>
                <a:gd name="f168" fmla="*/ f118 1 89"/>
                <a:gd name="f169" fmla="*/ 0 1 f68"/>
                <a:gd name="f170" fmla="*/ f62 1 f68"/>
                <a:gd name="f171" fmla="*/ 0 1 f69"/>
                <a:gd name="f172" fmla="*/ f63 1 f69"/>
                <a:gd name="f173" fmla="*/ f120 1 f68"/>
                <a:gd name="f174" fmla="*/ f121 1 f69"/>
                <a:gd name="f175" fmla="*/ f122 1 f68"/>
                <a:gd name="f176" fmla="*/ f123 1 f69"/>
                <a:gd name="f177" fmla="*/ f124 1 f68"/>
                <a:gd name="f178" fmla="*/ f125 1 f69"/>
                <a:gd name="f179" fmla="*/ f126 1 f68"/>
                <a:gd name="f180" fmla="*/ f127 1 f69"/>
                <a:gd name="f181" fmla="*/ f128 1 f68"/>
                <a:gd name="f182" fmla="*/ f129 1 f69"/>
                <a:gd name="f183" fmla="*/ f130 1 f68"/>
                <a:gd name="f184" fmla="*/ f131 1 f69"/>
                <a:gd name="f185" fmla="*/ f132 1 f68"/>
                <a:gd name="f186" fmla="*/ f133 1 f69"/>
                <a:gd name="f187" fmla="*/ f134 1 f68"/>
                <a:gd name="f188" fmla="*/ f135 1 f69"/>
                <a:gd name="f189" fmla="*/ f136 1 f68"/>
                <a:gd name="f190" fmla="*/ f137 1 f69"/>
                <a:gd name="f191" fmla="*/ f138 1 f68"/>
                <a:gd name="f192" fmla="*/ f139 1 f68"/>
                <a:gd name="f193" fmla="*/ f140 1 f69"/>
                <a:gd name="f194" fmla="*/ f141 1 f69"/>
                <a:gd name="f195" fmla="*/ f142 1 f69"/>
                <a:gd name="f196" fmla="*/ f143 1 f68"/>
                <a:gd name="f197" fmla="*/ f144 1 f69"/>
                <a:gd name="f198" fmla="*/ f145 1 f68"/>
                <a:gd name="f199" fmla="*/ f146 1 f69"/>
                <a:gd name="f200" fmla="*/ f147 1 f68"/>
                <a:gd name="f201" fmla="*/ f148 1 f68"/>
                <a:gd name="f202" fmla="*/ f149 1 f69"/>
                <a:gd name="f203" fmla="*/ f150 1 f68"/>
                <a:gd name="f204" fmla="*/ f151 1 f69"/>
                <a:gd name="f205" fmla="*/ f152 1 f68"/>
                <a:gd name="f206" fmla="*/ f153 1 f69"/>
                <a:gd name="f207" fmla="*/ f154 1 f68"/>
                <a:gd name="f208" fmla="*/ f155 1 f69"/>
                <a:gd name="f209" fmla="*/ f156 1 f68"/>
                <a:gd name="f210" fmla="*/ f157 1 f69"/>
                <a:gd name="f211" fmla="*/ f158 1 f68"/>
                <a:gd name="f212" fmla="*/ f159 1 f69"/>
                <a:gd name="f213" fmla="*/ f160 1 f68"/>
                <a:gd name="f214" fmla="*/ f161 1 f68"/>
                <a:gd name="f215" fmla="*/ f162 1 f68"/>
                <a:gd name="f216" fmla="*/ f163 1 f69"/>
                <a:gd name="f217" fmla="*/ f164 1 f68"/>
                <a:gd name="f218" fmla="*/ f165 1 f68"/>
                <a:gd name="f219" fmla="*/ f166 1 f69"/>
                <a:gd name="f220" fmla="*/ f167 1 f68"/>
                <a:gd name="f221" fmla="*/ f168 1 f69"/>
                <a:gd name="f222" fmla="*/ f169 f59 1"/>
                <a:gd name="f223" fmla="*/ f170 f59 1"/>
                <a:gd name="f224" fmla="*/ f172 f60 1"/>
                <a:gd name="f225" fmla="*/ f171 f60 1"/>
                <a:gd name="f226" fmla="*/ f173 f59 1"/>
                <a:gd name="f227" fmla="*/ f174 f60 1"/>
                <a:gd name="f228" fmla="*/ f175 f59 1"/>
                <a:gd name="f229" fmla="*/ f176 f60 1"/>
                <a:gd name="f230" fmla="*/ f177 f59 1"/>
                <a:gd name="f231" fmla="*/ f178 f60 1"/>
                <a:gd name="f232" fmla="*/ f179 f59 1"/>
                <a:gd name="f233" fmla="*/ f180 f60 1"/>
                <a:gd name="f234" fmla="*/ f181 f59 1"/>
                <a:gd name="f235" fmla="*/ f182 f60 1"/>
                <a:gd name="f236" fmla="*/ f183 f59 1"/>
                <a:gd name="f237" fmla="*/ f184 f60 1"/>
                <a:gd name="f238" fmla="*/ f185 f59 1"/>
                <a:gd name="f239" fmla="*/ f186 f60 1"/>
                <a:gd name="f240" fmla="*/ f187 f59 1"/>
                <a:gd name="f241" fmla="*/ f188 f60 1"/>
                <a:gd name="f242" fmla="*/ f189 f59 1"/>
                <a:gd name="f243" fmla="*/ f190 f60 1"/>
                <a:gd name="f244" fmla="*/ f191 f59 1"/>
                <a:gd name="f245" fmla="*/ f192 f59 1"/>
                <a:gd name="f246" fmla="*/ f193 f60 1"/>
                <a:gd name="f247" fmla="*/ f194 f60 1"/>
                <a:gd name="f248" fmla="*/ f195 f60 1"/>
                <a:gd name="f249" fmla="*/ f196 f59 1"/>
                <a:gd name="f250" fmla="*/ f197 f60 1"/>
                <a:gd name="f251" fmla="*/ f198 f59 1"/>
                <a:gd name="f252" fmla="*/ f199 f60 1"/>
                <a:gd name="f253" fmla="*/ f200 f59 1"/>
                <a:gd name="f254" fmla="*/ f201 f59 1"/>
                <a:gd name="f255" fmla="*/ f202 f60 1"/>
                <a:gd name="f256" fmla="*/ f203 f59 1"/>
                <a:gd name="f257" fmla="*/ f204 f60 1"/>
                <a:gd name="f258" fmla="*/ f205 f59 1"/>
                <a:gd name="f259" fmla="*/ f206 f60 1"/>
                <a:gd name="f260" fmla="*/ f207 f59 1"/>
                <a:gd name="f261" fmla="*/ f208 f60 1"/>
                <a:gd name="f262" fmla="*/ f209 f59 1"/>
                <a:gd name="f263" fmla="*/ f210 f60 1"/>
                <a:gd name="f264" fmla="*/ f211 f59 1"/>
                <a:gd name="f265" fmla="*/ f212 f60 1"/>
                <a:gd name="f266" fmla="*/ f213 f59 1"/>
                <a:gd name="f267" fmla="*/ f214 f59 1"/>
                <a:gd name="f268" fmla="*/ f215 f59 1"/>
                <a:gd name="f269" fmla="*/ f216 f60 1"/>
                <a:gd name="f270" fmla="*/ f217 f59 1"/>
                <a:gd name="f271" fmla="*/ f218 f59 1"/>
                <a:gd name="f272" fmla="*/ f219 f60 1"/>
                <a:gd name="f273" fmla="*/ f220 f59 1"/>
                <a:gd name="f274" fmla="*/ f221 f60 1"/>
              </a:gdLst>
              <a:ahLst/>
              <a:cxnLst>
                <a:cxn ang="3cd4">
                  <a:pos x="hc" y="t"/>
                </a:cxn>
                <a:cxn ang="0">
                  <a:pos x="r" y="vc"/>
                </a:cxn>
                <a:cxn ang="cd4">
                  <a:pos x="hc" y="b"/>
                </a:cxn>
                <a:cxn ang="cd2">
                  <a:pos x="l" y="vc"/>
                </a:cxn>
                <a:cxn ang="f119">
                  <a:pos x="f226" y="f227"/>
                </a:cxn>
                <a:cxn ang="f119">
                  <a:pos x="f228" y="f229"/>
                </a:cxn>
                <a:cxn ang="f119">
                  <a:pos x="f230" y="f231"/>
                </a:cxn>
                <a:cxn ang="f119">
                  <a:pos x="f232" y="f233"/>
                </a:cxn>
                <a:cxn ang="f119">
                  <a:pos x="f234" y="f235"/>
                </a:cxn>
                <a:cxn ang="f119">
                  <a:pos x="f236" y="f237"/>
                </a:cxn>
                <a:cxn ang="f119">
                  <a:pos x="f238" y="f239"/>
                </a:cxn>
                <a:cxn ang="f119">
                  <a:pos x="f240" y="f241"/>
                </a:cxn>
                <a:cxn ang="f119">
                  <a:pos x="f242" y="f243"/>
                </a:cxn>
                <a:cxn ang="f119">
                  <a:pos x="f244" y="f235"/>
                </a:cxn>
                <a:cxn ang="f119">
                  <a:pos x="f245" y="f246"/>
                </a:cxn>
                <a:cxn ang="f119">
                  <a:pos x="f238" y="f247"/>
                </a:cxn>
                <a:cxn ang="f119">
                  <a:pos x="f240" y="f248"/>
                </a:cxn>
                <a:cxn ang="f119">
                  <a:pos x="f249" y="f250"/>
                </a:cxn>
                <a:cxn ang="f119">
                  <a:pos x="f251" y="f252"/>
                </a:cxn>
                <a:cxn ang="f119">
                  <a:pos x="f253" y="f250"/>
                </a:cxn>
                <a:cxn ang="f119">
                  <a:pos x="f254" y="f255"/>
                </a:cxn>
                <a:cxn ang="f119">
                  <a:pos x="f256" y="f257"/>
                </a:cxn>
                <a:cxn ang="f119">
                  <a:pos x="f258" y="f259"/>
                </a:cxn>
                <a:cxn ang="f119">
                  <a:pos x="f260" y="f261"/>
                </a:cxn>
                <a:cxn ang="f119">
                  <a:pos x="f262" y="f263"/>
                </a:cxn>
                <a:cxn ang="f119">
                  <a:pos x="f254" y="f248"/>
                </a:cxn>
                <a:cxn ang="f119">
                  <a:pos x="f251" y="f247"/>
                </a:cxn>
                <a:cxn ang="f119">
                  <a:pos x="f264" y="f265"/>
                </a:cxn>
                <a:cxn ang="f119">
                  <a:pos x="f266" y="f246"/>
                </a:cxn>
                <a:cxn ang="f119">
                  <a:pos x="f267" y="f231"/>
                </a:cxn>
                <a:cxn ang="f119">
                  <a:pos x="f268" y="f269"/>
                </a:cxn>
                <a:cxn ang="f119">
                  <a:pos x="f270" y="f259"/>
                </a:cxn>
                <a:cxn ang="f119">
                  <a:pos x="f271" y="f272"/>
                </a:cxn>
                <a:cxn ang="f119">
                  <a:pos x="f267" y="f255"/>
                </a:cxn>
                <a:cxn ang="f119">
                  <a:pos x="f273" y="f274"/>
                </a:cxn>
                <a:cxn ang="f119">
                  <a:pos x="f226" y="f227"/>
                </a:cxn>
              </a:cxnLst>
              <a:rect l="f222" t="f225" r="f223" b="f224"/>
              <a:pathLst>
                <a:path w="46" h="89">
                  <a:moveTo>
                    <a:pt x="f8" y="f7"/>
                  </a:moveTo>
                  <a:cubicBezTo>
                    <a:pt x="f9" y="f10"/>
                    <a:pt x="f9" y="f10"/>
                    <a:pt x="f9" y="f10"/>
                  </a:cubicBezTo>
                  <a:cubicBezTo>
                    <a:pt x="f11" y="f6"/>
                    <a:pt x="f11" y="f6"/>
                    <a:pt x="f11" y="f6"/>
                  </a:cubicBezTo>
                  <a:cubicBezTo>
                    <a:pt x="f12" y="f13"/>
                    <a:pt x="f14" y="f15"/>
                    <a:pt x="f16" y="f17"/>
                  </a:cubicBezTo>
                  <a:cubicBezTo>
                    <a:pt x="f18" y="f19"/>
                    <a:pt x="f20" y="f21"/>
                    <a:pt x="f5" y="f22"/>
                  </a:cubicBezTo>
                  <a:cubicBezTo>
                    <a:pt x="f5" y="f23"/>
                    <a:pt x="f24" y="f12"/>
                    <a:pt x="f25" y="f26"/>
                  </a:cubicBezTo>
                  <a:cubicBezTo>
                    <a:pt x="f16" y="f18"/>
                    <a:pt x="f27" y="f20"/>
                    <a:pt x="f28" y="f5"/>
                  </a:cubicBezTo>
                  <a:cubicBezTo>
                    <a:pt x="f29" y="f25"/>
                    <a:pt x="f29" y="f25"/>
                    <a:pt x="f29" y="f25"/>
                  </a:cubicBezTo>
                  <a:cubicBezTo>
                    <a:pt x="f9" y="f26"/>
                    <a:pt x="f12" y="f30"/>
                    <a:pt x="f14" y="f31"/>
                  </a:cubicBezTo>
                  <a:cubicBezTo>
                    <a:pt x="f26" y="f32"/>
                    <a:pt x="f33" y="f29"/>
                    <a:pt x="f33" y="f22"/>
                  </a:cubicBezTo>
                  <a:cubicBezTo>
                    <a:pt x="f26" y="f34"/>
                    <a:pt x="f30" y="f35"/>
                    <a:pt x="f36" y="f37"/>
                  </a:cubicBezTo>
                  <a:cubicBezTo>
                    <a:pt x="f11" y="f19"/>
                    <a:pt x="f27" y="f38"/>
                    <a:pt x="f28" y="f39"/>
                  </a:cubicBezTo>
                  <a:cubicBezTo>
                    <a:pt x="f29" y="f40"/>
                    <a:pt x="f29" y="f40"/>
                    <a:pt x="f29" y="f40"/>
                  </a:cubicBezTo>
                  <a:cubicBezTo>
                    <a:pt x="f41" y="f42"/>
                    <a:pt x="f41" y="f42"/>
                    <a:pt x="f41" y="f42"/>
                  </a:cubicBezTo>
                  <a:cubicBezTo>
                    <a:pt x="f34" y="f43"/>
                    <a:pt x="f34" y="f43"/>
                    <a:pt x="f34" y="f43"/>
                  </a:cubicBezTo>
                  <a:cubicBezTo>
                    <a:pt x="f44" y="f42"/>
                    <a:pt x="f44" y="f42"/>
                    <a:pt x="f44" y="f42"/>
                  </a:cubicBezTo>
                  <a:cubicBezTo>
                    <a:pt x="f45" y="f46"/>
                    <a:pt x="f45" y="f46"/>
                    <a:pt x="f45" y="f46"/>
                  </a:cubicBezTo>
                  <a:cubicBezTo>
                    <a:pt x="f21" y="f47"/>
                    <a:pt x="f21" y="f47"/>
                    <a:pt x="f21" y="f47"/>
                  </a:cubicBezTo>
                  <a:cubicBezTo>
                    <a:pt x="f48" y="f49"/>
                    <a:pt x="f48" y="f49"/>
                    <a:pt x="f48" y="f49"/>
                  </a:cubicBezTo>
                  <a:cubicBezTo>
                    <a:pt x="f50" y="f51"/>
                    <a:pt x="f50" y="f51"/>
                    <a:pt x="f50" y="f51"/>
                  </a:cubicBezTo>
                  <a:cubicBezTo>
                    <a:pt x="f52" y="f13"/>
                    <a:pt x="f52" y="f13"/>
                    <a:pt x="f52" y="f13"/>
                  </a:cubicBezTo>
                  <a:cubicBezTo>
                    <a:pt x="f45" y="f40"/>
                    <a:pt x="f45" y="f40"/>
                    <a:pt x="f45" y="f40"/>
                  </a:cubicBezTo>
                  <a:cubicBezTo>
                    <a:pt x="f34" y="f39"/>
                    <a:pt x="f34" y="f39"/>
                    <a:pt x="f34" y="f39"/>
                  </a:cubicBezTo>
                  <a:cubicBezTo>
                    <a:pt x="f21" y="f39"/>
                    <a:pt x="f37" y="f53"/>
                    <a:pt x="f39" y="f44"/>
                  </a:cubicBezTo>
                  <a:cubicBezTo>
                    <a:pt x="f6" y="f37"/>
                    <a:pt x="f6" y="f37"/>
                    <a:pt x="f6" y="f37"/>
                  </a:cubicBezTo>
                  <a:cubicBezTo>
                    <a:pt x="f17" y="f39"/>
                    <a:pt x="f38" y="f15"/>
                    <a:pt x="f53" y="f6"/>
                  </a:cubicBezTo>
                  <a:cubicBezTo>
                    <a:pt x="f40" y="f54"/>
                    <a:pt x="f40" y="f54"/>
                    <a:pt x="f40" y="f54"/>
                  </a:cubicBezTo>
                  <a:cubicBezTo>
                    <a:pt x="f55" y="f49"/>
                    <a:pt x="f55" y="f49"/>
                    <a:pt x="f55" y="f49"/>
                  </a:cubicBezTo>
                  <a:cubicBezTo>
                    <a:pt x="f17" y="f56"/>
                    <a:pt x="f17" y="f56"/>
                    <a:pt x="f17" y="f56"/>
                  </a:cubicBezTo>
                  <a:cubicBezTo>
                    <a:pt x="f53" y="f46"/>
                    <a:pt x="f53" y="f46"/>
                    <a:pt x="f53" y="f46"/>
                  </a:cubicBezTo>
                  <a:cubicBezTo>
                    <a:pt x="f15" y="f57"/>
                    <a:pt x="f15" y="f57"/>
                    <a:pt x="f15" y="f57"/>
                  </a:cubicBezTo>
                  <a:lnTo>
                    <a:pt x="f8" y="f7"/>
                  </a:lnTo>
                  <a:close/>
                </a:path>
              </a:pathLst>
            </a:custGeom>
            <a:grpFill/>
            <a:ln cap="flat">
              <a:noFill/>
              <a:prstDash val="solid"/>
            </a:ln>
          </p:spPr>
          <p:txBody>
            <a:bodyPr vert="horz" wrap="square" lIns="89642" tIns="44821" rIns="89642" bIns="44821" anchor="t" anchorCtr="0" compatLnSpc="1">
              <a:noAutofit/>
            </a:bodyPr>
            <a:lstStyle/>
            <a:p>
              <a:pPr defTabSz="914367">
                <a:defRPr sz="1800" b="0" i="0" u="none" strike="noStrike" kern="0" cap="none" spc="0" baseline="0">
                  <a:solidFill>
                    <a:srgbClr val="000000"/>
                  </a:solidFill>
                  <a:uFillTx/>
                </a:defRPr>
              </a:pPr>
              <a:endParaRPr lang="en-US" sz="1765">
                <a:solidFill>
                  <a:srgbClr val="505050"/>
                </a:solidFill>
                <a:latin typeface="Segoe UI"/>
              </a:endParaRPr>
            </a:p>
          </p:txBody>
        </p:sp>
      </p:grpSp>
      <p:sp>
        <p:nvSpPr>
          <p:cNvPr id="134" name="Title 1">
            <a:extLst>
              <a:ext uri="{FF2B5EF4-FFF2-40B4-BE49-F238E27FC236}">
                <a16:creationId xmlns:a16="http://schemas.microsoft.com/office/drawing/2014/main" id="{8E422642-D573-4F00-8025-91C2369A8F97}"/>
              </a:ext>
            </a:extLst>
          </p:cNvPr>
          <p:cNvSpPr txBox="1">
            <a:spLocks/>
          </p:cNvSpPr>
          <p:nvPr/>
        </p:nvSpPr>
        <p:spPr>
          <a:xfrm>
            <a:off x="522116" y="334333"/>
            <a:ext cx="6716313" cy="550955"/>
          </a:xfrm>
          <a:prstGeom prst="rect">
            <a:avLst/>
          </a:prstGeom>
          <a:noFill/>
          <a:ln>
            <a:noFill/>
          </a:ln>
        </p:spPr>
        <p:txBody>
          <a:bodyPr vert="horz" wrap="square" lIns="0" tIns="89642" rIns="0" bIns="89642" anchor="ctr" anchorCtr="0" compatLnSpc="1">
            <a:noAutofit/>
          </a:bodyPr>
          <a:lstStyle>
            <a:lvl1pPr marL="0" marR="0" lvl="0" indent="0" algn="l" defTabSz="932742" rtl="0" fontAlgn="auto" hangingPunct="1">
              <a:lnSpc>
                <a:spcPct val="90000"/>
              </a:lnSpc>
              <a:spcBef>
                <a:spcPts val="0"/>
              </a:spcBef>
              <a:spcAft>
                <a:spcPts val="0"/>
              </a:spcAft>
              <a:buNone/>
              <a:tabLst/>
              <a:defRPr lang="en-US" sz="3200" b="0" i="0" u="none" strike="noStrike" kern="0" cap="all" spc="120" baseline="0">
                <a:solidFill>
                  <a:srgbClr val="000000"/>
                </a:solidFill>
                <a:uFillTx/>
                <a:latin typeface="Segoe UI"/>
                <a:ea typeface="Segoe UI Black" pitchFamily="34"/>
                <a:cs typeface="Segoe UI Black" pitchFamily="34"/>
              </a:defRPr>
            </a:lvl1pPr>
          </a:lstStyle>
          <a:p>
            <a:pPr defTabSz="914367">
              <a:defRPr/>
            </a:pPr>
            <a:r>
              <a:rPr lang="en-US" sz="2745" spc="118">
                <a:solidFill>
                  <a:srgbClr val="505050"/>
                </a:solidFill>
              </a:rPr>
              <a:t>WHY </a:t>
            </a:r>
            <a:r>
              <a:rPr lang="en-US" sz="2745" b="1" spc="118">
                <a:solidFill>
                  <a:srgbClr val="505050"/>
                </a:solidFill>
              </a:rPr>
              <a:t>IDENTITY</a:t>
            </a:r>
            <a:r>
              <a:rPr lang="en-US" sz="2745" spc="118">
                <a:solidFill>
                  <a:srgbClr val="505050"/>
                </a:solidFill>
              </a:rPr>
              <a:t> IS IMPORTANT</a:t>
            </a:r>
            <a:endParaRPr lang="en-US" sz="2745" b="1" spc="118">
              <a:solidFill>
                <a:srgbClr val="505050"/>
              </a:solidFill>
            </a:endParaRPr>
          </a:p>
        </p:txBody>
      </p:sp>
      <p:grpSp>
        <p:nvGrpSpPr>
          <p:cNvPr id="135" name="Group 134">
            <a:extLst>
              <a:ext uri="{FF2B5EF4-FFF2-40B4-BE49-F238E27FC236}">
                <a16:creationId xmlns:a16="http://schemas.microsoft.com/office/drawing/2014/main" id="{75FA169D-34F2-4CAE-BEBF-0C85A010D876}"/>
              </a:ext>
            </a:extLst>
          </p:cNvPr>
          <p:cNvGrpSpPr/>
          <p:nvPr/>
        </p:nvGrpSpPr>
        <p:grpSpPr>
          <a:xfrm>
            <a:off x="996729" y="1997257"/>
            <a:ext cx="596717" cy="498306"/>
            <a:chOff x="7436685" y="1022200"/>
            <a:chExt cx="306964" cy="256339"/>
          </a:xfrm>
          <a:solidFill>
            <a:schemeClr val="tx2"/>
          </a:solidFill>
        </p:grpSpPr>
        <p:grpSp>
          <p:nvGrpSpPr>
            <p:cNvPr id="136" name="Group 135">
              <a:extLst>
                <a:ext uri="{FF2B5EF4-FFF2-40B4-BE49-F238E27FC236}">
                  <a16:creationId xmlns:a16="http://schemas.microsoft.com/office/drawing/2014/main" id="{06A40224-0962-4023-9A1C-A17785C40B02}"/>
                </a:ext>
              </a:extLst>
            </p:cNvPr>
            <p:cNvGrpSpPr/>
            <p:nvPr/>
          </p:nvGrpSpPr>
          <p:grpSpPr>
            <a:xfrm>
              <a:off x="7531506" y="1022200"/>
              <a:ext cx="212143" cy="243481"/>
              <a:chOff x="7529899" y="1022200"/>
              <a:chExt cx="212143" cy="243481"/>
            </a:xfrm>
            <a:grpFill/>
          </p:grpSpPr>
          <p:sp>
            <p:nvSpPr>
              <p:cNvPr id="138" name="Freeform 2244">
                <a:extLst>
                  <a:ext uri="{FF2B5EF4-FFF2-40B4-BE49-F238E27FC236}">
                    <a16:creationId xmlns:a16="http://schemas.microsoft.com/office/drawing/2014/main" id="{B3B1AB1B-17A8-40D4-9CA7-C3212C3E2CAB}"/>
                  </a:ext>
                </a:extLst>
              </p:cNvPr>
              <p:cNvSpPr>
                <a:spLocks noEditPoints="1"/>
              </p:cNvSpPr>
              <p:nvPr/>
            </p:nvSpPr>
            <p:spPr bwMode="auto">
              <a:xfrm>
                <a:off x="7559631" y="1022200"/>
                <a:ext cx="151875" cy="1518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8" y="72"/>
                      <a:pt x="72" y="58"/>
                      <a:pt x="72" y="40"/>
                    </a:cubicBezTo>
                    <a:cubicBezTo>
                      <a:pt x="72" y="23"/>
                      <a:pt x="58" y="8"/>
                      <a:pt x="40" y="8"/>
                    </a:cubicBezTo>
                    <a:close/>
                  </a:path>
                </a:pathLst>
              </a:custGeom>
              <a:grpFill/>
              <a:ln>
                <a:solidFill>
                  <a:schemeClr val="tx2"/>
                </a:solidFill>
              </a:ln>
            </p:spPr>
            <p:txBody>
              <a:bodyPr vert="horz" wrap="square" lIns="89642" tIns="44821" rIns="89642" bIns="44821" numCol="1" anchor="t" anchorCtr="0" compatLnSpc="1">
                <a:prstTxWarp prst="textNoShape">
                  <a:avLst/>
                </a:prstTxWarp>
              </a:bodyPr>
              <a:lstStyle/>
              <a:p>
                <a:endParaRPr lang="en-US" sz="1765"/>
              </a:p>
            </p:txBody>
          </p:sp>
          <p:sp>
            <p:nvSpPr>
              <p:cNvPr id="139" name="Freeform 2245">
                <a:extLst>
                  <a:ext uri="{FF2B5EF4-FFF2-40B4-BE49-F238E27FC236}">
                    <a16:creationId xmlns:a16="http://schemas.microsoft.com/office/drawing/2014/main" id="{13D5FDE0-089C-42AF-A464-31571087444E}"/>
                  </a:ext>
                </a:extLst>
              </p:cNvPr>
              <p:cNvSpPr>
                <a:spLocks/>
              </p:cNvSpPr>
              <p:nvPr/>
            </p:nvSpPr>
            <p:spPr bwMode="auto">
              <a:xfrm>
                <a:off x="7529899" y="1159610"/>
                <a:ext cx="212143" cy="106071"/>
              </a:xfrm>
              <a:custGeom>
                <a:avLst/>
                <a:gdLst>
                  <a:gd name="T0" fmla="*/ 112 w 112"/>
                  <a:gd name="T1" fmla="*/ 56 h 56"/>
                  <a:gd name="T2" fmla="*/ 104 w 112"/>
                  <a:gd name="T3" fmla="*/ 56 h 56"/>
                  <a:gd name="T4" fmla="*/ 56 w 112"/>
                  <a:gd name="T5" fmla="*/ 8 h 56"/>
                  <a:gd name="T6" fmla="*/ 8 w 112"/>
                  <a:gd name="T7" fmla="*/ 56 h 56"/>
                  <a:gd name="T8" fmla="*/ 0 w 112"/>
                  <a:gd name="T9" fmla="*/ 56 h 56"/>
                  <a:gd name="T10" fmla="*/ 56 w 112"/>
                  <a:gd name="T11" fmla="*/ 0 h 56"/>
                  <a:gd name="T12" fmla="*/ 112 w 112"/>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12" h="56">
                    <a:moveTo>
                      <a:pt x="112" y="56"/>
                    </a:moveTo>
                    <a:cubicBezTo>
                      <a:pt x="104" y="56"/>
                      <a:pt x="104" y="56"/>
                      <a:pt x="104" y="56"/>
                    </a:cubicBezTo>
                    <a:cubicBezTo>
                      <a:pt x="104" y="29"/>
                      <a:pt x="83" y="8"/>
                      <a:pt x="56" y="8"/>
                    </a:cubicBezTo>
                    <a:cubicBezTo>
                      <a:pt x="29" y="8"/>
                      <a:pt x="8" y="29"/>
                      <a:pt x="8" y="56"/>
                    </a:cubicBezTo>
                    <a:cubicBezTo>
                      <a:pt x="0" y="56"/>
                      <a:pt x="0" y="56"/>
                      <a:pt x="0" y="56"/>
                    </a:cubicBezTo>
                    <a:cubicBezTo>
                      <a:pt x="0" y="25"/>
                      <a:pt x="25" y="0"/>
                      <a:pt x="56" y="0"/>
                    </a:cubicBezTo>
                    <a:cubicBezTo>
                      <a:pt x="87" y="0"/>
                      <a:pt x="112" y="25"/>
                      <a:pt x="112" y="56"/>
                    </a:cubicBezTo>
                    <a:close/>
                  </a:path>
                </a:pathLst>
              </a:custGeom>
              <a:grpFill/>
              <a:ln>
                <a:solidFill>
                  <a:schemeClr val="tx2"/>
                </a:solidFill>
              </a:ln>
            </p:spPr>
            <p:txBody>
              <a:bodyPr vert="horz" wrap="square" lIns="89642" tIns="44821" rIns="89642" bIns="44821" numCol="1" anchor="t" anchorCtr="0" compatLnSpc="1">
                <a:prstTxWarp prst="textNoShape">
                  <a:avLst/>
                </a:prstTxWarp>
              </a:bodyPr>
              <a:lstStyle/>
              <a:p>
                <a:endParaRPr lang="en-US" sz="1765"/>
              </a:p>
            </p:txBody>
          </p:sp>
        </p:grpSp>
        <p:sp>
          <p:nvSpPr>
            <p:cNvPr id="137" name="Freeform 2007">
              <a:extLst>
                <a:ext uri="{FF2B5EF4-FFF2-40B4-BE49-F238E27FC236}">
                  <a16:creationId xmlns:a16="http://schemas.microsoft.com/office/drawing/2014/main" id="{FE4127A6-3D6B-421E-A03C-0D4716FF699C}"/>
                </a:ext>
              </a:extLst>
            </p:cNvPr>
            <p:cNvSpPr>
              <a:spLocks noEditPoints="1"/>
            </p:cNvSpPr>
            <p:nvPr/>
          </p:nvSpPr>
          <p:spPr bwMode="auto">
            <a:xfrm>
              <a:off x="7436685" y="1121039"/>
              <a:ext cx="157500" cy="157500"/>
            </a:xfrm>
            <a:custGeom>
              <a:avLst/>
              <a:gdLst>
                <a:gd name="T0" fmla="*/ 99 w 196"/>
                <a:gd name="T1" fmla="*/ 0 h 196"/>
                <a:gd name="T2" fmla="*/ 0 w 196"/>
                <a:gd name="T3" fmla="*/ 196 h 196"/>
                <a:gd name="T4" fmla="*/ 196 w 196"/>
                <a:gd name="T5" fmla="*/ 196 h 196"/>
                <a:gd name="T6" fmla="*/ 99 w 196"/>
                <a:gd name="T7" fmla="*/ 0 h 196"/>
                <a:gd name="T8" fmla="*/ 108 w 196"/>
                <a:gd name="T9" fmla="*/ 173 h 196"/>
                <a:gd name="T10" fmla="*/ 87 w 196"/>
                <a:gd name="T11" fmla="*/ 173 h 196"/>
                <a:gd name="T12" fmla="*/ 87 w 196"/>
                <a:gd name="T13" fmla="*/ 151 h 196"/>
                <a:gd name="T14" fmla="*/ 108 w 196"/>
                <a:gd name="T15" fmla="*/ 151 h 196"/>
                <a:gd name="T16" fmla="*/ 108 w 196"/>
                <a:gd name="T17" fmla="*/ 173 h 196"/>
                <a:gd name="T18" fmla="*/ 87 w 196"/>
                <a:gd name="T19" fmla="*/ 66 h 196"/>
                <a:gd name="T20" fmla="*/ 108 w 196"/>
                <a:gd name="T21" fmla="*/ 66 h 196"/>
                <a:gd name="T22" fmla="*/ 108 w 196"/>
                <a:gd name="T23" fmla="*/ 130 h 196"/>
                <a:gd name="T24" fmla="*/ 87 w 196"/>
                <a:gd name="T25" fmla="*/ 130 h 196"/>
                <a:gd name="T26" fmla="*/ 87 w 196"/>
                <a:gd name="T27" fmla="*/ 6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6" h="196">
                  <a:moveTo>
                    <a:pt x="99" y="0"/>
                  </a:moveTo>
                  <a:lnTo>
                    <a:pt x="0" y="196"/>
                  </a:lnTo>
                  <a:lnTo>
                    <a:pt x="196" y="196"/>
                  </a:lnTo>
                  <a:lnTo>
                    <a:pt x="99" y="0"/>
                  </a:lnTo>
                  <a:close/>
                  <a:moveTo>
                    <a:pt x="108" y="173"/>
                  </a:moveTo>
                  <a:lnTo>
                    <a:pt x="87" y="173"/>
                  </a:lnTo>
                  <a:lnTo>
                    <a:pt x="87" y="151"/>
                  </a:lnTo>
                  <a:lnTo>
                    <a:pt x="108" y="151"/>
                  </a:lnTo>
                  <a:lnTo>
                    <a:pt x="108" y="173"/>
                  </a:lnTo>
                  <a:close/>
                  <a:moveTo>
                    <a:pt x="87" y="66"/>
                  </a:moveTo>
                  <a:lnTo>
                    <a:pt x="108" y="66"/>
                  </a:lnTo>
                  <a:lnTo>
                    <a:pt x="108" y="130"/>
                  </a:lnTo>
                  <a:lnTo>
                    <a:pt x="87" y="130"/>
                  </a:lnTo>
                  <a:lnTo>
                    <a:pt x="87" y="66"/>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nvGrpSpPr>
          <p:cNvPr id="140" name="Group 139">
            <a:extLst>
              <a:ext uri="{FF2B5EF4-FFF2-40B4-BE49-F238E27FC236}">
                <a16:creationId xmlns:a16="http://schemas.microsoft.com/office/drawing/2014/main" id="{F3960CF5-603E-40A1-B416-4F0531E6F23F}"/>
              </a:ext>
            </a:extLst>
          </p:cNvPr>
          <p:cNvGrpSpPr/>
          <p:nvPr/>
        </p:nvGrpSpPr>
        <p:grpSpPr>
          <a:xfrm>
            <a:off x="8329721" y="1973966"/>
            <a:ext cx="659420" cy="603710"/>
            <a:chOff x="8513893" y="1995393"/>
            <a:chExt cx="672643" cy="615816"/>
          </a:xfrm>
        </p:grpSpPr>
        <p:grpSp>
          <p:nvGrpSpPr>
            <p:cNvPr id="141" name="Group 140">
              <a:extLst>
                <a:ext uri="{FF2B5EF4-FFF2-40B4-BE49-F238E27FC236}">
                  <a16:creationId xmlns:a16="http://schemas.microsoft.com/office/drawing/2014/main" id="{84C481B9-2941-4EF8-9486-2E618B260932}"/>
                </a:ext>
              </a:extLst>
            </p:cNvPr>
            <p:cNvGrpSpPr/>
            <p:nvPr/>
          </p:nvGrpSpPr>
          <p:grpSpPr>
            <a:xfrm>
              <a:off x="8639678" y="1995393"/>
              <a:ext cx="546858" cy="539027"/>
              <a:chOff x="4245805" y="5192470"/>
              <a:chExt cx="498087" cy="490954"/>
            </a:xfrm>
            <a:solidFill>
              <a:schemeClr val="tx2"/>
            </a:solidFill>
          </p:grpSpPr>
          <p:sp>
            <p:nvSpPr>
              <p:cNvPr id="147" name="Freeform 44">
                <a:extLst>
                  <a:ext uri="{FF2B5EF4-FFF2-40B4-BE49-F238E27FC236}">
                    <a16:creationId xmlns:a16="http://schemas.microsoft.com/office/drawing/2014/main" id="{C3456FBB-79C8-44F4-AD7F-53DE99E6264C}"/>
                  </a:ext>
                </a:extLst>
              </p:cNvPr>
              <p:cNvSpPr>
                <a:spLocks/>
              </p:cNvSpPr>
              <p:nvPr/>
            </p:nvSpPr>
            <p:spPr bwMode="auto">
              <a:xfrm>
                <a:off x="4245806" y="5192470"/>
                <a:ext cx="183067" cy="199710"/>
              </a:xfrm>
              <a:custGeom>
                <a:avLst/>
                <a:gdLst>
                  <a:gd name="T0" fmla="*/ 82 w 82"/>
                  <a:gd name="T1" fmla="*/ 76 h 82"/>
                  <a:gd name="T2" fmla="*/ 76 w 82"/>
                  <a:gd name="T3" fmla="*/ 82 h 82"/>
                  <a:gd name="T4" fmla="*/ 6 w 82"/>
                  <a:gd name="T5" fmla="*/ 82 h 82"/>
                  <a:gd name="T6" fmla="*/ 0 w 82"/>
                  <a:gd name="T7" fmla="*/ 76 h 82"/>
                  <a:gd name="T8" fmla="*/ 0 w 82"/>
                  <a:gd name="T9" fmla="*/ 5 h 82"/>
                  <a:gd name="T10" fmla="*/ 6 w 82"/>
                  <a:gd name="T11" fmla="*/ 0 h 82"/>
                  <a:gd name="T12" fmla="*/ 76 w 82"/>
                  <a:gd name="T13" fmla="*/ 0 h 82"/>
                  <a:gd name="T14" fmla="*/ 82 w 82"/>
                  <a:gd name="T15" fmla="*/ 5 h 82"/>
                  <a:gd name="T16" fmla="*/ 82 w 82"/>
                  <a:gd name="T1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2">
                    <a:moveTo>
                      <a:pt x="82" y="76"/>
                    </a:moveTo>
                    <a:cubicBezTo>
                      <a:pt x="82" y="79"/>
                      <a:pt x="79" y="82"/>
                      <a:pt x="76" y="82"/>
                    </a:cubicBezTo>
                    <a:cubicBezTo>
                      <a:pt x="6" y="82"/>
                      <a:pt x="6" y="82"/>
                      <a:pt x="6" y="82"/>
                    </a:cubicBezTo>
                    <a:cubicBezTo>
                      <a:pt x="2" y="82"/>
                      <a:pt x="0" y="79"/>
                      <a:pt x="0" y="76"/>
                    </a:cubicBezTo>
                    <a:cubicBezTo>
                      <a:pt x="0" y="5"/>
                      <a:pt x="0" y="5"/>
                      <a:pt x="0" y="5"/>
                    </a:cubicBezTo>
                    <a:cubicBezTo>
                      <a:pt x="0" y="2"/>
                      <a:pt x="2" y="0"/>
                      <a:pt x="6" y="0"/>
                    </a:cubicBezTo>
                    <a:cubicBezTo>
                      <a:pt x="76" y="0"/>
                      <a:pt x="76" y="0"/>
                      <a:pt x="76" y="0"/>
                    </a:cubicBezTo>
                    <a:cubicBezTo>
                      <a:pt x="79" y="0"/>
                      <a:pt x="82" y="2"/>
                      <a:pt x="82" y="5"/>
                    </a:cubicBezTo>
                    <a:lnTo>
                      <a:pt x="82" y="76"/>
                    </a:ln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a:ln w="12700">
                    <a:solidFill>
                      <a:srgbClr val="505050"/>
                    </a:solidFill>
                  </a:ln>
                  <a:solidFill>
                    <a:srgbClr val="002050"/>
                  </a:solidFill>
                  <a:latin typeface="Segoe UI"/>
                </a:endParaRPr>
              </a:p>
            </p:txBody>
          </p:sp>
          <p:sp>
            <p:nvSpPr>
              <p:cNvPr id="148" name="Freeform 45">
                <a:extLst>
                  <a:ext uri="{FF2B5EF4-FFF2-40B4-BE49-F238E27FC236}">
                    <a16:creationId xmlns:a16="http://schemas.microsoft.com/office/drawing/2014/main" id="{F52868FE-9863-42D7-A242-B152C7CBFA71}"/>
                  </a:ext>
                </a:extLst>
              </p:cNvPr>
              <p:cNvSpPr>
                <a:spLocks/>
              </p:cNvSpPr>
              <p:nvPr/>
            </p:nvSpPr>
            <p:spPr bwMode="auto">
              <a:xfrm>
                <a:off x="4245807" y="5425465"/>
                <a:ext cx="183067" cy="99855"/>
              </a:xfrm>
              <a:custGeom>
                <a:avLst/>
                <a:gdLst>
                  <a:gd name="T0" fmla="*/ 82 w 82"/>
                  <a:gd name="T1" fmla="*/ 38 h 41"/>
                  <a:gd name="T2" fmla="*/ 76 w 82"/>
                  <a:gd name="T3" fmla="*/ 41 h 41"/>
                  <a:gd name="T4" fmla="*/ 6 w 82"/>
                  <a:gd name="T5" fmla="*/ 41 h 41"/>
                  <a:gd name="T6" fmla="*/ 0 w 82"/>
                  <a:gd name="T7" fmla="*/ 38 h 41"/>
                  <a:gd name="T8" fmla="*/ 0 w 82"/>
                  <a:gd name="T9" fmla="*/ 3 h 41"/>
                  <a:gd name="T10" fmla="*/ 6 w 82"/>
                  <a:gd name="T11" fmla="*/ 0 h 41"/>
                  <a:gd name="T12" fmla="*/ 76 w 82"/>
                  <a:gd name="T13" fmla="*/ 0 h 41"/>
                  <a:gd name="T14" fmla="*/ 82 w 82"/>
                  <a:gd name="T15" fmla="*/ 3 h 41"/>
                  <a:gd name="T16" fmla="*/ 82 w 82"/>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1">
                    <a:moveTo>
                      <a:pt x="82" y="38"/>
                    </a:moveTo>
                    <a:cubicBezTo>
                      <a:pt x="82" y="39"/>
                      <a:pt x="79" y="41"/>
                      <a:pt x="76" y="41"/>
                    </a:cubicBezTo>
                    <a:cubicBezTo>
                      <a:pt x="6" y="41"/>
                      <a:pt x="6" y="41"/>
                      <a:pt x="6" y="41"/>
                    </a:cubicBezTo>
                    <a:cubicBezTo>
                      <a:pt x="2" y="41"/>
                      <a:pt x="0" y="39"/>
                      <a:pt x="0" y="38"/>
                    </a:cubicBezTo>
                    <a:cubicBezTo>
                      <a:pt x="0" y="3"/>
                      <a:pt x="0" y="3"/>
                      <a:pt x="0" y="3"/>
                    </a:cubicBezTo>
                    <a:cubicBezTo>
                      <a:pt x="0" y="1"/>
                      <a:pt x="2" y="0"/>
                      <a:pt x="6" y="0"/>
                    </a:cubicBezTo>
                    <a:cubicBezTo>
                      <a:pt x="76" y="0"/>
                      <a:pt x="76" y="0"/>
                      <a:pt x="76" y="0"/>
                    </a:cubicBezTo>
                    <a:cubicBezTo>
                      <a:pt x="79" y="0"/>
                      <a:pt x="82" y="1"/>
                      <a:pt x="82" y="3"/>
                    </a:cubicBezTo>
                    <a:lnTo>
                      <a:pt x="82" y="38"/>
                    </a:lnTo>
                    <a:close/>
                  </a:path>
                </a:pathLst>
              </a:custGeom>
              <a:solidFill>
                <a:srgbClr val="FFFFFF"/>
              </a:solidFill>
              <a:ln w="1905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ln w="12700">
                    <a:solidFill>
                      <a:srgbClr val="505050"/>
                    </a:solidFill>
                  </a:ln>
                  <a:solidFill>
                    <a:srgbClr val="002050"/>
                  </a:solidFill>
                  <a:latin typeface="Segoe UI"/>
                </a:endParaRPr>
              </a:p>
            </p:txBody>
          </p:sp>
          <p:sp>
            <p:nvSpPr>
              <p:cNvPr id="149" name="Freeform 46">
                <a:extLst>
                  <a:ext uri="{FF2B5EF4-FFF2-40B4-BE49-F238E27FC236}">
                    <a16:creationId xmlns:a16="http://schemas.microsoft.com/office/drawing/2014/main" id="{229CFE55-C738-455E-9FB3-86A8F041DFB6}"/>
                  </a:ext>
                </a:extLst>
              </p:cNvPr>
              <p:cNvSpPr>
                <a:spLocks/>
              </p:cNvSpPr>
              <p:nvPr/>
            </p:nvSpPr>
            <p:spPr bwMode="auto">
              <a:xfrm>
                <a:off x="4462157" y="5192470"/>
                <a:ext cx="281734" cy="332850"/>
              </a:xfrm>
              <a:custGeom>
                <a:avLst/>
                <a:gdLst>
                  <a:gd name="T0" fmla="*/ 126 w 126"/>
                  <a:gd name="T1" fmla="*/ 127 h 137"/>
                  <a:gd name="T2" fmla="*/ 117 w 126"/>
                  <a:gd name="T3" fmla="*/ 137 h 137"/>
                  <a:gd name="T4" fmla="*/ 9 w 126"/>
                  <a:gd name="T5" fmla="*/ 137 h 137"/>
                  <a:gd name="T6" fmla="*/ 0 w 126"/>
                  <a:gd name="T7" fmla="*/ 127 h 137"/>
                  <a:gd name="T8" fmla="*/ 0 w 126"/>
                  <a:gd name="T9" fmla="*/ 9 h 137"/>
                  <a:gd name="T10" fmla="*/ 9 w 126"/>
                  <a:gd name="T11" fmla="*/ 0 h 137"/>
                  <a:gd name="T12" fmla="*/ 117 w 126"/>
                  <a:gd name="T13" fmla="*/ 0 h 137"/>
                  <a:gd name="T14" fmla="*/ 126 w 126"/>
                  <a:gd name="T15" fmla="*/ 9 h 137"/>
                  <a:gd name="T16" fmla="*/ 126 w 126"/>
                  <a:gd name="T17"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7">
                    <a:moveTo>
                      <a:pt x="126" y="127"/>
                    </a:moveTo>
                    <a:cubicBezTo>
                      <a:pt x="126" y="133"/>
                      <a:pt x="122" y="137"/>
                      <a:pt x="117" y="137"/>
                    </a:cubicBezTo>
                    <a:cubicBezTo>
                      <a:pt x="9" y="137"/>
                      <a:pt x="9" y="137"/>
                      <a:pt x="9" y="137"/>
                    </a:cubicBezTo>
                    <a:cubicBezTo>
                      <a:pt x="4" y="137"/>
                      <a:pt x="0" y="133"/>
                      <a:pt x="0" y="127"/>
                    </a:cubicBezTo>
                    <a:cubicBezTo>
                      <a:pt x="0" y="9"/>
                      <a:pt x="0" y="9"/>
                      <a:pt x="0" y="9"/>
                    </a:cubicBezTo>
                    <a:cubicBezTo>
                      <a:pt x="0" y="4"/>
                      <a:pt x="4" y="0"/>
                      <a:pt x="9" y="0"/>
                    </a:cubicBezTo>
                    <a:cubicBezTo>
                      <a:pt x="117" y="0"/>
                      <a:pt x="117" y="0"/>
                      <a:pt x="117" y="0"/>
                    </a:cubicBezTo>
                    <a:cubicBezTo>
                      <a:pt x="122" y="0"/>
                      <a:pt x="126" y="4"/>
                      <a:pt x="126" y="9"/>
                    </a:cubicBezTo>
                    <a:lnTo>
                      <a:pt x="126" y="127"/>
                    </a:lnTo>
                    <a:close/>
                  </a:path>
                </a:pathLst>
              </a:custGeom>
              <a:solidFill>
                <a:srgbClr val="FFFFFF"/>
              </a:solidFill>
              <a:ln w="1905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ln w="12700">
                    <a:solidFill>
                      <a:srgbClr val="505050"/>
                    </a:solidFill>
                  </a:ln>
                  <a:solidFill>
                    <a:srgbClr val="002050"/>
                  </a:solidFill>
                  <a:latin typeface="Segoe UI"/>
                </a:endParaRPr>
              </a:p>
            </p:txBody>
          </p:sp>
          <p:sp>
            <p:nvSpPr>
              <p:cNvPr id="150" name="Freeform 47">
                <a:extLst>
                  <a:ext uri="{FF2B5EF4-FFF2-40B4-BE49-F238E27FC236}">
                    <a16:creationId xmlns:a16="http://schemas.microsoft.com/office/drawing/2014/main" id="{1CB17B99-E905-4F40-91AD-5C660870374B}"/>
                  </a:ext>
                </a:extLst>
              </p:cNvPr>
              <p:cNvSpPr>
                <a:spLocks/>
              </p:cNvSpPr>
              <p:nvPr/>
            </p:nvSpPr>
            <p:spPr bwMode="auto">
              <a:xfrm>
                <a:off x="4245805" y="5564548"/>
                <a:ext cx="498087" cy="118876"/>
              </a:xfrm>
              <a:custGeom>
                <a:avLst/>
                <a:gdLst>
                  <a:gd name="T0" fmla="*/ 223 w 223"/>
                  <a:gd name="T1" fmla="*/ 46 h 49"/>
                  <a:gd name="T2" fmla="*/ 208 w 223"/>
                  <a:gd name="T3" fmla="*/ 49 h 49"/>
                  <a:gd name="T4" fmla="*/ 15 w 223"/>
                  <a:gd name="T5" fmla="*/ 49 h 49"/>
                  <a:gd name="T6" fmla="*/ 0 w 223"/>
                  <a:gd name="T7" fmla="*/ 46 h 49"/>
                  <a:gd name="T8" fmla="*/ 0 w 223"/>
                  <a:gd name="T9" fmla="*/ 3 h 49"/>
                  <a:gd name="T10" fmla="*/ 15 w 223"/>
                  <a:gd name="T11" fmla="*/ 0 h 49"/>
                  <a:gd name="T12" fmla="*/ 208 w 223"/>
                  <a:gd name="T13" fmla="*/ 0 h 49"/>
                  <a:gd name="T14" fmla="*/ 223 w 223"/>
                  <a:gd name="T15" fmla="*/ 3 h 49"/>
                  <a:gd name="T16" fmla="*/ 223 w 223"/>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9">
                    <a:moveTo>
                      <a:pt x="223" y="46"/>
                    </a:moveTo>
                    <a:cubicBezTo>
                      <a:pt x="223" y="48"/>
                      <a:pt x="216" y="49"/>
                      <a:pt x="208" y="49"/>
                    </a:cubicBezTo>
                    <a:cubicBezTo>
                      <a:pt x="15" y="49"/>
                      <a:pt x="15" y="49"/>
                      <a:pt x="15" y="49"/>
                    </a:cubicBezTo>
                    <a:cubicBezTo>
                      <a:pt x="7" y="49"/>
                      <a:pt x="0" y="48"/>
                      <a:pt x="0" y="46"/>
                    </a:cubicBezTo>
                    <a:cubicBezTo>
                      <a:pt x="0" y="3"/>
                      <a:pt x="0" y="3"/>
                      <a:pt x="0" y="3"/>
                    </a:cubicBezTo>
                    <a:cubicBezTo>
                      <a:pt x="0" y="1"/>
                      <a:pt x="7" y="0"/>
                      <a:pt x="15" y="0"/>
                    </a:cubicBezTo>
                    <a:cubicBezTo>
                      <a:pt x="208" y="0"/>
                      <a:pt x="208" y="0"/>
                      <a:pt x="208" y="0"/>
                    </a:cubicBezTo>
                    <a:cubicBezTo>
                      <a:pt x="216" y="0"/>
                      <a:pt x="223" y="1"/>
                      <a:pt x="223" y="3"/>
                    </a:cubicBezTo>
                    <a:lnTo>
                      <a:pt x="223" y="46"/>
                    </a:lnTo>
                    <a:close/>
                  </a:path>
                </a:pathLst>
              </a:custGeom>
              <a:no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a:ln w="12700">
                    <a:solidFill>
                      <a:srgbClr val="505050"/>
                    </a:solidFill>
                  </a:ln>
                  <a:solidFill>
                    <a:srgbClr val="002050"/>
                  </a:solidFill>
                  <a:latin typeface="Segoe UI"/>
                </a:endParaRPr>
              </a:p>
            </p:txBody>
          </p:sp>
        </p:grpSp>
        <p:grpSp>
          <p:nvGrpSpPr>
            <p:cNvPr id="142" name="Group 141">
              <a:extLst>
                <a:ext uri="{FF2B5EF4-FFF2-40B4-BE49-F238E27FC236}">
                  <a16:creationId xmlns:a16="http://schemas.microsoft.com/office/drawing/2014/main" id="{649E0D78-0E72-47B2-9A02-ED90DDA5A1D9}"/>
                </a:ext>
              </a:extLst>
            </p:cNvPr>
            <p:cNvGrpSpPr/>
            <p:nvPr/>
          </p:nvGrpSpPr>
          <p:grpSpPr>
            <a:xfrm>
              <a:off x="8513893" y="2299222"/>
              <a:ext cx="311987" cy="311987"/>
              <a:chOff x="8482387" y="2409583"/>
              <a:chExt cx="284163" cy="284163"/>
            </a:xfrm>
          </p:grpSpPr>
          <p:sp>
            <p:nvSpPr>
              <p:cNvPr id="143" name="Freeform 163">
                <a:extLst>
                  <a:ext uri="{FF2B5EF4-FFF2-40B4-BE49-F238E27FC236}">
                    <a16:creationId xmlns:a16="http://schemas.microsoft.com/office/drawing/2014/main" id="{D7F152D0-8DA2-4DB0-B351-9C274E9E8320}"/>
                  </a:ext>
                </a:extLst>
              </p:cNvPr>
              <p:cNvSpPr>
                <a:spLocks/>
              </p:cNvSpPr>
              <p:nvPr/>
            </p:nvSpPr>
            <p:spPr bwMode="auto">
              <a:xfrm>
                <a:off x="8482387" y="2409583"/>
                <a:ext cx="284163" cy="284163"/>
              </a:xfrm>
              <a:custGeom>
                <a:avLst/>
                <a:gdLst>
                  <a:gd name="T0" fmla="*/ 25 w 76"/>
                  <a:gd name="T1" fmla="*/ 76 h 76"/>
                  <a:gd name="T2" fmla="*/ 21 w 76"/>
                  <a:gd name="T3" fmla="*/ 74 h 76"/>
                  <a:gd name="T4" fmla="*/ 2 w 76"/>
                  <a:gd name="T5" fmla="*/ 55 h 76"/>
                  <a:gd name="T6" fmla="*/ 0 w 76"/>
                  <a:gd name="T7" fmla="*/ 51 h 76"/>
                  <a:gd name="T8" fmla="*/ 0 w 76"/>
                  <a:gd name="T9" fmla="*/ 25 h 76"/>
                  <a:gd name="T10" fmla="*/ 2 w 76"/>
                  <a:gd name="T11" fmla="*/ 21 h 76"/>
                  <a:gd name="T12" fmla="*/ 21 w 76"/>
                  <a:gd name="T13" fmla="*/ 2 h 76"/>
                  <a:gd name="T14" fmla="*/ 25 w 76"/>
                  <a:gd name="T15" fmla="*/ 0 h 76"/>
                  <a:gd name="T16" fmla="*/ 51 w 76"/>
                  <a:gd name="T17" fmla="*/ 0 h 76"/>
                  <a:gd name="T18" fmla="*/ 55 w 76"/>
                  <a:gd name="T19" fmla="*/ 2 h 76"/>
                  <a:gd name="T20" fmla="*/ 74 w 76"/>
                  <a:gd name="T21" fmla="*/ 21 h 76"/>
                  <a:gd name="T22" fmla="*/ 76 w 76"/>
                  <a:gd name="T23" fmla="*/ 25 h 76"/>
                  <a:gd name="T24" fmla="*/ 76 w 76"/>
                  <a:gd name="T25" fmla="*/ 51 h 76"/>
                  <a:gd name="T26" fmla="*/ 74 w 76"/>
                  <a:gd name="T27" fmla="*/ 55 h 76"/>
                  <a:gd name="T28" fmla="*/ 55 w 76"/>
                  <a:gd name="T29" fmla="*/ 74 h 76"/>
                  <a:gd name="T30" fmla="*/ 51 w 76"/>
                  <a:gd name="T31" fmla="*/ 76 h 76"/>
                  <a:gd name="T32" fmla="*/ 25 w 76"/>
                  <a:gd name="T3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76">
                    <a:moveTo>
                      <a:pt x="25" y="76"/>
                    </a:moveTo>
                    <a:cubicBezTo>
                      <a:pt x="23" y="76"/>
                      <a:pt x="21" y="75"/>
                      <a:pt x="21" y="74"/>
                    </a:cubicBezTo>
                    <a:cubicBezTo>
                      <a:pt x="2" y="55"/>
                      <a:pt x="2" y="55"/>
                      <a:pt x="2" y="55"/>
                    </a:cubicBezTo>
                    <a:cubicBezTo>
                      <a:pt x="1" y="54"/>
                      <a:pt x="0" y="53"/>
                      <a:pt x="0" y="51"/>
                    </a:cubicBezTo>
                    <a:cubicBezTo>
                      <a:pt x="0" y="25"/>
                      <a:pt x="0" y="25"/>
                      <a:pt x="0" y="25"/>
                    </a:cubicBezTo>
                    <a:cubicBezTo>
                      <a:pt x="0" y="23"/>
                      <a:pt x="1" y="21"/>
                      <a:pt x="2" y="21"/>
                    </a:cubicBezTo>
                    <a:cubicBezTo>
                      <a:pt x="21" y="2"/>
                      <a:pt x="21" y="2"/>
                      <a:pt x="21" y="2"/>
                    </a:cubicBezTo>
                    <a:cubicBezTo>
                      <a:pt x="21" y="1"/>
                      <a:pt x="23" y="0"/>
                      <a:pt x="25" y="0"/>
                    </a:cubicBezTo>
                    <a:cubicBezTo>
                      <a:pt x="51" y="0"/>
                      <a:pt x="51" y="0"/>
                      <a:pt x="51" y="0"/>
                    </a:cubicBezTo>
                    <a:cubicBezTo>
                      <a:pt x="53" y="0"/>
                      <a:pt x="54" y="1"/>
                      <a:pt x="55" y="2"/>
                    </a:cubicBezTo>
                    <a:cubicBezTo>
                      <a:pt x="74" y="21"/>
                      <a:pt x="74" y="21"/>
                      <a:pt x="74" y="21"/>
                    </a:cubicBezTo>
                    <a:cubicBezTo>
                      <a:pt x="75" y="21"/>
                      <a:pt x="76" y="23"/>
                      <a:pt x="76" y="25"/>
                    </a:cubicBezTo>
                    <a:cubicBezTo>
                      <a:pt x="76" y="51"/>
                      <a:pt x="76" y="51"/>
                      <a:pt x="76" y="51"/>
                    </a:cubicBezTo>
                    <a:cubicBezTo>
                      <a:pt x="76" y="53"/>
                      <a:pt x="75" y="54"/>
                      <a:pt x="74" y="55"/>
                    </a:cubicBezTo>
                    <a:cubicBezTo>
                      <a:pt x="55" y="74"/>
                      <a:pt x="55" y="74"/>
                      <a:pt x="55" y="74"/>
                    </a:cubicBezTo>
                    <a:cubicBezTo>
                      <a:pt x="54" y="75"/>
                      <a:pt x="53" y="76"/>
                      <a:pt x="51" y="76"/>
                    </a:cubicBezTo>
                    <a:lnTo>
                      <a:pt x="25" y="76"/>
                    </a:lnTo>
                    <a:close/>
                  </a:path>
                </a:pathLst>
              </a:custGeom>
              <a:solidFill>
                <a:schemeClr val="bg1"/>
              </a:solid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endParaRPr lang="en-US" sz="1765"/>
              </a:p>
            </p:txBody>
          </p:sp>
          <p:grpSp>
            <p:nvGrpSpPr>
              <p:cNvPr id="144" name="Group 143">
                <a:extLst>
                  <a:ext uri="{FF2B5EF4-FFF2-40B4-BE49-F238E27FC236}">
                    <a16:creationId xmlns:a16="http://schemas.microsoft.com/office/drawing/2014/main" id="{788CB1FF-2941-4527-A32C-ED4C7091A544}"/>
                  </a:ext>
                </a:extLst>
              </p:cNvPr>
              <p:cNvGrpSpPr/>
              <p:nvPr/>
            </p:nvGrpSpPr>
            <p:grpSpPr>
              <a:xfrm>
                <a:off x="8564718" y="2499728"/>
                <a:ext cx="121863" cy="121863"/>
                <a:chOff x="8545887" y="2473083"/>
                <a:chExt cx="157163" cy="157163"/>
              </a:xfrm>
            </p:grpSpPr>
            <p:sp>
              <p:nvSpPr>
                <p:cNvPr id="145" name="Line 227">
                  <a:extLst>
                    <a:ext uri="{FF2B5EF4-FFF2-40B4-BE49-F238E27FC236}">
                      <a16:creationId xmlns:a16="http://schemas.microsoft.com/office/drawing/2014/main" id="{B97DBE56-2DE6-495F-A3CE-14F420CE07BD}"/>
                    </a:ext>
                  </a:extLst>
                </p:cNvPr>
                <p:cNvSpPr>
                  <a:spLocks noChangeShapeType="1"/>
                </p:cNvSpPr>
                <p:nvPr/>
              </p:nvSpPr>
              <p:spPr bwMode="auto">
                <a:xfrm>
                  <a:off x="8545887" y="2473083"/>
                  <a:ext cx="157163" cy="157163"/>
                </a:xfrm>
                <a:prstGeom prst="line">
                  <a:avLst/>
                </a:prstGeom>
                <a:solidFill>
                  <a:schemeClr val="bg1"/>
                </a:solid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146" name="Line 228">
                  <a:extLst>
                    <a:ext uri="{FF2B5EF4-FFF2-40B4-BE49-F238E27FC236}">
                      <a16:creationId xmlns:a16="http://schemas.microsoft.com/office/drawing/2014/main" id="{BCA37907-0CC1-48CA-953F-1A063DB366E3}"/>
                    </a:ext>
                  </a:extLst>
                </p:cNvPr>
                <p:cNvSpPr>
                  <a:spLocks noChangeShapeType="1"/>
                </p:cNvSpPr>
                <p:nvPr/>
              </p:nvSpPr>
              <p:spPr bwMode="auto">
                <a:xfrm flipV="1">
                  <a:off x="8545887" y="2473083"/>
                  <a:ext cx="157163" cy="157163"/>
                </a:xfrm>
                <a:prstGeom prst="line">
                  <a:avLst/>
                </a:prstGeom>
                <a:solidFill>
                  <a:schemeClr val="bg1"/>
                </a:solid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endParaRPr lang="en-US" sz="1765"/>
                </a:p>
              </p:txBody>
            </p:sp>
          </p:grpSp>
        </p:grpSp>
      </p:grpSp>
    </p:spTree>
    <p:extLst>
      <p:ext uri="{BB962C8B-B14F-4D97-AF65-F5344CB8AC3E}">
        <p14:creationId xmlns:p14="http://schemas.microsoft.com/office/powerpoint/2010/main" val="3265831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644" y="1287462"/>
            <a:ext cx="11702553" cy="2400657"/>
          </a:xfrm>
        </p:spPr>
        <p:txBody>
          <a:bodyPr/>
          <a:lstStyle/>
          <a:p>
            <a:r>
              <a:rPr lang="en-US" dirty="0"/>
              <a:t>Privileged Identity Management</a:t>
            </a:r>
          </a:p>
        </p:txBody>
      </p:sp>
      <p:pic>
        <p:nvPicPr>
          <p:cNvPr id="8" name="Picture 7">
            <a:extLst>
              <a:ext uri="{FF2B5EF4-FFF2-40B4-BE49-F238E27FC236}">
                <a16:creationId xmlns:a16="http://schemas.microsoft.com/office/drawing/2014/main" id="{EC54933D-087F-4458-905F-47D6C8BE3B5A}"/>
              </a:ext>
            </a:extLst>
          </p:cNvPr>
          <p:cNvPicPr>
            <a:picLocks noChangeAspect="1"/>
          </p:cNvPicPr>
          <p:nvPr/>
        </p:nvPicPr>
        <p:blipFill rotWithShape="1">
          <a:blip r:embed="rId3"/>
          <a:srcRect l="-5836" t="10801" r="48415" b="50919"/>
          <a:stretch/>
        </p:blipFill>
        <p:spPr>
          <a:xfrm>
            <a:off x="5379244" y="4106862"/>
            <a:ext cx="2673102" cy="2673103"/>
          </a:xfrm>
          <a:prstGeom prst="ellipse">
            <a:avLst/>
          </a:prstGeom>
          <a:solidFill>
            <a:srgbClr val="EBEBEC"/>
          </a:solidFill>
          <a:ln w="19050" cap="flat" cmpd="sng" algn="ctr">
            <a:solidFill>
              <a:schemeClr val="accent4"/>
            </a:solidFill>
            <a:prstDash val="sysDash"/>
            <a:headEnd type="none" w="med" len="med"/>
            <a:tailEnd type="none" w="med" len="med"/>
          </a:ln>
          <a:effectLst/>
        </p:spPr>
      </p:pic>
    </p:spTree>
    <p:extLst>
      <p:ext uri="{BB962C8B-B14F-4D97-AF65-F5344CB8AC3E}">
        <p14:creationId xmlns:p14="http://schemas.microsoft.com/office/powerpoint/2010/main" val="3647496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D3B8383-726A-42A3-A84B-5EF20664CCB8}"/>
              </a:ext>
            </a:extLst>
          </p:cNvPr>
          <p:cNvSpPr>
            <a:spLocks noGrp="1"/>
          </p:cNvSpPr>
          <p:nvPr>
            <p:ph type="title"/>
          </p:nvPr>
        </p:nvSpPr>
        <p:spPr>
          <a:xfrm>
            <a:off x="269240" y="289511"/>
            <a:ext cx="11655840" cy="899665"/>
          </a:xfrm>
        </p:spPr>
        <p:txBody>
          <a:bodyPr/>
          <a:lstStyle/>
          <a:p>
            <a:r>
              <a:rPr lang="en-US"/>
              <a:t>Privileged Identity Management</a:t>
            </a:r>
          </a:p>
        </p:txBody>
      </p:sp>
      <p:sp>
        <p:nvSpPr>
          <p:cNvPr id="8" name="Rectangle 7">
            <a:extLst>
              <a:ext uri="{FF2B5EF4-FFF2-40B4-BE49-F238E27FC236}">
                <a16:creationId xmlns:a16="http://schemas.microsoft.com/office/drawing/2014/main" id="{8705311F-AF95-4C61-AE3F-82EF41E597D4}"/>
              </a:ext>
            </a:extLst>
          </p:cNvPr>
          <p:cNvSpPr/>
          <p:nvPr/>
        </p:nvSpPr>
        <p:spPr>
          <a:xfrm>
            <a:off x="601288" y="3954463"/>
            <a:ext cx="5222669" cy="2616101"/>
          </a:xfrm>
          <a:prstGeom prst="rect">
            <a:avLst/>
          </a:prstGeom>
        </p:spPr>
        <p:txBody>
          <a:bodyPr wrap="square">
            <a:spAutoFit/>
          </a:bodyPr>
          <a:lstStyle/>
          <a:p>
            <a:pPr marL="0" marR="0" lvl="0" indent="0" defTabSz="896091" eaLnBrk="1" fontAlgn="auto" latinLnBrk="0" hangingPunct="1">
              <a:lnSpc>
                <a:spcPct val="100000"/>
              </a:lnSpc>
              <a:spcBef>
                <a:spcPts val="588"/>
              </a:spcBef>
              <a:spcAft>
                <a:spcPts val="600"/>
              </a:spcAft>
              <a:buClrTx/>
              <a:buSzTx/>
              <a:buFontTx/>
              <a:buNone/>
              <a:tabLst/>
              <a:defRPr/>
            </a:pPr>
            <a:r>
              <a:rPr kumimoji="0" lang="en-US" sz="2400" b="0" i="0" u="none" strike="noStrike" kern="0" cap="none" normalizeH="0" noProof="0">
                <a:ln>
                  <a:noFill/>
                </a:ln>
                <a:solidFill>
                  <a:srgbClr val="505050"/>
                </a:solidFill>
                <a:effectLst/>
                <a:uLnTx/>
                <a:uFillTx/>
              </a:rPr>
              <a:t>Enforce on-demand, just-in-time administrative access when needed</a:t>
            </a:r>
          </a:p>
          <a:p>
            <a:pPr defTabSz="896091">
              <a:spcBef>
                <a:spcPts val="588"/>
              </a:spcBef>
              <a:spcAft>
                <a:spcPts val="600"/>
              </a:spcAft>
              <a:defRPr/>
            </a:pPr>
            <a:r>
              <a:rPr lang="en-US" sz="2400" kern="0">
                <a:solidFill>
                  <a:srgbClr val="505050"/>
                </a:solidFill>
              </a:rPr>
              <a:t>Ensure policies are met with alerts, audit reports and access reviews</a:t>
            </a:r>
          </a:p>
          <a:p>
            <a:pPr lvl="0" defTabSz="896091">
              <a:spcBef>
                <a:spcPts val="588"/>
              </a:spcBef>
              <a:spcAft>
                <a:spcPts val="600"/>
              </a:spcAft>
              <a:defRPr/>
            </a:pPr>
            <a:r>
              <a:rPr lang="en-US" sz="2400" kern="0">
                <a:solidFill>
                  <a:srgbClr val="505050"/>
                </a:solidFill>
              </a:rPr>
              <a:t>Manage admins access in Azure AD and also in Azure RBAC</a:t>
            </a:r>
          </a:p>
        </p:txBody>
      </p:sp>
      <p:sp>
        <p:nvSpPr>
          <p:cNvPr id="9" name="Right Arrow 170">
            <a:extLst>
              <a:ext uri="{FF2B5EF4-FFF2-40B4-BE49-F238E27FC236}">
                <a16:creationId xmlns:a16="http://schemas.microsoft.com/office/drawing/2014/main" id="{0C1901BC-B442-475F-A3CB-4A99D3E3E212}"/>
              </a:ext>
            </a:extLst>
          </p:cNvPr>
          <p:cNvSpPr/>
          <p:nvPr/>
        </p:nvSpPr>
        <p:spPr bwMode="auto">
          <a:xfrm>
            <a:off x="6" y="2472127"/>
            <a:ext cx="7164677" cy="675660"/>
          </a:xfrm>
          <a:prstGeom prst="rightArrow">
            <a:avLst/>
          </a:prstGeom>
          <a:solidFill>
            <a:srgbClr val="EAEAEA">
              <a:lumMod val="90000"/>
              <a:alpha val="6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 name="TextBox 9">
            <a:extLst>
              <a:ext uri="{FF2B5EF4-FFF2-40B4-BE49-F238E27FC236}">
                <a16:creationId xmlns:a16="http://schemas.microsoft.com/office/drawing/2014/main" id="{43297747-6C9C-4C35-AAAC-B495924A8D26}"/>
              </a:ext>
            </a:extLst>
          </p:cNvPr>
          <p:cNvSpPr txBox="1"/>
          <p:nvPr/>
        </p:nvSpPr>
        <p:spPr>
          <a:xfrm>
            <a:off x="502934" y="3164931"/>
            <a:ext cx="1111231" cy="244682"/>
          </a:xfrm>
          <a:prstGeom prst="rect">
            <a:avLst/>
          </a:prstGeom>
          <a:noFill/>
        </p:spPr>
        <p:txBody>
          <a:bodyPr wrap="square" rtlCol="0">
            <a:spAutoFit/>
          </a:bodyPr>
          <a:lstStyle/>
          <a:p>
            <a:pPr algn="ctr" defTabSz="896066">
              <a:lnSpc>
                <a:spcPct val="90000"/>
              </a:lnSpc>
              <a:defRPr/>
            </a:pPr>
            <a:r>
              <a:rPr lang="en-US" sz="1100" kern="0">
                <a:solidFill>
                  <a:srgbClr val="0078D7"/>
                </a:solidFill>
                <a:cs typeface="Segoe UI Light" panose="020B0502040204020203" pitchFamily="34" charset="0"/>
              </a:rPr>
              <a:t>User</a:t>
            </a:r>
          </a:p>
        </p:txBody>
      </p:sp>
      <p:sp>
        <p:nvSpPr>
          <p:cNvPr id="11" name="TextBox 10">
            <a:extLst>
              <a:ext uri="{FF2B5EF4-FFF2-40B4-BE49-F238E27FC236}">
                <a16:creationId xmlns:a16="http://schemas.microsoft.com/office/drawing/2014/main" id="{CBCD887A-1755-47C5-8B42-BAC4954204DD}"/>
              </a:ext>
            </a:extLst>
          </p:cNvPr>
          <p:cNvSpPr txBox="1"/>
          <p:nvPr/>
        </p:nvSpPr>
        <p:spPr>
          <a:xfrm>
            <a:off x="2168253" y="3164932"/>
            <a:ext cx="1111231" cy="244682"/>
          </a:xfrm>
          <a:prstGeom prst="rect">
            <a:avLst/>
          </a:prstGeom>
          <a:noFill/>
        </p:spPr>
        <p:txBody>
          <a:bodyPr wrap="square" rtlCol="0">
            <a:spAutoFit/>
          </a:bodyPr>
          <a:lstStyle/>
          <a:p>
            <a:pPr algn="ctr" defTabSz="896066">
              <a:lnSpc>
                <a:spcPct val="90000"/>
              </a:lnSpc>
              <a:defRPr/>
            </a:pPr>
            <a:r>
              <a:rPr lang="en-US" sz="1100" kern="0">
                <a:solidFill>
                  <a:srgbClr val="0078D7"/>
                </a:solidFill>
                <a:cs typeface="Segoe UI Light" panose="020B0502040204020203" pitchFamily="34" charset="0"/>
              </a:rPr>
              <a:t>Administrator</a:t>
            </a:r>
          </a:p>
        </p:txBody>
      </p:sp>
      <p:sp>
        <p:nvSpPr>
          <p:cNvPr id="12" name="Oval 11">
            <a:extLst>
              <a:ext uri="{FF2B5EF4-FFF2-40B4-BE49-F238E27FC236}">
                <a16:creationId xmlns:a16="http://schemas.microsoft.com/office/drawing/2014/main" id="{B9089BB5-A928-4F3A-8273-B360A69833AC}"/>
              </a:ext>
            </a:extLst>
          </p:cNvPr>
          <p:cNvSpPr/>
          <p:nvPr/>
        </p:nvSpPr>
        <p:spPr bwMode="auto">
          <a:xfrm>
            <a:off x="7472714" y="648699"/>
            <a:ext cx="4311338" cy="4311336"/>
          </a:xfrm>
          <a:prstGeom prst="ellipse">
            <a:avLst/>
          </a:prstGeom>
          <a:noFill/>
          <a:ln w="19050" cap="flat" cmpd="sng" algn="ctr">
            <a:solidFill>
              <a:schemeClr val="accent5"/>
            </a:solid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p>
            <a:pPr marL="0" marR="0" lvl="0" indent="0" algn="ctr" defTabSz="950845"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3" name="Group 12">
            <a:extLst>
              <a:ext uri="{FF2B5EF4-FFF2-40B4-BE49-F238E27FC236}">
                <a16:creationId xmlns:a16="http://schemas.microsoft.com/office/drawing/2014/main" id="{118E3EA5-BA8F-436E-A11B-39B681BCBC25}"/>
              </a:ext>
            </a:extLst>
          </p:cNvPr>
          <p:cNvGrpSpPr/>
          <p:nvPr/>
        </p:nvGrpSpPr>
        <p:grpSpPr>
          <a:xfrm rot="3268358">
            <a:off x="10204720" y="4498825"/>
            <a:ext cx="1488505" cy="818170"/>
            <a:chOff x="901894" y="2867179"/>
            <a:chExt cx="3593019" cy="1974936"/>
          </a:xfrm>
          <a:solidFill>
            <a:schemeClr val="accent4"/>
          </a:solidFill>
        </p:grpSpPr>
        <p:sp>
          <p:nvSpPr>
            <p:cNvPr id="14" name="Rectangle 29">
              <a:extLst>
                <a:ext uri="{FF2B5EF4-FFF2-40B4-BE49-F238E27FC236}">
                  <a16:creationId xmlns:a16="http://schemas.microsoft.com/office/drawing/2014/main" id="{0C647CC6-16C1-432B-9DED-5FC764FC70FF}"/>
                </a:ext>
              </a:extLst>
            </p:cNvPr>
            <p:cNvSpPr>
              <a:spLocks noChangeArrowheads="1"/>
            </p:cNvSpPr>
            <p:nvPr/>
          </p:nvSpPr>
          <p:spPr bwMode="auto">
            <a:xfrm>
              <a:off x="2787744" y="3811146"/>
              <a:ext cx="1707169" cy="11509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8" name="Oval 31">
              <a:extLst>
                <a:ext uri="{FF2B5EF4-FFF2-40B4-BE49-F238E27FC236}">
                  <a16:creationId xmlns:a16="http://schemas.microsoft.com/office/drawing/2014/main" id="{1EE1E647-BF02-476F-85AA-351EED66A4F9}"/>
                </a:ext>
              </a:extLst>
            </p:cNvPr>
            <p:cNvSpPr>
              <a:spLocks noChangeArrowheads="1"/>
            </p:cNvSpPr>
            <p:nvPr/>
          </p:nvSpPr>
          <p:spPr bwMode="auto">
            <a:xfrm>
              <a:off x="901894" y="2867179"/>
              <a:ext cx="1978048" cy="19749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9" name="Oval 32">
              <a:extLst>
                <a:ext uri="{FF2B5EF4-FFF2-40B4-BE49-F238E27FC236}">
                  <a16:creationId xmlns:a16="http://schemas.microsoft.com/office/drawing/2014/main" id="{DF0C24C1-9384-420B-9C53-B970F3789698}"/>
                </a:ext>
              </a:extLst>
            </p:cNvPr>
            <p:cNvSpPr>
              <a:spLocks noChangeArrowheads="1"/>
            </p:cNvSpPr>
            <p:nvPr/>
          </p:nvSpPr>
          <p:spPr bwMode="auto">
            <a:xfrm>
              <a:off x="996831" y="2958999"/>
              <a:ext cx="1792849" cy="1792850"/>
            </a:xfrm>
            <a:prstGeom prst="ellipse">
              <a:avLst/>
            </a:pr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grpSp>
      <p:sp>
        <p:nvSpPr>
          <p:cNvPr id="20" name="Trapezoid 98">
            <a:extLst>
              <a:ext uri="{FF2B5EF4-FFF2-40B4-BE49-F238E27FC236}">
                <a16:creationId xmlns:a16="http://schemas.microsoft.com/office/drawing/2014/main" id="{F33B42EC-66AB-45D2-B515-9CEDF2B9BF63}"/>
              </a:ext>
            </a:extLst>
          </p:cNvPr>
          <p:cNvSpPr/>
          <p:nvPr/>
        </p:nvSpPr>
        <p:spPr bwMode="auto">
          <a:xfrm rot="10800000">
            <a:off x="7380085" y="2582115"/>
            <a:ext cx="3171174" cy="2932507"/>
          </a:xfrm>
          <a:custGeom>
            <a:avLst/>
            <a:gdLst>
              <a:gd name="connsiteX0" fmla="*/ 0 w 3773446"/>
              <a:gd name="connsiteY0" fmla="*/ 1850717 h 1850717"/>
              <a:gd name="connsiteX1" fmla="*/ 777357 w 3773446"/>
              <a:gd name="connsiteY1" fmla="*/ 0 h 1850717"/>
              <a:gd name="connsiteX2" fmla="*/ 2996089 w 3773446"/>
              <a:gd name="connsiteY2" fmla="*/ 0 h 1850717"/>
              <a:gd name="connsiteX3" fmla="*/ 3773446 w 3773446"/>
              <a:gd name="connsiteY3" fmla="*/ 1850717 h 1850717"/>
              <a:gd name="connsiteX4" fmla="*/ 0 w 3773446"/>
              <a:gd name="connsiteY4" fmla="*/ 1850717 h 1850717"/>
              <a:gd name="connsiteX0" fmla="*/ 0 w 3773446"/>
              <a:gd name="connsiteY0" fmla="*/ 1850717 h 1850717"/>
              <a:gd name="connsiteX1" fmla="*/ 777357 w 3773446"/>
              <a:gd name="connsiteY1" fmla="*/ 0 h 1850717"/>
              <a:gd name="connsiteX2" fmla="*/ 2132307 w 3773446"/>
              <a:gd name="connsiteY2" fmla="*/ 45719 h 1850717"/>
              <a:gd name="connsiteX3" fmla="*/ 3773446 w 3773446"/>
              <a:gd name="connsiteY3" fmla="*/ 1850717 h 1850717"/>
              <a:gd name="connsiteX4" fmla="*/ 0 w 3773446"/>
              <a:gd name="connsiteY4" fmla="*/ 1850717 h 1850717"/>
              <a:gd name="connsiteX0" fmla="*/ 0 w 3773446"/>
              <a:gd name="connsiteY0" fmla="*/ 1804998 h 1804998"/>
              <a:gd name="connsiteX1" fmla="*/ 744571 w 3773446"/>
              <a:gd name="connsiteY1" fmla="*/ 0 h 1804998"/>
              <a:gd name="connsiteX2" fmla="*/ 2132307 w 3773446"/>
              <a:gd name="connsiteY2" fmla="*/ 0 h 1804998"/>
              <a:gd name="connsiteX3" fmla="*/ 3773446 w 3773446"/>
              <a:gd name="connsiteY3" fmla="*/ 1804998 h 1804998"/>
              <a:gd name="connsiteX4" fmla="*/ 0 w 3773446"/>
              <a:gd name="connsiteY4" fmla="*/ 1804998 h 1804998"/>
              <a:gd name="connsiteX0" fmla="*/ 0 w 2132307"/>
              <a:gd name="connsiteY0" fmla="*/ 1804998 h 2603284"/>
              <a:gd name="connsiteX1" fmla="*/ 744571 w 2132307"/>
              <a:gd name="connsiteY1" fmla="*/ 0 h 2603284"/>
              <a:gd name="connsiteX2" fmla="*/ 2132307 w 2132307"/>
              <a:gd name="connsiteY2" fmla="*/ 0 h 2603284"/>
              <a:gd name="connsiteX3" fmla="*/ 1349560 w 2132307"/>
              <a:gd name="connsiteY3" fmla="*/ 2603284 h 2603284"/>
              <a:gd name="connsiteX4" fmla="*/ 0 w 2132307"/>
              <a:gd name="connsiteY4" fmla="*/ 1804998 h 2603284"/>
              <a:gd name="connsiteX0" fmla="*/ 0 w 3061221"/>
              <a:gd name="connsiteY0" fmla="*/ 1355055 h 2603284"/>
              <a:gd name="connsiteX1" fmla="*/ 1673485 w 3061221"/>
              <a:gd name="connsiteY1" fmla="*/ 0 h 2603284"/>
              <a:gd name="connsiteX2" fmla="*/ 3061221 w 3061221"/>
              <a:gd name="connsiteY2" fmla="*/ 0 h 2603284"/>
              <a:gd name="connsiteX3" fmla="*/ 2278474 w 3061221"/>
              <a:gd name="connsiteY3" fmla="*/ 2603284 h 2603284"/>
              <a:gd name="connsiteX4" fmla="*/ 0 w 3061221"/>
              <a:gd name="connsiteY4" fmla="*/ 1355055 h 2603284"/>
              <a:gd name="connsiteX0" fmla="*/ 0 w 3061221"/>
              <a:gd name="connsiteY0" fmla="*/ 2559740 h 3807969"/>
              <a:gd name="connsiteX1" fmla="*/ 1252570 w 3061221"/>
              <a:gd name="connsiteY1" fmla="*/ 0 h 3807969"/>
              <a:gd name="connsiteX2" fmla="*/ 3061221 w 3061221"/>
              <a:gd name="connsiteY2" fmla="*/ 1204685 h 3807969"/>
              <a:gd name="connsiteX3" fmla="*/ 2278474 w 3061221"/>
              <a:gd name="connsiteY3" fmla="*/ 3807969 h 3807969"/>
              <a:gd name="connsiteX4" fmla="*/ 0 w 3061221"/>
              <a:gd name="connsiteY4" fmla="*/ 2559740 h 3807969"/>
              <a:gd name="connsiteX0" fmla="*/ 0 w 3191849"/>
              <a:gd name="connsiteY0" fmla="*/ 2559740 h 3807969"/>
              <a:gd name="connsiteX1" fmla="*/ 1252570 w 3191849"/>
              <a:gd name="connsiteY1" fmla="*/ 0 h 3807969"/>
              <a:gd name="connsiteX2" fmla="*/ 3191849 w 3191849"/>
              <a:gd name="connsiteY2" fmla="*/ 856343 h 3807969"/>
              <a:gd name="connsiteX3" fmla="*/ 2278474 w 3191849"/>
              <a:gd name="connsiteY3" fmla="*/ 3807969 h 3807969"/>
              <a:gd name="connsiteX4" fmla="*/ 0 w 3191849"/>
              <a:gd name="connsiteY4" fmla="*/ 2559740 h 3807969"/>
              <a:gd name="connsiteX0" fmla="*/ 0 w 3191849"/>
              <a:gd name="connsiteY0" fmla="*/ 2559740 h 3807969"/>
              <a:gd name="connsiteX1" fmla="*/ 1252570 w 3191849"/>
              <a:gd name="connsiteY1" fmla="*/ 0 h 3807969"/>
              <a:gd name="connsiteX2" fmla="*/ 3191849 w 3191849"/>
              <a:gd name="connsiteY2" fmla="*/ 856343 h 3807969"/>
              <a:gd name="connsiteX3" fmla="*/ 2278474 w 3191849"/>
              <a:gd name="connsiteY3" fmla="*/ 3807969 h 3807969"/>
              <a:gd name="connsiteX4" fmla="*/ 0 w 3191849"/>
              <a:gd name="connsiteY4" fmla="*/ 2559740 h 3807969"/>
              <a:gd name="connsiteX0" fmla="*/ 0 w 3191849"/>
              <a:gd name="connsiteY0" fmla="*/ 2632311 h 3880540"/>
              <a:gd name="connsiteX1" fmla="*/ 1818627 w 3191849"/>
              <a:gd name="connsiteY1" fmla="*/ 0 h 3880540"/>
              <a:gd name="connsiteX2" fmla="*/ 3191849 w 3191849"/>
              <a:gd name="connsiteY2" fmla="*/ 928914 h 3880540"/>
              <a:gd name="connsiteX3" fmla="*/ 2278474 w 3191849"/>
              <a:gd name="connsiteY3" fmla="*/ 3880540 h 3880540"/>
              <a:gd name="connsiteX4" fmla="*/ 0 w 3191849"/>
              <a:gd name="connsiteY4" fmla="*/ 2632311 h 3880540"/>
              <a:gd name="connsiteX0" fmla="*/ 0 w 3191849"/>
              <a:gd name="connsiteY0" fmla="*/ 1703397 h 2951626"/>
              <a:gd name="connsiteX1" fmla="*/ 1755127 w 3191849"/>
              <a:gd name="connsiteY1" fmla="*/ 87086 h 2951626"/>
              <a:gd name="connsiteX2" fmla="*/ 3191849 w 3191849"/>
              <a:gd name="connsiteY2" fmla="*/ 0 h 2951626"/>
              <a:gd name="connsiteX3" fmla="*/ 2278474 w 3191849"/>
              <a:gd name="connsiteY3" fmla="*/ 2951626 h 2951626"/>
              <a:gd name="connsiteX4" fmla="*/ 0 w 3191849"/>
              <a:gd name="connsiteY4" fmla="*/ 1703397 h 2951626"/>
              <a:gd name="connsiteX0" fmla="*/ 0 w 3191849"/>
              <a:gd name="connsiteY0" fmla="*/ 1703397 h 2951626"/>
              <a:gd name="connsiteX1" fmla="*/ 1844027 w 3191849"/>
              <a:gd name="connsiteY1" fmla="*/ 23586 h 2951626"/>
              <a:gd name="connsiteX2" fmla="*/ 3191849 w 3191849"/>
              <a:gd name="connsiteY2" fmla="*/ 0 h 2951626"/>
              <a:gd name="connsiteX3" fmla="*/ 2278474 w 3191849"/>
              <a:gd name="connsiteY3" fmla="*/ 2951626 h 2951626"/>
              <a:gd name="connsiteX4" fmla="*/ 0 w 3191849"/>
              <a:gd name="connsiteY4" fmla="*/ 1703397 h 2951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1849" h="2951626">
                <a:moveTo>
                  <a:pt x="0" y="1703397"/>
                </a:moveTo>
                <a:lnTo>
                  <a:pt x="1844027" y="23586"/>
                </a:lnTo>
                <a:lnTo>
                  <a:pt x="3191849" y="0"/>
                </a:lnTo>
                <a:lnTo>
                  <a:pt x="2278474" y="2951626"/>
                </a:lnTo>
                <a:lnTo>
                  <a:pt x="0" y="1703397"/>
                </a:lnTo>
                <a:close/>
              </a:path>
            </a:pathLst>
          </a:custGeom>
          <a:solidFill>
            <a:schemeClr val="tx1">
              <a:alpha val="26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21" name="Picture 20">
            <a:extLst>
              <a:ext uri="{FF2B5EF4-FFF2-40B4-BE49-F238E27FC236}">
                <a16:creationId xmlns:a16="http://schemas.microsoft.com/office/drawing/2014/main" id="{FD6DB590-E1E2-43A3-B410-8F4698BA33FC}"/>
              </a:ext>
            </a:extLst>
          </p:cNvPr>
          <p:cNvPicPr>
            <a:picLocks noChangeAspect="1"/>
          </p:cNvPicPr>
          <p:nvPr/>
        </p:nvPicPr>
        <p:blipFill rotWithShape="1">
          <a:blip r:embed="rId3"/>
          <a:srcRect l="-5836" t="10801" r="48415" b="50919"/>
          <a:stretch/>
        </p:blipFill>
        <p:spPr>
          <a:xfrm>
            <a:off x="8291830" y="1467814"/>
            <a:ext cx="2673102" cy="2673103"/>
          </a:xfrm>
          <a:prstGeom prst="ellipse">
            <a:avLst/>
          </a:prstGeom>
          <a:solidFill>
            <a:srgbClr val="EBEBEC"/>
          </a:solidFill>
          <a:ln w="19050" cap="flat" cmpd="sng" algn="ctr">
            <a:solidFill>
              <a:schemeClr val="accent4"/>
            </a:solidFill>
            <a:prstDash val="sysDash"/>
            <a:headEnd type="none" w="med" len="med"/>
            <a:tailEnd type="none" w="med" len="med"/>
          </a:ln>
          <a:effectLst/>
        </p:spPr>
      </p:pic>
      <p:grpSp>
        <p:nvGrpSpPr>
          <p:cNvPr id="22" name="Group 21">
            <a:extLst>
              <a:ext uri="{FF2B5EF4-FFF2-40B4-BE49-F238E27FC236}">
                <a16:creationId xmlns:a16="http://schemas.microsoft.com/office/drawing/2014/main" id="{AB9253C3-AC2D-4900-B93D-CDE079C5F46F}"/>
              </a:ext>
            </a:extLst>
          </p:cNvPr>
          <p:cNvGrpSpPr/>
          <p:nvPr/>
        </p:nvGrpSpPr>
        <p:grpSpPr>
          <a:xfrm>
            <a:off x="5805761" y="4862007"/>
            <a:ext cx="2582052" cy="1756929"/>
            <a:chOff x="7456692" y="5141320"/>
            <a:chExt cx="1846279" cy="1256281"/>
          </a:xfrm>
        </p:grpSpPr>
        <p:sp>
          <p:nvSpPr>
            <p:cNvPr id="23" name="Rectangle 22">
              <a:extLst>
                <a:ext uri="{FF2B5EF4-FFF2-40B4-BE49-F238E27FC236}">
                  <a16:creationId xmlns:a16="http://schemas.microsoft.com/office/drawing/2014/main" id="{A6D63F33-1A44-452D-8012-D15E98765D87}"/>
                </a:ext>
              </a:extLst>
            </p:cNvPr>
            <p:cNvSpPr/>
            <p:nvPr/>
          </p:nvSpPr>
          <p:spPr bwMode="auto">
            <a:xfrm>
              <a:off x="7469703" y="5141320"/>
              <a:ext cx="1812712" cy="1256281"/>
            </a:xfrm>
            <a:prstGeom prst="rect">
              <a:avLst/>
            </a:prstGeom>
            <a:solidFill>
              <a:srgbClr val="44546A">
                <a:lumMod val="10000"/>
                <a:lumOff val="9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24" name="Picture 23">
              <a:extLst>
                <a:ext uri="{FF2B5EF4-FFF2-40B4-BE49-F238E27FC236}">
                  <a16:creationId xmlns:a16="http://schemas.microsoft.com/office/drawing/2014/main" id="{6A037598-221B-4B23-AD6B-EA9920503A9B}"/>
                </a:ext>
              </a:extLst>
            </p:cNvPr>
            <p:cNvPicPr>
              <a:picLocks noChangeAspect="1"/>
            </p:cNvPicPr>
            <p:nvPr/>
          </p:nvPicPr>
          <p:blipFill rotWithShape="1">
            <a:blip r:embed="rId3"/>
            <a:srcRect l="2172" t="1" r="685" b="60698"/>
            <a:stretch/>
          </p:blipFill>
          <p:spPr>
            <a:xfrm>
              <a:off x="7456692" y="5185495"/>
              <a:ext cx="1846279" cy="1120433"/>
            </a:xfrm>
            <a:prstGeom prst="rect">
              <a:avLst/>
            </a:prstGeom>
          </p:spPr>
        </p:pic>
      </p:grpSp>
      <p:grpSp>
        <p:nvGrpSpPr>
          <p:cNvPr id="25" name="Group 100">
            <a:extLst>
              <a:ext uri="{FF2B5EF4-FFF2-40B4-BE49-F238E27FC236}">
                <a16:creationId xmlns:a16="http://schemas.microsoft.com/office/drawing/2014/main" id="{6EB9B7D9-B7EE-4BA8-9A12-E5643667773C}"/>
              </a:ext>
            </a:extLst>
          </p:cNvPr>
          <p:cNvGrpSpPr>
            <a:grpSpLocks noChangeAspect="1"/>
          </p:cNvGrpSpPr>
          <p:nvPr/>
        </p:nvGrpSpPr>
        <p:grpSpPr bwMode="auto">
          <a:xfrm>
            <a:off x="10552617" y="506735"/>
            <a:ext cx="1186607" cy="957215"/>
            <a:chOff x="6" y="6"/>
            <a:chExt cx="1676" cy="1352"/>
          </a:xfrm>
        </p:grpSpPr>
        <p:sp>
          <p:nvSpPr>
            <p:cNvPr id="26" name="Rectangle 101">
              <a:extLst>
                <a:ext uri="{FF2B5EF4-FFF2-40B4-BE49-F238E27FC236}">
                  <a16:creationId xmlns:a16="http://schemas.microsoft.com/office/drawing/2014/main" id="{E07BBF27-FBEE-4D71-98D1-522EAC836F53}"/>
                </a:ext>
              </a:extLst>
            </p:cNvPr>
            <p:cNvSpPr>
              <a:spLocks noChangeArrowheads="1"/>
            </p:cNvSpPr>
            <p:nvPr/>
          </p:nvSpPr>
          <p:spPr bwMode="auto">
            <a:xfrm>
              <a:off x="6" y="629"/>
              <a:ext cx="1103" cy="729"/>
            </a:xfrm>
            <a:prstGeom prst="rect">
              <a:avLst/>
            </a:prstGeom>
            <a:solidFill>
              <a:srgbClr val="FFFFFF"/>
            </a:solidFill>
            <a:ln w="19050">
              <a:solidFill>
                <a:schemeClr val="accent4"/>
              </a:solid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 name="Rectangle 102">
              <a:extLst>
                <a:ext uri="{FF2B5EF4-FFF2-40B4-BE49-F238E27FC236}">
                  <a16:creationId xmlns:a16="http://schemas.microsoft.com/office/drawing/2014/main" id="{03B7D1D2-A6DA-4FCC-992E-0DFC180DB6C0}"/>
                </a:ext>
              </a:extLst>
            </p:cNvPr>
            <p:cNvSpPr>
              <a:spLocks noChangeArrowheads="1"/>
            </p:cNvSpPr>
            <p:nvPr/>
          </p:nvSpPr>
          <p:spPr bwMode="auto">
            <a:xfrm>
              <a:off x="6" y="629"/>
              <a:ext cx="1103"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 name="Rectangle 104">
              <a:extLst>
                <a:ext uri="{FF2B5EF4-FFF2-40B4-BE49-F238E27FC236}">
                  <a16:creationId xmlns:a16="http://schemas.microsoft.com/office/drawing/2014/main" id="{917463F9-56DE-4065-ACED-15B7AD677A0A}"/>
                </a:ext>
              </a:extLst>
            </p:cNvPr>
            <p:cNvSpPr>
              <a:spLocks noChangeArrowheads="1"/>
            </p:cNvSpPr>
            <p:nvPr/>
          </p:nvSpPr>
          <p:spPr bwMode="auto">
            <a:xfrm>
              <a:off x="6" y="629"/>
              <a:ext cx="1103" cy="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 name="Rectangle 106">
              <a:extLst>
                <a:ext uri="{FF2B5EF4-FFF2-40B4-BE49-F238E27FC236}">
                  <a16:creationId xmlns:a16="http://schemas.microsoft.com/office/drawing/2014/main" id="{BBBFB68A-BA2A-45F1-BE10-8AF048A77114}"/>
                </a:ext>
              </a:extLst>
            </p:cNvPr>
            <p:cNvSpPr>
              <a:spLocks noChangeArrowheads="1"/>
            </p:cNvSpPr>
            <p:nvPr/>
          </p:nvSpPr>
          <p:spPr bwMode="auto">
            <a:xfrm>
              <a:off x="6" y="811"/>
              <a:ext cx="1103"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 name="Rectangle 108">
              <a:extLst>
                <a:ext uri="{FF2B5EF4-FFF2-40B4-BE49-F238E27FC236}">
                  <a16:creationId xmlns:a16="http://schemas.microsoft.com/office/drawing/2014/main" id="{BD3CEB26-A26D-4B21-A0DC-B8629BEE3089}"/>
                </a:ext>
              </a:extLst>
            </p:cNvPr>
            <p:cNvSpPr>
              <a:spLocks noChangeArrowheads="1"/>
            </p:cNvSpPr>
            <p:nvPr/>
          </p:nvSpPr>
          <p:spPr bwMode="auto">
            <a:xfrm>
              <a:off x="6" y="994"/>
              <a:ext cx="1103" cy="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 name="Rectangle 110">
              <a:extLst>
                <a:ext uri="{FF2B5EF4-FFF2-40B4-BE49-F238E27FC236}">
                  <a16:creationId xmlns:a16="http://schemas.microsoft.com/office/drawing/2014/main" id="{56F7C1EF-AEB5-4585-8C89-7E369C77F7E6}"/>
                </a:ext>
              </a:extLst>
            </p:cNvPr>
            <p:cNvSpPr>
              <a:spLocks noChangeArrowheads="1"/>
            </p:cNvSpPr>
            <p:nvPr/>
          </p:nvSpPr>
          <p:spPr bwMode="auto">
            <a:xfrm>
              <a:off x="6" y="1187"/>
              <a:ext cx="1103" cy="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 name="Freeform 112">
              <a:extLst>
                <a:ext uri="{FF2B5EF4-FFF2-40B4-BE49-F238E27FC236}">
                  <a16:creationId xmlns:a16="http://schemas.microsoft.com/office/drawing/2014/main" id="{D566A0A0-4DE3-487B-8D22-8494703E6137}"/>
                </a:ext>
              </a:extLst>
            </p:cNvPr>
            <p:cNvSpPr>
              <a:spLocks noEditPoints="1"/>
            </p:cNvSpPr>
            <p:nvPr/>
          </p:nvSpPr>
          <p:spPr bwMode="auto">
            <a:xfrm>
              <a:off x="6" y="800"/>
              <a:ext cx="688" cy="387"/>
            </a:xfrm>
            <a:custGeom>
              <a:avLst/>
              <a:gdLst>
                <a:gd name="T0" fmla="*/ 238 w 688"/>
                <a:gd name="T1" fmla="*/ 365 h 387"/>
                <a:gd name="T2" fmla="*/ 0 w 688"/>
                <a:gd name="T3" fmla="*/ 365 h 387"/>
                <a:gd name="T4" fmla="*/ 0 w 688"/>
                <a:gd name="T5" fmla="*/ 387 h 387"/>
                <a:gd name="T6" fmla="*/ 211 w 688"/>
                <a:gd name="T7" fmla="*/ 387 h 387"/>
                <a:gd name="T8" fmla="*/ 238 w 688"/>
                <a:gd name="T9" fmla="*/ 365 h 387"/>
                <a:gd name="T10" fmla="*/ 463 w 688"/>
                <a:gd name="T11" fmla="*/ 183 h 387"/>
                <a:gd name="T12" fmla="*/ 0 w 688"/>
                <a:gd name="T13" fmla="*/ 183 h 387"/>
                <a:gd name="T14" fmla="*/ 0 w 688"/>
                <a:gd name="T15" fmla="*/ 194 h 387"/>
                <a:gd name="T16" fmla="*/ 450 w 688"/>
                <a:gd name="T17" fmla="*/ 194 h 387"/>
                <a:gd name="T18" fmla="*/ 463 w 688"/>
                <a:gd name="T19" fmla="*/ 183 h 387"/>
                <a:gd name="T20" fmla="*/ 688 w 688"/>
                <a:gd name="T21" fmla="*/ 0 h 387"/>
                <a:gd name="T22" fmla="*/ 0 w 688"/>
                <a:gd name="T23" fmla="*/ 0 h 387"/>
                <a:gd name="T24" fmla="*/ 0 w 688"/>
                <a:gd name="T25" fmla="*/ 11 h 387"/>
                <a:gd name="T26" fmla="*/ 674 w 688"/>
                <a:gd name="T27" fmla="*/ 11 h 387"/>
                <a:gd name="T28" fmla="*/ 688 w 688"/>
                <a:gd name="T29"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8" h="387">
                  <a:moveTo>
                    <a:pt x="238" y="365"/>
                  </a:moveTo>
                  <a:lnTo>
                    <a:pt x="0" y="365"/>
                  </a:lnTo>
                  <a:lnTo>
                    <a:pt x="0" y="387"/>
                  </a:lnTo>
                  <a:lnTo>
                    <a:pt x="211" y="387"/>
                  </a:lnTo>
                  <a:lnTo>
                    <a:pt x="238" y="365"/>
                  </a:lnTo>
                  <a:moveTo>
                    <a:pt x="463" y="183"/>
                  </a:moveTo>
                  <a:lnTo>
                    <a:pt x="0" y="183"/>
                  </a:lnTo>
                  <a:lnTo>
                    <a:pt x="0" y="194"/>
                  </a:lnTo>
                  <a:lnTo>
                    <a:pt x="450" y="194"/>
                  </a:lnTo>
                  <a:lnTo>
                    <a:pt x="463" y="183"/>
                  </a:lnTo>
                  <a:moveTo>
                    <a:pt x="688" y="0"/>
                  </a:moveTo>
                  <a:lnTo>
                    <a:pt x="0" y="0"/>
                  </a:lnTo>
                  <a:lnTo>
                    <a:pt x="0" y="11"/>
                  </a:lnTo>
                  <a:lnTo>
                    <a:pt x="674" y="11"/>
                  </a:lnTo>
                  <a:lnTo>
                    <a:pt x="6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 name="Freeform 114">
              <a:extLst>
                <a:ext uri="{FF2B5EF4-FFF2-40B4-BE49-F238E27FC236}">
                  <a16:creationId xmlns:a16="http://schemas.microsoft.com/office/drawing/2014/main" id="{9D00020A-144C-49C2-9B18-69CE6E76C114}"/>
                </a:ext>
              </a:extLst>
            </p:cNvPr>
            <p:cNvSpPr>
              <a:spLocks/>
            </p:cNvSpPr>
            <p:nvPr/>
          </p:nvSpPr>
          <p:spPr bwMode="auto">
            <a:xfrm>
              <a:off x="6" y="629"/>
              <a:ext cx="899" cy="171"/>
            </a:xfrm>
            <a:custGeom>
              <a:avLst/>
              <a:gdLst>
                <a:gd name="T0" fmla="*/ 899 w 899"/>
                <a:gd name="T1" fmla="*/ 0 h 171"/>
                <a:gd name="T2" fmla="*/ 0 w 899"/>
                <a:gd name="T3" fmla="*/ 0 h 171"/>
                <a:gd name="T4" fmla="*/ 0 w 899"/>
                <a:gd name="T5" fmla="*/ 171 h 171"/>
                <a:gd name="T6" fmla="*/ 688 w 899"/>
                <a:gd name="T7" fmla="*/ 171 h 171"/>
                <a:gd name="T8" fmla="*/ 899 w 899"/>
                <a:gd name="T9" fmla="*/ 0 h 171"/>
              </a:gdLst>
              <a:ahLst/>
              <a:cxnLst>
                <a:cxn ang="0">
                  <a:pos x="T0" y="T1"/>
                </a:cxn>
                <a:cxn ang="0">
                  <a:pos x="T2" y="T3"/>
                </a:cxn>
                <a:cxn ang="0">
                  <a:pos x="T4" y="T5"/>
                </a:cxn>
                <a:cxn ang="0">
                  <a:pos x="T6" y="T7"/>
                </a:cxn>
                <a:cxn ang="0">
                  <a:pos x="T8" y="T9"/>
                </a:cxn>
              </a:cxnLst>
              <a:rect l="0" t="0" r="r" b="b"/>
              <a:pathLst>
                <a:path w="899" h="171">
                  <a:moveTo>
                    <a:pt x="899" y="0"/>
                  </a:moveTo>
                  <a:lnTo>
                    <a:pt x="0" y="0"/>
                  </a:lnTo>
                  <a:lnTo>
                    <a:pt x="0" y="171"/>
                  </a:lnTo>
                  <a:lnTo>
                    <a:pt x="688" y="171"/>
                  </a:lnTo>
                  <a:lnTo>
                    <a:pt x="8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 name="Freeform 116">
              <a:extLst>
                <a:ext uri="{FF2B5EF4-FFF2-40B4-BE49-F238E27FC236}">
                  <a16:creationId xmlns:a16="http://schemas.microsoft.com/office/drawing/2014/main" id="{8A1EB51A-A51B-4BB4-8AF0-14EABA9868A5}"/>
                </a:ext>
              </a:extLst>
            </p:cNvPr>
            <p:cNvSpPr>
              <a:spLocks/>
            </p:cNvSpPr>
            <p:nvPr/>
          </p:nvSpPr>
          <p:spPr bwMode="auto">
            <a:xfrm>
              <a:off x="6" y="811"/>
              <a:ext cx="674" cy="172"/>
            </a:xfrm>
            <a:custGeom>
              <a:avLst/>
              <a:gdLst>
                <a:gd name="T0" fmla="*/ 674 w 674"/>
                <a:gd name="T1" fmla="*/ 0 h 172"/>
                <a:gd name="T2" fmla="*/ 0 w 674"/>
                <a:gd name="T3" fmla="*/ 0 h 172"/>
                <a:gd name="T4" fmla="*/ 0 w 674"/>
                <a:gd name="T5" fmla="*/ 172 h 172"/>
                <a:gd name="T6" fmla="*/ 463 w 674"/>
                <a:gd name="T7" fmla="*/ 172 h 172"/>
                <a:gd name="T8" fmla="*/ 674 w 674"/>
                <a:gd name="T9" fmla="*/ 0 h 172"/>
              </a:gdLst>
              <a:ahLst/>
              <a:cxnLst>
                <a:cxn ang="0">
                  <a:pos x="T0" y="T1"/>
                </a:cxn>
                <a:cxn ang="0">
                  <a:pos x="T2" y="T3"/>
                </a:cxn>
                <a:cxn ang="0">
                  <a:pos x="T4" y="T5"/>
                </a:cxn>
                <a:cxn ang="0">
                  <a:pos x="T6" y="T7"/>
                </a:cxn>
                <a:cxn ang="0">
                  <a:pos x="T8" y="T9"/>
                </a:cxn>
              </a:cxnLst>
              <a:rect l="0" t="0" r="r" b="b"/>
              <a:pathLst>
                <a:path w="674" h="172">
                  <a:moveTo>
                    <a:pt x="674" y="0"/>
                  </a:moveTo>
                  <a:lnTo>
                    <a:pt x="0" y="0"/>
                  </a:lnTo>
                  <a:lnTo>
                    <a:pt x="0" y="172"/>
                  </a:lnTo>
                  <a:lnTo>
                    <a:pt x="463" y="172"/>
                  </a:lnTo>
                  <a:lnTo>
                    <a:pt x="6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 name="Freeform 118">
              <a:extLst>
                <a:ext uri="{FF2B5EF4-FFF2-40B4-BE49-F238E27FC236}">
                  <a16:creationId xmlns:a16="http://schemas.microsoft.com/office/drawing/2014/main" id="{0C6C4BA4-D6C5-40F9-B894-B213BE88CB7D}"/>
                </a:ext>
              </a:extLst>
            </p:cNvPr>
            <p:cNvSpPr>
              <a:spLocks/>
            </p:cNvSpPr>
            <p:nvPr/>
          </p:nvSpPr>
          <p:spPr bwMode="auto">
            <a:xfrm>
              <a:off x="6" y="994"/>
              <a:ext cx="450" cy="171"/>
            </a:xfrm>
            <a:custGeom>
              <a:avLst/>
              <a:gdLst>
                <a:gd name="T0" fmla="*/ 450 w 450"/>
                <a:gd name="T1" fmla="*/ 0 h 171"/>
                <a:gd name="T2" fmla="*/ 0 w 450"/>
                <a:gd name="T3" fmla="*/ 0 h 171"/>
                <a:gd name="T4" fmla="*/ 0 w 450"/>
                <a:gd name="T5" fmla="*/ 171 h 171"/>
                <a:gd name="T6" fmla="*/ 238 w 450"/>
                <a:gd name="T7" fmla="*/ 171 h 171"/>
                <a:gd name="T8" fmla="*/ 450 w 450"/>
                <a:gd name="T9" fmla="*/ 0 h 171"/>
              </a:gdLst>
              <a:ahLst/>
              <a:cxnLst>
                <a:cxn ang="0">
                  <a:pos x="T0" y="T1"/>
                </a:cxn>
                <a:cxn ang="0">
                  <a:pos x="T2" y="T3"/>
                </a:cxn>
                <a:cxn ang="0">
                  <a:pos x="T4" y="T5"/>
                </a:cxn>
                <a:cxn ang="0">
                  <a:pos x="T6" y="T7"/>
                </a:cxn>
                <a:cxn ang="0">
                  <a:pos x="T8" y="T9"/>
                </a:cxn>
              </a:cxnLst>
              <a:rect l="0" t="0" r="r" b="b"/>
              <a:pathLst>
                <a:path w="450" h="171">
                  <a:moveTo>
                    <a:pt x="450" y="0"/>
                  </a:moveTo>
                  <a:lnTo>
                    <a:pt x="0" y="0"/>
                  </a:lnTo>
                  <a:lnTo>
                    <a:pt x="0" y="171"/>
                  </a:lnTo>
                  <a:lnTo>
                    <a:pt x="238" y="171"/>
                  </a:lnTo>
                  <a:lnTo>
                    <a:pt x="4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6" name="Freeform 120">
              <a:extLst>
                <a:ext uri="{FF2B5EF4-FFF2-40B4-BE49-F238E27FC236}">
                  <a16:creationId xmlns:a16="http://schemas.microsoft.com/office/drawing/2014/main" id="{A1BF2982-3D63-4C04-B2FB-3336B9086CA1}"/>
                </a:ext>
              </a:extLst>
            </p:cNvPr>
            <p:cNvSpPr>
              <a:spLocks/>
            </p:cNvSpPr>
            <p:nvPr/>
          </p:nvSpPr>
          <p:spPr bwMode="auto">
            <a:xfrm>
              <a:off x="6" y="1187"/>
              <a:ext cx="211" cy="171"/>
            </a:xfrm>
            <a:custGeom>
              <a:avLst/>
              <a:gdLst>
                <a:gd name="T0" fmla="*/ 211 w 211"/>
                <a:gd name="T1" fmla="*/ 0 h 171"/>
                <a:gd name="T2" fmla="*/ 0 w 211"/>
                <a:gd name="T3" fmla="*/ 0 h 171"/>
                <a:gd name="T4" fmla="*/ 0 w 211"/>
                <a:gd name="T5" fmla="*/ 171 h 171"/>
                <a:gd name="T6" fmla="*/ 211 w 211"/>
                <a:gd name="T7" fmla="*/ 0 h 171"/>
              </a:gdLst>
              <a:ahLst/>
              <a:cxnLst>
                <a:cxn ang="0">
                  <a:pos x="T0" y="T1"/>
                </a:cxn>
                <a:cxn ang="0">
                  <a:pos x="T2" y="T3"/>
                </a:cxn>
                <a:cxn ang="0">
                  <a:pos x="T4" y="T5"/>
                </a:cxn>
                <a:cxn ang="0">
                  <a:pos x="T6" y="T7"/>
                </a:cxn>
              </a:cxnLst>
              <a:rect l="0" t="0" r="r" b="b"/>
              <a:pathLst>
                <a:path w="211" h="171">
                  <a:moveTo>
                    <a:pt x="211" y="0"/>
                  </a:moveTo>
                  <a:lnTo>
                    <a:pt x="0" y="0"/>
                  </a:lnTo>
                  <a:lnTo>
                    <a:pt x="0" y="171"/>
                  </a:lnTo>
                  <a:lnTo>
                    <a:pt x="2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7" name="Freeform 121">
              <a:extLst>
                <a:ext uri="{FF2B5EF4-FFF2-40B4-BE49-F238E27FC236}">
                  <a16:creationId xmlns:a16="http://schemas.microsoft.com/office/drawing/2014/main" id="{788574EE-C9DA-413D-9F19-FE2CD01827A2}"/>
                </a:ext>
              </a:extLst>
            </p:cNvPr>
            <p:cNvSpPr>
              <a:spLocks/>
            </p:cNvSpPr>
            <p:nvPr/>
          </p:nvSpPr>
          <p:spPr bwMode="auto">
            <a:xfrm>
              <a:off x="825" y="6"/>
              <a:ext cx="857" cy="623"/>
            </a:xfrm>
            <a:custGeom>
              <a:avLst/>
              <a:gdLst>
                <a:gd name="T0" fmla="*/ 60 w 320"/>
                <a:gd name="T1" fmla="*/ 232 h 232"/>
                <a:gd name="T2" fmla="*/ 60 w 320"/>
                <a:gd name="T3" fmla="*/ 164 h 232"/>
                <a:gd name="T4" fmla="*/ 160 w 320"/>
                <a:gd name="T5" fmla="*/ 64 h 232"/>
                <a:gd name="T6" fmla="*/ 260 w 320"/>
                <a:gd name="T7" fmla="*/ 164 h 232"/>
                <a:gd name="T8" fmla="*/ 260 w 320"/>
                <a:gd name="T9" fmla="*/ 232 h 232"/>
                <a:gd name="T10" fmla="*/ 320 w 320"/>
                <a:gd name="T11" fmla="*/ 232 h 232"/>
                <a:gd name="T12" fmla="*/ 320 w 320"/>
                <a:gd name="T13" fmla="*/ 160 h 232"/>
                <a:gd name="T14" fmla="*/ 160 w 320"/>
                <a:gd name="T15" fmla="*/ 0 h 232"/>
                <a:gd name="T16" fmla="*/ 0 w 320"/>
                <a:gd name="T17" fmla="*/ 160 h 232"/>
                <a:gd name="T18" fmla="*/ 0 w 320"/>
                <a:gd name="T19" fmla="*/ 232 h 232"/>
                <a:gd name="T20" fmla="*/ 60 w 3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0" h="232">
                  <a:moveTo>
                    <a:pt x="60" y="232"/>
                  </a:moveTo>
                  <a:cubicBezTo>
                    <a:pt x="60" y="164"/>
                    <a:pt x="60" y="164"/>
                    <a:pt x="60" y="164"/>
                  </a:cubicBezTo>
                  <a:cubicBezTo>
                    <a:pt x="60" y="109"/>
                    <a:pt x="105" y="64"/>
                    <a:pt x="160" y="64"/>
                  </a:cubicBezTo>
                  <a:cubicBezTo>
                    <a:pt x="215" y="64"/>
                    <a:pt x="260" y="109"/>
                    <a:pt x="260" y="164"/>
                  </a:cubicBezTo>
                  <a:cubicBezTo>
                    <a:pt x="260" y="232"/>
                    <a:pt x="260" y="232"/>
                    <a:pt x="260" y="232"/>
                  </a:cubicBezTo>
                  <a:cubicBezTo>
                    <a:pt x="320" y="232"/>
                    <a:pt x="320" y="232"/>
                    <a:pt x="320" y="232"/>
                  </a:cubicBezTo>
                  <a:cubicBezTo>
                    <a:pt x="320" y="160"/>
                    <a:pt x="320" y="160"/>
                    <a:pt x="320" y="160"/>
                  </a:cubicBezTo>
                  <a:cubicBezTo>
                    <a:pt x="320" y="72"/>
                    <a:pt x="248" y="0"/>
                    <a:pt x="160" y="0"/>
                  </a:cubicBezTo>
                  <a:cubicBezTo>
                    <a:pt x="72" y="0"/>
                    <a:pt x="0" y="72"/>
                    <a:pt x="0" y="160"/>
                  </a:cubicBezTo>
                  <a:cubicBezTo>
                    <a:pt x="0" y="232"/>
                    <a:pt x="0" y="232"/>
                    <a:pt x="0" y="232"/>
                  </a:cubicBezTo>
                  <a:cubicBezTo>
                    <a:pt x="60" y="232"/>
                    <a:pt x="60" y="232"/>
                    <a:pt x="60" y="232"/>
                  </a:cubicBezTo>
                </a:path>
              </a:pathLst>
            </a:custGeom>
            <a:solidFill>
              <a:schemeClr val="bg1"/>
            </a:solidFill>
            <a:ln w="19050">
              <a:solidFill>
                <a:schemeClr val="accent4"/>
              </a:solid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38" name="Rectangle 37">
            <a:extLst>
              <a:ext uri="{FF2B5EF4-FFF2-40B4-BE49-F238E27FC236}">
                <a16:creationId xmlns:a16="http://schemas.microsoft.com/office/drawing/2014/main" id="{24660A59-2E08-4E44-A27B-803DEF6AD262}"/>
              </a:ext>
            </a:extLst>
          </p:cNvPr>
          <p:cNvSpPr/>
          <p:nvPr/>
        </p:nvSpPr>
        <p:spPr>
          <a:xfrm>
            <a:off x="348923" y="1103549"/>
            <a:ext cx="7679980" cy="369332"/>
          </a:xfrm>
          <a:prstGeom prst="rect">
            <a:avLst/>
          </a:prstGeom>
        </p:spPr>
        <p:txBody>
          <a:bodyPr wrap="square">
            <a:spAutoFit/>
          </a:bodyPr>
          <a:lstStyle/>
          <a:p>
            <a:pPr defTabSz="913505" fontAlgn="base">
              <a:lnSpc>
                <a:spcPct val="90000"/>
              </a:lnSpc>
              <a:spcBef>
                <a:spcPct val="20000"/>
              </a:spcBef>
              <a:spcAft>
                <a:spcPct val="0"/>
              </a:spcAft>
              <a:buSzPct val="90000"/>
            </a:pPr>
            <a:r>
              <a:rPr lang="en-US" sz="2000">
                <a:latin typeface="Segoe UI" panose="020B0502040204020203" pitchFamily="34" charset="0"/>
                <a:ea typeface="ＭＳ Ｐゴシック" charset="0"/>
                <a:cs typeface="Segoe UI" panose="020B0502040204020203" pitchFamily="34" charset="0"/>
              </a:rPr>
              <a:t>Discover, restrict, and monitor privileged identities</a:t>
            </a:r>
          </a:p>
        </p:txBody>
      </p:sp>
      <p:cxnSp>
        <p:nvCxnSpPr>
          <p:cNvPr id="39" name="Straight Arrow Connector 38">
            <a:extLst>
              <a:ext uri="{FF2B5EF4-FFF2-40B4-BE49-F238E27FC236}">
                <a16:creationId xmlns:a16="http://schemas.microsoft.com/office/drawing/2014/main" id="{16303A7D-1E6D-4482-B37C-80219A579839}"/>
              </a:ext>
            </a:extLst>
          </p:cNvPr>
          <p:cNvCxnSpPr>
            <a:cxnSpLocks/>
          </p:cNvCxnSpPr>
          <p:nvPr/>
        </p:nvCxnSpPr>
        <p:spPr>
          <a:xfrm>
            <a:off x="1553182" y="2812732"/>
            <a:ext cx="574068" cy="0"/>
          </a:xfrm>
          <a:prstGeom prst="straightConnector1">
            <a:avLst/>
          </a:prstGeom>
          <a:noFill/>
          <a:ln w="19050" cap="flat" cmpd="sng" algn="ctr">
            <a:solidFill>
              <a:schemeClr val="accent5"/>
            </a:solidFill>
            <a:prstDash val="solid"/>
            <a:headEnd type="none"/>
            <a:tailEnd type="triangle" w="lg" len="lg"/>
          </a:ln>
          <a:effectLst/>
        </p:spPr>
      </p:cxnSp>
      <p:grpSp>
        <p:nvGrpSpPr>
          <p:cNvPr id="40" name="Group 39">
            <a:extLst>
              <a:ext uri="{FF2B5EF4-FFF2-40B4-BE49-F238E27FC236}">
                <a16:creationId xmlns:a16="http://schemas.microsoft.com/office/drawing/2014/main" id="{9EFABA01-526F-442B-ABC1-4A2A05C62137}"/>
              </a:ext>
            </a:extLst>
          </p:cNvPr>
          <p:cNvGrpSpPr/>
          <p:nvPr/>
        </p:nvGrpSpPr>
        <p:grpSpPr>
          <a:xfrm>
            <a:off x="769264" y="2524697"/>
            <a:ext cx="578570" cy="578570"/>
            <a:chOff x="769264" y="3382656"/>
            <a:chExt cx="578570" cy="578570"/>
          </a:xfrm>
        </p:grpSpPr>
        <p:sp>
          <p:nvSpPr>
            <p:cNvPr id="41" name="Oval 40">
              <a:extLst>
                <a:ext uri="{FF2B5EF4-FFF2-40B4-BE49-F238E27FC236}">
                  <a16:creationId xmlns:a16="http://schemas.microsoft.com/office/drawing/2014/main" id="{4B330C36-68EC-4351-BD31-9A377EB2C2F5}"/>
                </a:ext>
              </a:extLst>
            </p:cNvPr>
            <p:cNvSpPr/>
            <p:nvPr/>
          </p:nvSpPr>
          <p:spPr bwMode="auto">
            <a:xfrm>
              <a:off x="769264" y="3382656"/>
              <a:ext cx="578570" cy="578570"/>
            </a:xfrm>
            <a:prstGeom prst="ellipse">
              <a:avLst/>
            </a:prstGeom>
            <a:solidFill>
              <a:srgbClr val="0078D7">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2" name="Freeform 48">
              <a:extLst>
                <a:ext uri="{FF2B5EF4-FFF2-40B4-BE49-F238E27FC236}">
                  <a16:creationId xmlns:a16="http://schemas.microsoft.com/office/drawing/2014/main" id="{852D3075-E7A5-492A-A25C-87AB1567C2EA}"/>
                </a:ext>
              </a:extLst>
            </p:cNvPr>
            <p:cNvSpPr>
              <a:spLocks noChangeAspect="1"/>
            </p:cNvSpPr>
            <p:nvPr/>
          </p:nvSpPr>
          <p:spPr bwMode="black">
            <a:xfrm>
              <a:off x="887694" y="3522029"/>
              <a:ext cx="341710" cy="299824"/>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ysClr val="window" lastClr="FFFFFF"/>
            </a:solidFill>
            <a:ln w="6350" cap="flat" cmpd="sng" algn="ctr">
              <a:noFill/>
              <a:prstDash val="solid"/>
              <a:miter lim="800000"/>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D0C4C6EF-DA4B-4B77-BA84-C0847F162E2F}"/>
              </a:ext>
            </a:extLst>
          </p:cNvPr>
          <p:cNvGrpSpPr/>
          <p:nvPr/>
        </p:nvGrpSpPr>
        <p:grpSpPr>
          <a:xfrm>
            <a:off x="2434584" y="2524697"/>
            <a:ext cx="578570" cy="578570"/>
            <a:chOff x="2013164" y="3382656"/>
            <a:chExt cx="578570" cy="578570"/>
          </a:xfrm>
        </p:grpSpPr>
        <p:sp>
          <p:nvSpPr>
            <p:cNvPr id="44" name="Oval 43">
              <a:extLst>
                <a:ext uri="{FF2B5EF4-FFF2-40B4-BE49-F238E27FC236}">
                  <a16:creationId xmlns:a16="http://schemas.microsoft.com/office/drawing/2014/main" id="{1DF5DBFB-E84E-4A30-A1A5-D430BF2D88B8}"/>
                </a:ext>
              </a:extLst>
            </p:cNvPr>
            <p:cNvSpPr/>
            <p:nvPr/>
          </p:nvSpPr>
          <p:spPr bwMode="auto">
            <a:xfrm>
              <a:off x="2013164" y="3382656"/>
              <a:ext cx="578570" cy="578570"/>
            </a:xfrm>
            <a:prstGeom prst="ellipse">
              <a:avLst/>
            </a:prstGeom>
            <a:solidFill>
              <a:srgbClr val="005AA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 name="Freeform 54">
              <a:extLst>
                <a:ext uri="{FF2B5EF4-FFF2-40B4-BE49-F238E27FC236}">
                  <a16:creationId xmlns:a16="http://schemas.microsoft.com/office/drawing/2014/main" id="{CE7B53AA-7DB5-4CDD-9E08-5B750986B6D9}"/>
                </a:ext>
              </a:extLst>
            </p:cNvPr>
            <p:cNvSpPr>
              <a:spLocks noChangeAspect="1" noEditPoints="1"/>
            </p:cNvSpPr>
            <p:nvPr/>
          </p:nvSpPr>
          <p:spPr bwMode="black">
            <a:xfrm>
              <a:off x="2137342" y="3506834"/>
              <a:ext cx="330215" cy="330215"/>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46" name="TextBox 45">
            <a:extLst>
              <a:ext uri="{FF2B5EF4-FFF2-40B4-BE49-F238E27FC236}">
                <a16:creationId xmlns:a16="http://schemas.microsoft.com/office/drawing/2014/main" id="{BA97C2C2-AA32-4C34-B251-912213437CAD}"/>
              </a:ext>
            </a:extLst>
          </p:cNvPr>
          <p:cNvSpPr txBox="1"/>
          <p:nvPr/>
        </p:nvSpPr>
        <p:spPr>
          <a:xfrm>
            <a:off x="5498894" y="3164931"/>
            <a:ext cx="1111231" cy="244682"/>
          </a:xfrm>
          <a:prstGeom prst="rect">
            <a:avLst/>
          </a:prstGeom>
          <a:noFill/>
        </p:spPr>
        <p:txBody>
          <a:bodyPr wrap="square" rtlCol="0">
            <a:spAutoFit/>
          </a:bodyPr>
          <a:lstStyle/>
          <a:p>
            <a:pPr algn="ctr" defTabSz="896066">
              <a:lnSpc>
                <a:spcPct val="90000"/>
              </a:lnSpc>
              <a:defRPr/>
            </a:pPr>
            <a:r>
              <a:rPr lang="en-US" sz="1100" kern="0">
                <a:solidFill>
                  <a:srgbClr val="0078D7"/>
                </a:solidFill>
                <a:cs typeface="Segoe UI Light" panose="020B0502040204020203" pitchFamily="34" charset="0"/>
              </a:rPr>
              <a:t>User</a:t>
            </a:r>
          </a:p>
        </p:txBody>
      </p:sp>
      <p:grpSp>
        <p:nvGrpSpPr>
          <p:cNvPr id="47" name="Group 46">
            <a:extLst>
              <a:ext uri="{FF2B5EF4-FFF2-40B4-BE49-F238E27FC236}">
                <a16:creationId xmlns:a16="http://schemas.microsoft.com/office/drawing/2014/main" id="{3642B810-96CE-4446-8FFF-2907EE3C938E}"/>
              </a:ext>
            </a:extLst>
          </p:cNvPr>
          <p:cNvGrpSpPr/>
          <p:nvPr/>
        </p:nvGrpSpPr>
        <p:grpSpPr>
          <a:xfrm>
            <a:off x="5765224" y="2524697"/>
            <a:ext cx="578570" cy="578570"/>
            <a:chOff x="769264" y="3382656"/>
            <a:chExt cx="578570" cy="578570"/>
          </a:xfrm>
        </p:grpSpPr>
        <p:sp>
          <p:nvSpPr>
            <p:cNvPr id="48" name="Oval 47">
              <a:extLst>
                <a:ext uri="{FF2B5EF4-FFF2-40B4-BE49-F238E27FC236}">
                  <a16:creationId xmlns:a16="http://schemas.microsoft.com/office/drawing/2014/main" id="{F19EB96B-BAF4-485C-8972-67A0167C59B6}"/>
                </a:ext>
              </a:extLst>
            </p:cNvPr>
            <p:cNvSpPr/>
            <p:nvPr/>
          </p:nvSpPr>
          <p:spPr bwMode="auto">
            <a:xfrm>
              <a:off x="769264" y="3382656"/>
              <a:ext cx="578570" cy="578570"/>
            </a:xfrm>
            <a:prstGeom prst="ellipse">
              <a:avLst/>
            </a:prstGeom>
            <a:solidFill>
              <a:srgbClr val="0078D7">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9" name="Freeform 48">
              <a:extLst>
                <a:ext uri="{FF2B5EF4-FFF2-40B4-BE49-F238E27FC236}">
                  <a16:creationId xmlns:a16="http://schemas.microsoft.com/office/drawing/2014/main" id="{287BDE01-5217-4D24-9C15-001105394617}"/>
                </a:ext>
              </a:extLst>
            </p:cNvPr>
            <p:cNvSpPr>
              <a:spLocks noChangeAspect="1"/>
            </p:cNvSpPr>
            <p:nvPr/>
          </p:nvSpPr>
          <p:spPr bwMode="black">
            <a:xfrm>
              <a:off x="887694" y="3522029"/>
              <a:ext cx="341710" cy="299824"/>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ysClr val="window" lastClr="FFFFFF"/>
            </a:solidFill>
            <a:ln w="6350" cap="flat" cmpd="sng" algn="ctr">
              <a:noFill/>
              <a:prstDash val="solid"/>
              <a:miter lim="800000"/>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cxnSp>
        <p:nvCxnSpPr>
          <p:cNvPr id="50" name="Straight Arrow Connector 49">
            <a:extLst>
              <a:ext uri="{FF2B5EF4-FFF2-40B4-BE49-F238E27FC236}">
                <a16:creationId xmlns:a16="http://schemas.microsoft.com/office/drawing/2014/main" id="{9840DBE1-FE45-44DF-B588-2547FAADB27B}"/>
              </a:ext>
            </a:extLst>
          </p:cNvPr>
          <p:cNvCxnSpPr>
            <a:cxnSpLocks/>
          </p:cNvCxnSpPr>
          <p:nvPr/>
        </p:nvCxnSpPr>
        <p:spPr>
          <a:xfrm>
            <a:off x="4959350" y="2834286"/>
            <a:ext cx="570231" cy="0"/>
          </a:xfrm>
          <a:prstGeom prst="straightConnector1">
            <a:avLst/>
          </a:prstGeom>
          <a:noFill/>
          <a:ln w="19050" cap="flat" cmpd="sng" algn="ctr">
            <a:solidFill>
              <a:schemeClr val="accent5"/>
            </a:solidFill>
            <a:prstDash val="solid"/>
            <a:headEnd type="none"/>
            <a:tailEnd type="triangle" w="lg" len="lg"/>
          </a:ln>
          <a:effectLst/>
        </p:spPr>
      </p:cxnSp>
      <p:cxnSp>
        <p:nvCxnSpPr>
          <p:cNvPr id="51" name="Straight Arrow Connector 50">
            <a:extLst>
              <a:ext uri="{FF2B5EF4-FFF2-40B4-BE49-F238E27FC236}">
                <a16:creationId xmlns:a16="http://schemas.microsoft.com/office/drawing/2014/main" id="{C4E37A4E-2F73-4835-A680-18D139E6C5CB}"/>
              </a:ext>
            </a:extLst>
          </p:cNvPr>
          <p:cNvCxnSpPr>
            <a:cxnSpLocks/>
          </p:cNvCxnSpPr>
          <p:nvPr/>
        </p:nvCxnSpPr>
        <p:spPr>
          <a:xfrm>
            <a:off x="3372728" y="2834286"/>
            <a:ext cx="495975" cy="0"/>
          </a:xfrm>
          <a:prstGeom prst="straightConnector1">
            <a:avLst/>
          </a:prstGeom>
          <a:noFill/>
          <a:ln w="19050" cap="flat" cmpd="sng" algn="ctr">
            <a:solidFill>
              <a:schemeClr val="accent5"/>
            </a:solidFill>
            <a:prstDash val="solid"/>
            <a:headEnd type="none"/>
            <a:tailEnd type="triangle" w="lg" len="lg"/>
          </a:ln>
          <a:effectLst/>
        </p:spPr>
      </p:cxnSp>
      <p:grpSp>
        <p:nvGrpSpPr>
          <p:cNvPr id="52" name="Group 51">
            <a:extLst>
              <a:ext uri="{FF2B5EF4-FFF2-40B4-BE49-F238E27FC236}">
                <a16:creationId xmlns:a16="http://schemas.microsoft.com/office/drawing/2014/main" id="{2039B2DA-975C-4574-9B4B-739FC70A8E3E}"/>
              </a:ext>
            </a:extLst>
          </p:cNvPr>
          <p:cNvGrpSpPr/>
          <p:nvPr/>
        </p:nvGrpSpPr>
        <p:grpSpPr>
          <a:xfrm>
            <a:off x="4099904" y="2524697"/>
            <a:ext cx="578570" cy="578570"/>
            <a:chOff x="4099904" y="3382656"/>
            <a:chExt cx="578570" cy="578570"/>
          </a:xfrm>
        </p:grpSpPr>
        <p:sp>
          <p:nvSpPr>
            <p:cNvPr id="53" name="Oval 52">
              <a:extLst>
                <a:ext uri="{FF2B5EF4-FFF2-40B4-BE49-F238E27FC236}">
                  <a16:creationId xmlns:a16="http://schemas.microsoft.com/office/drawing/2014/main" id="{99E013D1-30D6-4DD3-B584-8056148BE786}"/>
                </a:ext>
              </a:extLst>
            </p:cNvPr>
            <p:cNvSpPr/>
            <p:nvPr/>
          </p:nvSpPr>
          <p:spPr bwMode="auto">
            <a:xfrm>
              <a:off x="4099904" y="3382656"/>
              <a:ext cx="578570" cy="578570"/>
            </a:xfrm>
            <a:prstGeom prst="ellipse">
              <a:avLst/>
            </a:prstGeom>
            <a:solidFill>
              <a:srgbClr val="FFFFFF"/>
            </a:solidFill>
            <a:ln w="6350" cap="flat" cmpd="sng" algn="ctr">
              <a:solidFill>
                <a:srgbClr val="505050"/>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4" name="Freeform 126">
              <a:extLst>
                <a:ext uri="{FF2B5EF4-FFF2-40B4-BE49-F238E27FC236}">
                  <a16:creationId xmlns:a16="http://schemas.microsoft.com/office/drawing/2014/main" id="{55017C5E-1525-41BA-8BAB-0938AFD4B04F}"/>
                </a:ext>
              </a:extLst>
            </p:cNvPr>
            <p:cNvSpPr>
              <a:spLocks noChangeAspect="1" noEditPoints="1"/>
            </p:cNvSpPr>
            <p:nvPr/>
          </p:nvSpPr>
          <p:spPr bwMode="auto">
            <a:xfrm>
              <a:off x="4222032" y="3502025"/>
              <a:ext cx="334316" cy="339832"/>
            </a:xfrm>
            <a:custGeom>
              <a:avLst/>
              <a:gdLst>
                <a:gd name="T0" fmla="*/ 68 w 128"/>
                <a:gd name="T1" fmla="*/ 32 h 128"/>
                <a:gd name="T2" fmla="*/ 68 w 128"/>
                <a:gd name="T3" fmla="*/ 62 h 128"/>
                <a:gd name="T4" fmla="*/ 90 w 128"/>
                <a:gd name="T5" fmla="*/ 84 h 128"/>
                <a:gd name="T6" fmla="*/ 84 w 128"/>
                <a:gd name="T7" fmla="*/ 89 h 128"/>
                <a:gd name="T8" fmla="*/ 60 w 128"/>
                <a:gd name="T9" fmla="*/ 66 h 128"/>
                <a:gd name="T10" fmla="*/ 60 w 128"/>
                <a:gd name="T11" fmla="*/ 32 h 128"/>
                <a:gd name="T12" fmla="*/ 68 w 128"/>
                <a:gd name="T13" fmla="*/ 32 h 128"/>
                <a:gd name="T14" fmla="*/ 64 w 128"/>
                <a:gd name="T15" fmla="*/ 0 h 128"/>
                <a:gd name="T16" fmla="*/ 10 w 128"/>
                <a:gd name="T17" fmla="*/ 30 h 128"/>
                <a:gd name="T18" fmla="*/ 8 w 128"/>
                <a:gd name="T19" fmla="*/ 33 h 128"/>
                <a:gd name="T20" fmla="*/ 8 w 128"/>
                <a:gd name="T21" fmla="*/ 34 h 128"/>
                <a:gd name="T22" fmla="*/ 8 w 128"/>
                <a:gd name="T23" fmla="*/ 33 h 128"/>
                <a:gd name="T24" fmla="*/ 8 w 128"/>
                <a:gd name="T25" fmla="*/ 16 h 128"/>
                <a:gd name="T26" fmla="*/ 0 w 128"/>
                <a:gd name="T27" fmla="*/ 16 h 128"/>
                <a:gd name="T28" fmla="*/ 0 w 128"/>
                <a:gd name="T29" fmla="*/ 48 h 128"/>
                <a:gd name="T30" fmla="*/ 32 w 128"/>
                <a:gd name="T31" fmla="*/ 48 h 128"/>
                <a:gd name="T32" fmla="*/ 32 w 128"/>
                <a:gd name="T33" fmla="*/ 40 h 128"/>
                <a:gd name="T34" fmla="*/ 14 w 128"/>
                <a:gd name="T35" fmla="*/ 40 h 128"/>
                <a:gd name="T36" fmla="*/ 17 w 128"/>
                <a:gd name="T37" fmla="*/ 34 h 128"/>
                <a:gd name="T38" fmla="*/ 64 w 128"/>
                <a:gd name="T39" fmla="*/ 8 h 128"/>
                <a:gd name="T40" fmla="*/ 120 w 128"/>
                <a:gd name="T41" fmla="*/ 64 h 128"/>
                <a:gd name="T42" fmla="*/ 64 w 128"/>
                <a:gd name="T43" fmla="*/ 120 h 128"/>
                <a:gd name="T44" fmla="*/ 8 w 128"/>
                <a:gd name="T45" fmla="*/ 64 h 128"/>
                <a:gd name="T46" fmla="*/ 0 w 128"/>
                <a:gd name="T47" fmla="*/ 64 h 128"/>
                <a:gd name="T48" fmla="*/ 64 w 128"/>
                <a:gd name="T49" fmla="*/ 128 h 128"/>
                <a:gd name="T50" fmla="*/ 128 w 128"/>
                <a:gd name="T51" fmla="*/ 64 h 128"/>
                <a:gd name="T52" fmla="*/ 64 w 128"/>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128">
                  <a:moveTo>
                    <a:pt x="68" y="32"/>
                  </a:moveTo>
                  <a:cubicBezTo>
                    <a:pt x="68" y="62"/>
                    <a:pt x="68" y="62"/>
                    <a:pt x="68" y="62"/>
                  </a:cubicBezTo>
                  <a:cubicBezTo>
                    <a:pt x="90" y="84"/>
                    <a:pt x="90" y="84"/>
                    <a:pt x="90" y="84"/>
                  </a:cubicBezTo>
                  <a:cubicBezTo>
                    <a:pt x="84" y="89"/>
                    <a:pt x="84" y="89"/>
                    <a:pt x="84" y="89"/>
                  </a:cubicBezTo>
                  <a:cubicBezTo>
                    <a:pt x="60" y="66"/>
                    <a:pt x="60" y="66"/>
                    <a:pt x="60" y="66"/>
                  </a:cubicBezTo>
                  <a:cubicBezTo>
                    <a:pt x="60" y="32"/>
                    <a:pt x="60" y="32"/>
                    <a:pt x="60" y="32"/>
                  </a:cubicBezTo>
                  <a:lnTo>
                    <a:pt x="68" y="32"/>
                  </a:lnTo>
                  <a:close/>
                  <a:moveTo>
                    <a:pt x="64" y="0"/>
                  </a:moveTo>
                  <a:cubicBezTo>
                    <a:pt x="42" y="0"/>
                    <a:pt x="22" y="11"/>
                    <a:pt x="10" y="30"/>
                  </a:cubicBezTo>
                  <a:cubicBezTo>
                    <a:pt x="9" y="31"/>
                    <a:pt x="9" y="32"/>
                    <a:pt x="8" y="33"/>
                  </a:cubicBezTo>
                  <a:cubicBezTo>
                    <a:pt x="8" y="34"/>
                    <a:pt x="8" y="34"/>
                    <a:pt x="8" y="34"/>
                  </a:cubicBezTo>
                  <a:cubicBezTo>
                    <a:pt x="8" y="33"/>
                    <a:pt x="8" y="33"/>
                    <a:pt x="8" y="33"/>
                  </a:cubicBezTo>
                  <a:cubicBezTo>
                    <a:pt x="8" y="16"/>
                    <a:pt x="8" y="16"/>
                    <a:pt x="8" y="16"/>
                  </a:cubicBezTo>
                  <a:cubicBezTo>
                    <a:pt x="0" y="16"/>
                    <a:pt x="0" y="16"/>
                    <a:pt x="0" y="16"/>
                  </a:cubicBezTo>
                  <a:cubicBezTo>
                    <a:pt x="0" y="48"/>
                    <a:pt x="0" y="48"/>
                    <a:pt x="0" y="48"/>
                  </a:cubicBezTo>
                  <a:cubicBezTo>
                    <a:pt x="32" y="48"/>
                    <a:pt x="32" y="48"/>
                    <a:pt x="32" y="48"/>
                  </a:cubicBezTo>
                  <a:cubicBezTo>
                    <a:pt x="32" y="40"/>
                    <a:pt x="32" y="40"/>
                    <a:pt x="32" y="40"/>
                  </a:cubicBezTo>
                  <a:cubicBezTo>
                    <a:pt x="14" y="40"/>
                    <a:pt x="14" y="40"/>
                    <a:pt x="14" y="40"/>
                  </a:cubicBezTo>
                  <a:cubicBezTo>
                    <a:pt x="15" y="38"/>
                    <a:pt x="16" y="36"/>
                    <a:pt x="17" y="34"/>
                  </a:cubicBezTo>
                  <a:cubicBezTo>
                    <a:pt x="27" y="18"/>
                    <a:pt x="45" y="8"/>
                    <a:pt x="64" y="8"/>
                  </a:cubicBezTo>
                  <a:cubicBezTo>
                    <a:pt x="95" y="8"/>
                    <a:pt x="120" y="33"/>
                    <a:pt x="120" y="64"/>
                  </a:cubicBezTo>
                  <a:cubicBezTo>
                    <a:pt x="120" y="95"/>
                    <a:pt x="95" y="120"/>
                    <a:pt x="64" y="120"/>
                  </a:cubicBezTo>
                  <a:cubicBezTo>
                    <a:pt x="33" y="120"/>
                    <a:pt x="8" y="95"/>
                    <a:pt x="8" y="64"/>
                  </a:cubicBezTo>
                  <a:cubicBezTo>
                    <a:pt x="0" y="64"/>
                    <a:pt x="0" y="64"/>
                    <a:pt x="0" y="64"/>
                  </a:cubicBezTo>
                  <a:cubicBezTo>
                    <a:pt x="0" y="99"/>
                    <a:pt x="29" y="128"/>
                    <a:pt x="64" y="128"/>
                  </a:cubicBezTo>
                  <a:cubicBezTo>
                    <a:pt x="100" y="128"/>
                    <a:pt x="128" y="99"/>
                    <a:pt x="128" y="64"/>
                  </a:cubicBezTo>
                  <a:cubicBezTo>
                    <a:pt x="128" y="29"/>
                    <a:pt x="100" y="0"/>
                    <a:pt x="64" y="0"/>
                  </a:cubicBez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55" name="TextBox 54">
            <a:extLst>
              <a:ext uri="{FF2B5EF4-FFF2-40B4-BE49-F238E27FC236}">
                <a16:creationId xmlns:a16="http://schemas.microsoft.com/office/drawing/2014/main" id="{854565F5-56CA-49DB-9C2E-A168C2E9C85E}"/>
              </a:ext>
            </a:extLst>
          </p:cNvPr>
          <p:cNvSpPr txBox="1"/>
          <p:nvPr/>
        </p:nvSpPr>
        <p:spPr>
          <a:xfrm>
            <a:off x="3616612" y="3164932"/>
            <a:ext cx="1545154" cy="549381"/>
          </a:xfrm>
          <a:prstGeom prst="rect">
            <a:avLst/>
          </a:prstGeom>
          <a:noFill/>
        </p:spPr>
        <p:txBody>
          <a:bodyPr wrap="square" rtlCol="0">
            <a:spAutoFit/>
          </a:bodyPr>
          <a:lstStyle/>
          <a:p>
            <a:pPr algn="ctr" defTabSz="896066">
              <a:lnSpc>
                <a:spcPct val="90000"/>
              </a:lnSpc>
              <a:defRPr/>
            </a:pPr>
            <a:r>
              <a:rPr lang="en-US" sz="1100" kern="0">
                <a:solidFill>
                  <a:srgbClr val="0078D7"/>
                </a:solidFill>
                <a:cs typeface="Segoe UI Light" panose="020B0502040204020203" pitchFamily="34" charset="0"/>
              </a:rPr>
              <a:t>Administrator privileges expire after a specified interval</a:t>
            </a:r>
          </a:p>
        </p:txBody>
      </p:sp>
      <p:grpSp>
        <p:nvGrpSpPr>
          <p:cNvPr id="56" name="Group 60">
            <a:extLst>
              <a:ext uri="{FF2B5EF4-FFF2-40B4-BE49-F238E27FC236}">
                <a16:creationId xmlns:a16="http://schemas.microsoft.com/office/drawing/2014/main" id="{3B75F394-121F-4ACB-A124-E126B6714457}"/>
              </a:ext>
            </a:extLst>
          </p:cNvPr>
          <p:cNvGrpSpPr>
            <a:grpSpLocks noChangeAspect="1"/>
          </p:cNvGrpSpPr>
          <p:nvPr/>
        </p:nvGrpSpPr>
        <p:grpSpPr bwMode="auto">
          <a:xfrm>
            <a:off x="7080662" y="1718092"/>
            <a:ext cx="881885" cy="1048173"/>
            <a:chOff x="7" y="4"/>
            <a:chExt cx="944" cy="1122"/>
          </a:xfrm>
        </p:grpSpPr>
        <p:sp>
          <p:nvSpPr>
            <p:cNvPr id="57" name="Freeform 61">
              <a:extLst>
                <a:ext uri="{FF2B5EF4-FFF2-40B4-BE49-F238E27FC236}">
                  <a16:creationId xmlns:a16="http://schemas.microsoft.com/office/drawing/2014/main" id="{48B9345C-0029-4869-9F1F-C8F740C66BC3}"/>
                </a:ext>
              </a:extLst>
            </p:cNvPr>
            <p:cNvSpPr>
              <a:spLocks/>
            </p:cNvSpPr>
            <p:nvPr/>
          </p:nvSpPr>
          <p:spPr bwMode="auto">
            <a:xfrm>
              <a:off x="109" y="157"/>
              <a:ext cx="777" cy="894"/>
            </a:xfrm>
            <a:custGeom>
              <a:avLst/>
              <a:gdLst>
                <a:gd name="T0" fmla="*/ 788 w 915"/>
                <a:gd name="T1" fmla="*/ 0 h 1053"/>
                <a:gd name="T2" fmla="*/ 791 w 915"/>
                <a:gd name="T3" fmla="*/ 0 h 1053"/>
                <a:gd name="T4" fmla="*/ 791 w 915"/>
                <a:gd name="T5" fmla="*/ 3 h 1053"/>
                <a:gd name="T6" fmla="*/ 826 w 915"/>
                <a:gd name="T7" fmla="*/ 62 h 1053"/>
                <a:gd name="T8" fmla="*/ 855 w 915"/>
                <a:gd name="T9" fmla="*/ 124 h 1053"/>
                <a:gd name="T10" fmla="*/ 880 w 915"/>
                <a:gd name="T11" fmla="*/ 186 h 1053"/>
                <a:gd name="T12" fmla="*/ 898 w 915"/>
                <a:gd name="T13" fmla="*/ 247 h 1053"/>
                <a:gd name="T14" fmla="*/ 909 w 915"/>
                <a:gd name="T15" fmla="*/ 315 h 1053"/>
                <a:gd name="T16" fmla="*/ 915 w 915"/>
                <a:gd name="T17" fmla="*/ 382 h 1053"/>
                <a:gd name="T18" fmla="*/ 912 w 915"/>
                <a:gd name="T19" fmla="*/ 449 h 1053"/>
                <a:gd name="T20" fmla="*/ 904 w 915"/>
                <a:gd name="T21" fmla="*/ 516 h 1053"/>
                <a:gd name="T22" fmla="*/ 893 w 915"/>
                <a:gd name="T23" fmla="*/ 580 h 1053"/>
                <a:gd name="T24" fmla="*/ 874 w 915"/>
                <a:gd name="T25" fmla="*/ 642 h 1053"/>
                <a:gd name="T26" fmla="*/ 853 w 915"/>
                <a:gd name="T27" fmla="*/ 701 h 1053"/>
                <a:gd name="T28" fmla="*/ 823 w 915"/>
                <a:gd name="T29" fmla="*/ 760 h 1053"/>
                <a:gd name="T30" fmla="*/ 788 w 915"/>
                <a:gd name="T31" fmla="*/ 817 h 1053"/>
                <a:gd name="T32" fmla="*/ 756 w 915"/>
                <a:gd name="T33" fmla="*/ 860 h 1053"/>
                <a:gd name="T34" fmla="*/ 726 w 915"/>
                <a:gd name="T35" fmla="*/ 892 h 1053"/>
                <a:gd name="T36" fmla="*/ 683 w 915"/>
                <a:gd name="T37" fmla="*/ 932 h 1053"/>
                <a:gd name="T38" fmla="*/ 640 w 915"/>
                <a:gd name="T39" fmla="*/ 965 h 1053"/>
                <a:gd name="T40" fmla="*/ 595 w 915"/>
                <a:gd name="T41" fmla="*/ 994 h 1053"/>
                <a:gd name="T42" fmla="*/ 544 w 915"/>
                <a:gd name="T43" fmla="*/ 1021 h 1053"/>
                <a:gd name="T44" fmla="*/ 492 w 915"/>
                <a:gd name="T45" fmla="*/ 1042 h 1053"/>
                <a:gd name="T46" fmla="*/ 460 w 915"/>
                <a:gd name="T47" fmla="*/ 1053 h 1053"/>
                <a:gd name="T48" fmla="*/ 449 w 915"/>
                <a:gd name="T49" fmla="*/ 1050 h 1053"/>
                <a:gd name="T50" fmla="*/ 412 w 915"/>
                <a:gd name="T51" fmla="*/ 1040 h 1053"/>
                <a:gd name="T52" fmla="*/ 353 w 915"/>
                <a:gd name="T53" fmla="*/ 1013 h 1053"/>
                <a:gd name="T54" fmla="*/ 296 w 915"/>
                <a:gd name="T55" fmla="*/ 981 h 1053"/>
                <a:gd name="T56" fmla="*/ 245 w 915"/>
                <a:gd name="T57" fmla="*/ 943 h 1053"/>
                <a:gd name="T58" fmla="*/ 199 w 915"/>
                <a:gd name="T59" fmla="*/ 903 h 1053"/>
                <a:gd name="T60" fmla="*/ 156 w 915"/>
                <a:gd name="T61" fmla="*/ 857 h 1053"/>
                <a:gd name="T62" fmla="*/ 121 w 915"/>
                <a:gd name="T63" fmla="*/ 809 h 1053"/>
                <a:gd name="T64" fmla="*/ 86 w 915"/>
                <a:gd name="T65" fmla="*/ 752 h 1053"/>
                <a:gd name="T66" fmla="*/ 60 w 915"/>
                <a:gd name="T67" fmla="*/ 696 h 1053"/>
                <a:gd name="T68" fmla="*/ 38 w 915"/>
                <a:gd name="T69" fmla="*/ 632 h 1053"/>
                <a:gd name="T70" fmla="*/ 16 w 915"/>
                <a:gd name="T71" fmla="*/ 554 h 1053"/>
                <a:gd name="T72" fmla="*/ 3 w 915"/>
                <a:gd name="T73" fmla="*/ 478 h 1053"/>
                <a:gd name="T74" fmla="*/ 0 w 915"/>
                <a:gd name="T75" fmla="*/ 403 h 1053"/>
                <a:gd name="T76" fmla="*/ 3 w 915"/>
                <a:gd name="T77" fmla="*/ 328 h 1053"/>
                <a:gd name="T78" fmla="*/ 16 w 915"/>
                <a:gd name="T79" fmla="*/ 256 h 1053"/>
                <a:gd name="T80" fmla="*/ 35 w 915"/>
                <a:gd name="T81" fmla="*/ 183 h 1053"/>
                <a:gd name="T82" fmla="*/ 62 w 915"/>
                <a:gd name="T83" fmla="*/ 113 h 1053"/>
                <a:gd name="T84" fmla="*/ 97 w 915"/>
                <a:gd name="T85" fmla="*/ 43 h 1053"/>
                <a:gd name="T86" fmla="*/ 124 w 915"/>
                <a:gd name="T87" fmla="*/ 0 h 1053"/>
                <a:gd name="T88" fmla="*/ 124 w 915"/>
                <a:gd name="T89" fmla="*/ 0 h 1053"/>
                <a:gd name="T90" fmla="*/ 159 w 915"/>
                <a:gd name="T91" fmla="*/ 8 h 1053"/>
                <a:gd name="T92" fmla="*/ 224 w 915"/>
                <a:gd name="T93" fmla="*/ 22 h 1053"/>
                <a:gd name="T94" fmla="*/ 288 w 915"/>
                <a:gd name="T95" fmla="*/ 27 h 1053"/>
                <a:gd name="T96" fmla="*/ 353 w 915"/>
                <a:gd name="T97" fmla="*/ 22 h 1053"/>
                <a:gd name="T98" fmla="*/ 417 w 915"/>
                <a:gd name="T99" fmla="*/ 11 h 1053"/>
                <a:gd name="T100" fmla="*/ 455 w 915"/>
                <a:gd name="T101" fmla="*/ 0 h 1053"/>
                <a:gd name="T102" fmla="*/ 466 w 915"/>
                <a:gd name="T103" fmla="*/ 0 h 1053"/>
                <a:gd name="T104" fmla="*/ 530 w 915"/>
                <a:gd name="T105" fmla="*/ 16 h 1053"/>
                <a:gd name="T106" fmla="*/ 595 w 915"/>
                <a:gd name="T107" fmla="*/ 25 h 1053"/>
                <a:gd name="T108" fmla="*/ 659 w 915"/>
                <a:gd name="T109" fmla="*/ 25 h 1053"/>
                <a:gd name="T110" fmla="*/ 724 w 915"/>
                <a:gd name="T111" fmla="*/ 16 h 1053"/>
                <a:gd name="T112" fmla="*/ 788 w 915"/>
                <a:gd name="T113" fmla="*/ 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5" h="1053">
                  <a:moveTo>
                    <a:pt x="788" y="0"/>
                  </a:moveTo>
                  <a:lnTo>
                    <a:pt x="788" y="0"/>
                  </a:lnTo>
                  <a:lnTo>
                    <a:pt x="788" y="0"/>
                  </a:lnTo>
                  <a:lnTo>
                    <a:pt x="791" y="0"/>
                  </a:lnTo>
                  <a:lnTo>
                    <a:pt x="791" y="3"/>
                  </a:lnTo>
                  <a:lnTo>
                    <a:pt x="791" y="3"/>
                  </a:lnTo>
                  <a:lnTo>
                    <a:pt x="810" y="33"/>
                  </a:lnTo>
                  <a:lnTo>
                    <a:pt x="826" y="62"/>
                  </a:lnTo>
                  <a:lnTo>
                    <a:pt x="842" y="92"/>
                  </a:lnTo>
                  <a:lnTo>
                    <a:pt x="855" y="124"/>
                  </a:lnTo>
                  <a:lnTo>
                    <a:pt x="869" y="153"/>
                  </a:lnTo>
                  <a:lnTo>
                    <a:pt x="880" y="186"/>
                  </a:lnTo>
                  <a:lnTo>
                    <a:pt x="888" y="215"/>
                  </a:lnTo>
                  <a:lnTo>
                    <a:pt x="898" y="247"/>
                  </a:lnTo>
                  <a:lnTo>
                    <a:pt x="904" y="280"/>
                  </a:lnTo>
                  <a:lnTo>
                    <a:pt x="909" y="315"/>
                  </a:lnTo>
                  <a:lnTo>
                    <a:pt x="912" y="347"/>
                  </a:lnTo>
                  <a:lnTo>
                    <a:pt x="915" y="382"/>
                  </a:lnTo>
                  <a:lnTo>
                    <a:pt x="915" y="414"/>
                  </a:lnTo>
                  <a:lnTo>
                    <a:pt x="912" y="449"/>
                  </a:lnTo>
                  <a:lnTo>
                    <a:pt x="909" y="481"/>
                  </a:lnTo>
                  <a:lnTo>
                    <a:pt x="904" y="516"/>
                  </a:lnTo>
                  <a:lnTo>
                    <a:pt x="898" y="548"/>
                  </a:lnTo>
                  <a:lnTo>
                    <a:pt x="893" y="580"/>
                  </a:lnTo>
                  <a:lnTo>
                    <a:pt x="885" y="613"/>
                  </a:lnTo>
                  <a:lnTo>
                    <a:pt x="874" y="642"/>
                  </a:lnTo>
                  <a:lnTo>
                    <a:pt x="863" y="672"/>
                  </a:lnTo>
                  <a:lnTo>
                    <a:pt x="853" y="701"/>
                  </a:lnTo>
                  <a:lnTo>
                    <a:pt x="839" y="731"/>
                  </a:lnTo>
                  <a:lnTo>
                    <a:pt x="823" y="760"/>
                  </a:lnTo>
                  <a:lnTo>
                    <a:pt x="807" y="787"/>
                  </a:lnTo>
                  <a:lnTo>
                    <a:pt x="788" y="817"/>
                  </a:lnTo>
                  <a:lnTo>
                    <a:pt x="769" y="844"/>
                  </a:lnTo>
                  <a:lnTo>
                    <a:pt x="756" y="860"/>
                  </a:lnTo>
                  <a:lnTo>
                    <a:pt x="740" y="876"/>
                  </a:lnTo>
                  <a:lnTo>
                    <a:pt x="726" y="892"/>
                  </a:lnTo>
                  <a:lnTo>
                    <a:pt x="705" y="911"/>
                  </a:lnTo>
                  <a:lnTo>
                    <a:pt x="683" y="932"/>
                  </a:lnTo>
                  <a:lnTo>
                    <a:pt x="662" y="948"/>
                  </a:lnTo>
                  <a:lnTo>
                    <a:pt x="640" y="965"/>
                  </a:lnTo>
                  <a:lnTo>
                    <a:pt x="616" y="981"/>
                  </a:lnTo>
                  <a:lnTo>
                    <a:pt x="595" y="994"/>
                  </a:lnTo>
                  <a:lnTo>
                    <a:pt x="570" y="1008"/>
                  </a:lnTo>
                  <a:lnTo>
                    <a:pt x="544" y="1021"/>
                  </a:lnTo>
                  <a:lnTo>
                    <a:pt x="519" y="1032"/>
                  </a:lnTo>
                  <a:lnTo>
                    <a:pt x="492" y="1042"/>
                  </a:lnTo>
                  <a:lnTo>
                    <a:pt x="466" y="1050"/>
                  </a:lnTo>
                  <a:lnTo>
                    <a:pt x="460" y="1053"/>
                  </a:lnTo>
                  <a:lnTo>
                    <a:pt x="455" y="1053"/>
                  </a:lnTo>
                  <a:lnTo>
                    <a:pt x="449" y="1050"/>
                  </a:lnTo>
                  <a:lnTo>
                    <a:pt x="444" y="1050"/>
                  </a:lnTo>
                  <a:lnTo>
                    <a:pt x="412" y="1040"/>
                  </a:lnTo>
                  <a:lnTo>
                    <a:pt x="382" y="1026"/>
                  </a:lnTo>
                  <a:lnTo>
                    <a:pt x="353" y="1013"/>
                  </a:lnTo>
                  <a:lnTo>
                    <a:pt x="323" y="997"/>
                  </a:lnTo>
                  <a:lnTo>
                    <a:pt x="296" y="981"/>
                  </a:lnTo>
                  <a:lnTo>
                    <a:pt x="269" y="962"/>
                  </a:lnTo>
                  <a:lnTo>
                    <a:pt x="245" y="943"/>
                  </a:lnTo>
                  <a:lnTo>
                    <a:pt x="221" y="924"/>
                  </a:lnTo>
                  <a:lnTo>
                    <a:pt x="199" y="903"/>
                  </a:lnTo>
                  <a:lnTo>
                    <a:pt x="178" y="881"/>
                  </a:lnTo>
                  <a:lnTo>
                    <a:pt x="156" y="857"/>
                  </a:lnTo>
                  <a:lnTo>
                    <a:pt x="137" y="833"/>
                  </a:lnTo>
                  <a:lnTo>
                    <a:pt x="121" y="809"/>
                  </a:lnTo>
                  <a:lnTo>
                    <a:pt x="103" y="782"/>
                  </a:lnTo>
                  <a:lnTo>
                    <a:pt x="86" y="752"/>
                  </a:lnTo>
                  <a:lnTo>
                    <a:pt x="73" y="726"/>
                  </a:lnTo>
                  <a:lnTo>
                    <a:pt x="60" y="696"/>
                  </a:lnTo>
                  <a:lnTo>
                    <a:pt x="49" y="664"/>
                  </a:lnTo>
                  <a:lnTo>
                    <a:pt x="38" y="632"/>
                  </a:lnTo>
                  <a:lnTo>
                    <a:pt x="25" y="591"/>
                  </a:lnTo>
                  <a:lnTo>
                    <a:pt x="16" y="554"/>
                  </a:lnTo>
                  <a:lnTo>
                    <a:pt x="8" y="516"/>
                  </a:lnTo>
                  <a:lnTo>
                    <a:pt x="3" y="478"/>
                  </a:lnTo>
                  <a:lnTo>
                    <a:pt x="0" y="441"/>
                  </a:lnTo>
                  <a:lnTo>
                    <a:pt x="0" y="403"/>
                  </a:lnTo>
                  <a:lnTo>
                    <a:pt x="0" y="366"/>
                  </a:lnTo>
                  <a:lnTo>
                    <a:pt x="3" y="328"/>
                  </a:lnTo>
                  <a:lnTo>
                    <a:pt x="8" y="293"/>
                  </a:lnTo>
                  <a:lnTo>
                    <a:pt x="16" y="256"/>
                  </a:lnTo>
                  <a:lnTo>
                    <a:pt x="25" y="221"/>
                  </a:lnTo>
                  <a:lnTo>
                    <a:pt x="35" y="183"/>
                  </a:lnTo>
                  <a:lnTo>
                    <a:pt x="49" y="148"/>
                  </a:lnTo>
                  <a:lnTo>
                    <a:pt x="62" y="113"/>
                  </a:lnTo>
                  <a:lnTo>
                    <a:pt x="78" y="78"/>
                  </a:lnTo>
                  <a:lnTo>
                    <a:pt x="97" y="43"/>
                  </a:lnTo>
                  <a:lnTo>
                    <a:pt x="119" y="8"/>
                  </a:lnTo>
                  <a:lnTo>
                    <a:pt x="124" y="0"/>
                  </a:lnTo>
                  <a:lnTo>
                    <a:pt x="124" y="0"/>
                  </a:lnTo>
                  <a:lnTo>
                    <a:pt x="124" y="0"/>
                  </a:lnTo>
                  <a:lnTo>
                    <a:pt x="127" y="0"/>
                  </a:lnTo>
                  <a:lnTo>
                    <a:pt x="159" y="8"/>
                  </a:lnTo>
                  <a:lnTo>
                    <a:pt x="191" y="16"/>
                  </a:lnTo>
                  <a:lnTo>
                    <a:pt x="224" y="22"/>
                  </a:lnTo>
                  <a:lnTo>
                    <a:pt x="256" y="25"/>
                  </a:lnTo>
                  <a:lnTo>
                    <a:pt x="288" y="27"/>
                  </a:lnTo>
                  <a:lnTo>
                    <a:pt x="320" y="25"/>
                  </a:lnTo>
                  <a:lnTo>
                    <a:pt x="353" y="22"/>
                  </a:lnTo>
                  <a:lnTo>
                    <a:pt x="385" y="16"/>
                  </a:lnTo>
                  <a:lnTo>
                    <a:pt x="417" y="11"/>
                  </a:lnTo>
                  <a:lnTo>
                    <a:pt x="447" y="0"/>
                  </a:lnTo>
                  <a:lnTo>
                    <a:pt x="455" y="0"/>
                  </a:lnTo>
                  <a:lnTo>
                    <a:pt x="460" y="0"/>
                  </a:lnTo>
                  <a:lnTo>
                    <a:pt x="466" y="0"/>
                  </a:lnTo>
                  <a:lnTo>
                    <a:pt x="498" y="11"/>
                  </a:lnTo>
                  <a:lnTo>
                    <a:pt x="530" y="16"/>
                  </a:lnTo>
                  <a:lnTo>
                    <a:pt x="562" y="22"/>
                  </a:lnTo>
                  <a:lnTo>
                    <a:pt x="595" y="25"/>
                  </a:lnTo>
                  <a:lnTo>
                    <a:pt x="627" y="27"/>
                  </a:lnTo>
                  <a:lnTo>
                    <a:pt x="659" y="25"/>
                  </a:lnTo>
                  <a:lnTo>
                    <a:pt x="691" y="22"/>
                  </a:lnTo>
                  <a:lnTo>
                    <a:pt x="724" y="16"/>
                  </a:lnTo>
                  <a:lnTo>
                    <a:pt x="756" y="8"/>
                  </a:lnTo>
                  <a:lnTo>
                    <a:pt x="78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58" name="Freeform 62">
              <a:extLst>
                <a:ext uri="{FF2B5EF4-FFF2-40B4-BE49-F238E27FC236}">
                  <a16:creationId xmlns:a16="http://schemas.microsoft.com/office/drawing/2014/main" id="{61C82697-9A66-4332-B639-EB8786D7989F}"/>
                </a:ext>
              </a:extLst>
            </p:cNvPr>
            <p:cNvSpPr>
              <a:spLocks/>
            </p:cNvSpPr>
            <p:nvPr/>
          </p:nvSpPr>
          <p:spPr bwMode="auto">
            <a:xfrm>
              <a:off x="36" y="73"/>
              <a:ext cx="915" cy="1053"/>
            </a:xfrm>
            <a:custGeom>
              <a:avLst/>
              <a:gdLst>
                <a:gd name="T0" fmla="*/ 788 w 915"/>
                <a:gd name="T1" fmla="*/ 0 h 1053"/>
                <a:gd name="T2" fmla="*/ 791 w 915"/>
                <a:gd name="T3" fmla="*/ 0 h 1053"/>
                <a:gd name="T4" fmla="*/ 791 w 915"/>
                <a:gd name="T5" fmla="*/ 3 h 1053"/>
                <a:gd name="T6" fmla="*/ 826 w 915"/>
                <a:gd name="T7" fmla="*/ 62 h 1053"/>
                <a:gd name="T8" fmla="*/ 855 w 915"/>
                <a:gd name="T9" fmla="*/ 124 h 1053"/>
                <a:gd name="T10" fmla="*/ 880 w 915"/>
                <a:gd name="T11" fmla="*/ 186 h 1053"/>
                <a:gd name="T12" fmla="*/ 898 w 915"/>
                <a:gd name="T13" fmla="*/ 247 h 1053"/>
                <a:gd name="T14" fmla="*/ 909 w 915"/>
                <a:gd name="T15" fmla="*/ 315 h 1053"/>
                <a:gd name="T16" fmla="*/ 915 w 915"/>
                <a:gd name="T17" fmla="*/ 382 h 1053"/>
                <a:gd name="T18" fmla="*/ 912 w 915"/>
                <a:gd name="T19" fmla="*/ 449 h 1053"/>
                <a:gd name="T20" fmla="*/ 904 w 915"/>
                <a:gd name="T21" fmla="*/ 516 h 1053"/>
                <a:gd name="T22" fmla="*/ 893 w 915"/>
                <a:gd name="T23" fmla="*/ 580 h 1053"/>
                <a:gd name="T24" fmla="*/ 874 w 915"/>
                <a:gd name="T25" fmla="*/ 642 h 1053"/>
                <a:gd name="T26" fmla="*/ 853 w 915"/>
                <a:gd name="T27" fmla="*/ 701 h 1053"/>
                <a:gd name="T28" fmla="*/ 823 w 915"/>
                <a:gd name="T29" fmla="*/ 760 h 1053"/>
                <a:gd name="T30" fmla="*/ 788 w 915"/>
                <a:gd name="T31" fmla="*/ 817 h 1053"/>
                <a:gd name="T32" fmla="*/ 756 w 915"/>
                <a:gd name="T33" fmla="*/ 860 h 1053"/>
                <a:gd name="T34" fmla="*/ 726 w 915"/>
                <a:gd name="T35" fmla="*/ 892 h 1053"/>
                <a:gd name="T36" fmla="*/ 683 w 915"/>
                <a:gd name="T37" fmla="*/ 932 h 1053"/>
                <a:gd name="T38" fmla="*/ 640 w 915"/>
                <a:gd name="T39" fmla="*/ 965 h 1053"/>
                <a:gd name="T40" fmla="*/ 595 w 915"/>
                <a:gd name="T41" fmla="*/ 994 h 1053"/>
                <a:gd name="T42" fmla="*/ 544 w 915"/>
                <a:gd name="T43" fmla="*/ 1021 h 1053"/>
                <a:gd name="T44" fmla="*/ 492 w 915"/>
                <a:gd name="T45" fmla="*/ 1042 h 1053"/>
                <a:gd name="T46" fmla="*/ 460 w 915"/>
                <a:gd name="T47" fmla="*/ 1053 h 1053"/>
                <a:gd name="T48" fmla="*/ 449 w 915"/>
                <a:gd name="T49" fmla="*/ 1050 h 1053"/>
                <a:gd name="T50" fmla="*/ 412 w 915"/>
                <a:gd name="T51" fmla="*/ 1040 h 1053"/>
                <a:gd name="T52" fmla="*/ 353 w 915"/>
                <a:gd name="T53" fmla="*/ 1013 h 1053"/>
                <a:gd name="T54" fmla="*/ 296 w 915"/>
                <a:gd name="T55" fmla="*/ 981 h 1053"/>
                <a:gd name="T56" fmla="*/ 245 w 915"/>
                <a:gd name="T57" fmla="*/ 943 h 1053"/>
                <a:gd name="T58" fmla="*/ 199 w 915"/>
                <a:gd name="T59" fmla="*/ 903 h 1053"/>
                <a:gd name="T60" fmla="*/ 156 w 915"/>
                <a:gd name="T61" fmla="*/ 857 h 1053"/>
                <a:gd name="T62" fmla="*/ 121 w 915"/>
                <a:gd name="T63" fmla="*/ 809 h 1053"/>
                <a:gd name="T64" fmla="*/ 86 w 915"/>
                <a:gd name="T65" fmla="*/ 752 h 1053"/>
                <a:gd name="T66" fmla="*/ 60 w 915"/>
                <a:gd name="T67" fmla="*/ 696 h 1053"/>
                <a:gd name="T68" fmla="*/ 38 w 915"/>
                <a:gd name="T69" fmla="*/ 632 h 1053"/>
                <a:gd name="T70" fmla="*/ 16 w 915"/>
                <a:gd name="T71" fmla="*/ 554 h 1053"/>
                <a:gd name="T72" fmla="*/ 3 w 915"/>
                <a:gd name="T73" fmla="*/ 478 h 1053"/>
                <a:gd name="T74" fmla="*/ 0 w 915"/>
                <a:gd name="T75" fmla="*/ 403 h 1053"/>
                <a:gd name="T76" fmla="*/ 3 w 915"/>
                <a:gd name="T77" fmla="*/ 328 h 1053"/>
                <a:gd name="T78" fmla="*/ 16 w 915"/>
                <a:gd name="T79" fmla="*/ 256 h 1053"/>
                <a:gd name="T80" fmla="*/ 35 w 915"/>
                <a:gd name="T81" fmla="*/ 183 h 1053"/>
                <a:gd name="T82" fmla="*/ 62 w 915"/>
                <a:gd name="T83" fmla="*/ 113 h 1053"/>
                <a:gd name="T84" fmla="*/ 97 w 915"/>
                <a:gd name="T85" fmla="*/ 43 h 1053"/>
                <a:gd name="T86" fmla="*/ 124 w 915"/>
                <a:gd name="T87" fmla="*/ 0 h 1053"/>
                <a:gd name="T88" fmla="*/ 124 w 915"/>
                <a:gd name="T89" fmla="*/ 0 h 1053"/>
                <a:gd name="T90" fmla="*/ 159 w 915"/>
                <a:gd name="T91" fmla="*/ 8 h 1053"/>
                <a:gd name="T92" fmla="*/ 224 w 915"/>
                <a:gd name="T93" fmla="*/ 22 h 1053"/>
                <a:gd name="T94" fmla="*/ 288 w 915"/>
                <a:gd name="T95" fmla="*/ 27 h 1053"/>
                <a:gd name="T96" fmla="*/ 353 w 915"/>
                <a:gd name="T97" fmla="*/ 22 h 1053"/>
                <a:gd name="T98" fmla="*/ 417 w 915"/>
                <a:gd name="T99" fmla="*/ 11 h 1053"/>
                <a:gd name="T100" fmla="*/ 455 w 915"/>
                <a:gd name="T101" fmla="*/ 0 h 1053"/>
                <a:gd name="T102" fmla="*/ 466 w 915"/>
                <a:gd name="T103" fmla="*/ 0 h 1053"/>
                <a:gd name="T104" fmla="*/ 530 w 915"/>
                <a:gd name="T105" fmla="*/ 16 h 1053"/>
                <a:gd name="T106" fmla="*/ 595 w 915"/>
                <a:gd name="T107" fmla="*/ 25 h 1053"/>
                <a:gd name="T108" fmla="*/ 659 w 915"/>
                <a:gd name="T109" fmla="*/ 25 h 1053"/>
                <a:gd name="T110" fmla="*/ 724 w 915"/>
                <a:gd name="T111" fmla="*/ 16 h 1053"/>
                <a:gd name="T112" fmla="*/ 788 w 915"/>
                <a:gd name="T113" fmla="*/ 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5" h="1053">
                  <a:moveTo>
                    <a:pt x="788" y="0"/>
                  </a:moveTo>
                  <a:lnTo>
                    <a:pt x="788" y="0"/>
                  </a:lnTo>
                  <a:lnTo>
                    <a:pt x="788" y="0"/>
                  </a:lnTo>
                  <a:lnTo>
                    <a:pt x="791" y="0"/>
                  </a:lnTo>
                  <a:lnTo>
                    <a:pt x="791" y="3"/>
                  </a:lnTo>
                  <a:lnTo>
                    <a:pt x="791" y="3"/>
                  </a:lnTo>
                  <a:lnTo>
                    <a:pt x="810" y="33"/>
                  </a:lnTo>
                  <a:lnTo>
                    <a:pt x="826" y="62"/>
                  </a:lnTo>
                  <a:lnTo>
                    <a:pt x="842" y="92"/>
                  </a:lnTo>
                  <a:lnTo>
                    <a:pt x="855" y="124"/>
                  </a:lnTo>
                  <a:lnTo>
                    <a:pt x="869" y="153"/>
                  </a:lnTo>
                  <a:lnTo>
                    <a:pt x="880" y="186"/>
                  </a:lnTo>
                  <a:lnTo>
                    <a:pt x="888" y="215"/>
                  </a:lnTo>
                  <a:lnTo>
                    <a:pt x="898" y="247"/>
                  </a:lnTo>
                  <a:lnTo>
                    <a:pt x="904" y="280"/>
                  </a:lnTo>
                  <a:lnTo>
                    <a:pt x="909" y="315"/>
                  </a:lnTo>
                  <a:lnTo>
                    <a:pt x="912" y="347"/>
                  </a:lnTo>
                  <a:lnTo>
                    <a:pt x="915" y="382"/>
                  </a:lnTo>
                  <a:lnTo>
                    <a:pt x="915" y="414"/>
                  </a:lnTo>
                  <a:lnTo>
                    <a:pt x="912" y="449"/>
                  </a:lnTo>
                  <a:lnTo>
                    <a:pt x="909" y="481"/>
                  </a:lnTo>
                  <a:lnTo>
                    <a:pt x="904" y="516"/>
                  </a:lnTo>
                  <a:lnTo>
                    <a:pt x="898" y="548"/>
                  </a:lnTo>
                  <a:lnTo>
                    <a:pt x="893" y="580"/>
                  </a:lnTo>
                  <a:lnTo>
                    <a:pt x="885" y="613"/>
                  </a:lnTo>
                  <a:lnTo>
                    <a:pt x="874" y="642"/>
                  </a:lnTo>
                  <a:lnTo>
                    <a:pt x="863" y="672"/>
                  </a:lnTo>
                  <a:lnTo>
                    <a:pt x="853" y="701"/>
                  </a:lnTo>
                  <a:lnTo>
                    <a:pt x="839" y="731"/>
                  </a:lnTo>
                  <a:lnTo>
                    <a:pt x="823" y="760"/>
                  </a:lnTo>
                  <a:lnTo>
                    <a:pt x="807" y="787"/>
                  </a:lnTo>
                  <a:lnTo>
                    <a:pt x="788" y="817"/>
                  </a:lnTo>
                  <a:lnTo>
                    <a:pt x="769" y="844"/>
                  </a:lnTo>
                  <a:lnTo>
                    <a:pt x="756" y="860"/>
                  </a:lnTo>
                  <a:lnTo>
                    <a:pt x="740" y="876"/>
                  </a:lnTo>
                  <a:lnTo>
                    <a:pt x="726" y="892"/>
                  </a:lnTo>
                  <a:lnTo>
                    <a:pt x="705" y="911"/>
                  </a:lnTo>
                  <a:lnTo>
                    <a:pt x="683" y="932"/>
                  </a:lnTo>
                  <a:lnTo>
                    <a:pt x="662" y="948"/>
                  </a:lnTo>
                  <a:lnTo>
                    <a:pt x="640" y="965"/>
                  </a:lnTo>
                  <a:lnTo>
                    <a:pt x="616" y="981"/>
                  </a:lnTo>
                  <a:lnTo>
                    <a:pt x="595" y="994"/>
                  </a:lnTo>
                  <a:lnTo>
                    <a:pt x="570" y="1008"/>
                  </a:lnTo>
                  <a:lnTo>
                    <a:pt x="544" y="1021"/>
                  </a:lnTo>
                  <a:lnTo>
                    <a:pt x="519" y="1032"/>
                  </a:lnTo>
                  <a:lnTo>
                    <a:pt x="492" y="1042"/>
                  </a:lnTo>
                  <a:lnTo>
                    <a:pt x="466" y="1050"/>
                  </a:lnTo>
                  <a:lnTo>
                    <a:pt x="460" y="1053"/>
                  </a:lnTo>
                  <a:lnTo>
                    <a:pt x="455" y="1053"/>
                  </a:lnTo>
                  <a:lnTo>
                    <a:pt x="449" y="1050"/>
                  </a:lnTo>
                  <a:lnTo>
                    <a:pt x="444" y="1050"/>
                  </a:lnTo>
                  <a:lnTo>
                    <a:pt x="412" y="1040"/>
                  </a:lnTo>
                  <a:lnTo>
                    <a:pt x="382" y="1026"/>
                  </a:lnTo>
                  <a:lnTo>
                    <a:pt x="353" y="1013"/>
                  </a:lnTo>
                  <a:lnTo>
                    <a:pt x="323" y="997"/>
                  </a:lnTo>
                  <a:lnTo>
                    <a:pt x="296" y="981"/>
                  </a:lnTo>
                  <a:lnTo>
                    <a:pt x="269" y="962"/>
                  </a:lnTo>
                  <a:lnTo>
                    <a:pt x="245" y="943"/>
                  </a:lnTo>
                  <a:lnTo>
                    <a:pt x="221" y="924"/>
                  </a:lnTo>
                  <a:lnTo>
                    <a:pt x="199" y="903"/>
                  </a:lnTo>
                  <a:lnTo>
                    <a:pt x="178" y="881"/>
                  </a:lnTo>
                  <a:lnTo>
                    <a:pt x="156" y="857"/>
                  </a:lnTo>
                  <a:lnTo>
                    <a:pt x="137" y="833"/>
                  </a:lnTo>
                  <a:lnTo>
                    <a:pt x="121" y="809"/>
                  </a:lnTo>
                  <a:lnTo>
                    <a:pt x="103" y="782"/>
                  </a:lnTo>
                  <a:lnTo>
                    <a:pt x="86" y="752"/>
                  </a:lnTo>
                  <a:lnTo>
                    <a:pt x="73" y="726"/>
                  </a:lnTo>
                  <a:lnTo>
                    <a:pt x="60" y="696"/>
                  </a:lnTo>
                  <a:lnTo>
                    <a:pt x="49" y="664"/>
                  </a:lnTo>
                  <a:lnTo>
                    <a:pt x="38" y="632"/>
                  </a:lnTo>
                  <a:lnTo>
                    <a:pt x="25" y="591"/>
                  </a:lnTo>
                  <a:lnTo>
                    <a:pt x="16" y="554"/>
                  </a:lnTo>
                  <a:lnTo>
                    <a:pt x="8" y="516"/>
                  </a:lnTo>
                  <a:lnTo>
                    <a:pt x="3" y="478"/>
                  </a:lnTo>
                  <a:lnTo>
                    <a:pt x="0" y="441"/>
                  </a:lnTo>
                  <a:lnTo>
                    <a:pt x="0" y="403"/>
                  </a:lnTo>
                  <a:lnTo>
                    <a:pt x="0" y="366"/>
                  </a:lnTo>
                  <a:lnTo>
                    <a:pt x="3" y="328"/>
                  </a:lnTo>
                  <a:lnTo>
                    <a:pt x="8" y="293"/>
                  </a:lnTo>
                  <a:lnTo>
                    <a:pt x="16" y="256"/>
                  </a:lnTo>
                  <a:lnTo>
                    <a:pt x="25" y="221"/>
                  </a:lnTo>
                  <a:lnTo>
                    <a:pt x="35" y="183"/>
                  </a:lnTo>
                  <a:lnTo>
                    <a:pt x="49" y="148"/>
                  </a:lnTo>
                  <a:lnTo>
                    <a:pt x="62" y="113"/>
                  </a:lnTo>
                  <a:lnTo>
                    <a:pt x="78" y="78"/>
                  </a:lnTo>
                  <a:lnTo>
                    <a:pt x="97" y="43"/>
                  </a:lnTo>
                  <a:lnTo>
                    <a:pt x="119" y="8"/>
                  </a:lnTo>
                  <a:lnTo>
                    <a:pt x="124" y="0"/>
                  </a:lnTo>
                  <a:lnTo>
                    <a:pt x="124" y="0"/>
                  </a:lnTo>
                  <a:lnTo>
                    <a:pt x="124" y="0"/>
                  </a:lnTo>
                  <a:lnTo>
                    <a:pt x="127" y="0"/>
                  </a:lnTo>
                  <a:lnTo>
                    <a:pt x="159" y="8"/>
                  </a:lnTo>
                  <a:lnTo>
                    <a:pt x="191" y="16"/>
                  </a:lnTo>
                  <a:lnTo>
                    <a:pt x="224" y="22"/>
                  </a:lnTo>
                  <a:lnTo>
                    <a:pt x="256" y="25"/>
                  </a:lnTo>
                  <a:lnTo>
                    <a:pt x="288" y="27"/>
                  </a:lnTo>
                  <a:lnTo>
                    <a:pt x="320" y="25"/>
                  </a:lnTo>
                  <a:lnTo>
                    <a:pt x="353" y="22"/>
                  </a:lnTo>
                  <a:lnTo>
                    <a:pt x="385" y="16"/>
                  </a:lnTo>
                  <a:lnTo>
                    <a:pt x="417" y="11"/>
                  </a:lnTo>
                  <a:lnTo>
                    <a:pt x="447" y="0"/>
                  </a:lnTo>
                  <a:lnTo>
                    <a:pt x="455" y="0"/>
                  </a:lnTo>
                  <a:lnTo>
                    <a:pt x="460" y="0"/>
                  </a:lnTo>
                  <a:lnTo>
                    <a:pt x="466" y="0"/>
                  </a:lnTo>
                  <a:lnTo>
                    <a:pt x="498" y="11"/>
                  </a:lnTo>
                  <a:lnTo>
                    <a:pt x="530" y="16"/>
                  </a:lnTo>
                  <a:lnTo>
                    <a:pt x="562" y="22"/>
                  </a:lnTo>
                  <a:lnTo>
                    <a:pt x="595" y="25"/>
                  </a:lnTo>
                  <a:lnTo>
                    <a:pt x="627" y="27"/>
                  </a:lnTo>
                  <a:lnTo>
                    <a:pt x="659" y="25"/>
                  </a:lnTo>
                  <a:lnTo>
                    <a:pt x="691" y="22"/>
                  </a:lnTo>
                  <a:lnTo>
                    <a:pt x="724" y="16"/>
                  </a:lnTo>
                  <a:lnTo>
                    <a:pt x="756" y="8"/>
                  </a:lnTo>
                  <a:lnTo>
                    <a:pt x="7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59" name="Freeform 63">
              <a:extLst>
                <a:ext uri="{FF2B5EF4-FFF2-40B4-BE49-F238E27FC236}">
                  <a16:creationId xmlns:a16="http://schemas.microsoft.com/office/drawing/2014/main" id="{71249DC2-6A85-4D64-AC52-E7B6E31BA20E}"/>
                </a:ext>
              </a:extLst>
            </p:cNvPr>
            <p:cNvSpPr>
              <a:spLocks/>
            </p:cNvSpPr>
            <p:nvPr/>
          </p:nvSpPr>
          <p:spPr bwMode="auto">
            <a:xfrm>
              <a:off x="117" y="175"/>
              <a:ext cx="764" cy="860"/>
            </a:xfrm>
            <a:custGeom>
              <a:avLst/>
              <a:gdLst>
                <a:gd name="T0" fmla="*/ 659 w 764"/>
                <a:gd name="T1" fmla="*/ 0 h 860"/>
                <a:gd name="T2" fmla="*/ 659 w 764"/>
                <a:gd name="T3" fmla="*/ 0 h 860"/>
                <a:gd name="T4" fmla="*/ 661 w 764"/>
                <a:gd name="T5" fmla="*/ 3 h 860"/>
                <a:gd name="T6" fmla="*/ 691 w 764"/>
                <a:gd name="T7" fmla="*/ 51 h 860"/>
                <a:gd name="T8" fmla="*/ 715 w 764"/>
                <a:gd name="T9" fmla="*/ 100 h 860"/>
                <a:gd name="T10" fmla="*/ 734 w 764"/>
                <a:gd name="T11" fmla="*/ 151 h 860"/>
                <a:gd name="T12" fmla="*/ 750 w 764"/>
                <a:gd name="T13" fmla="*/ 202 h 860"/>
                <a:gd name="T14" fmla="*/ 758 w 764"/>
                <a:gd name="T15" fmla="*/ 256 h 860"/>
                <a:gd name="T16" fmla="*/ 764 w 764"/>
                <a:gd name="T17" fmla="*/ 309 h 860"/>
                <a:gd name="T18" fmla="*/ 761 w 764"/>
                <a:gd name="T19" fmla="*/ 366 h 860"/>
                <a:gd name="T20" fmla="*/ 756 w 764"/>
                <a:gd name="T21" fmla="*/ 422 h 860"/>
                <a:gd name="T22" fmla="*/ 745 w 764"/>
                <a:gd name="T23" fmla="*/ 473 h 860"/>
                <a:gd name="T24" fmla="*/ 731 w 764"/>
                <a:gd name="T25" fmla="*/ 524 h 860"/>
                <a:gd name="T26" fmla="*/ 710 w 764"/>
                <a:gd name="T27" fmla="*/ 572 h 860"/>
                <a:gd name="T28" fmla="*/ 686 w 764"/>
                <a:gd name="T29" fmla="*/ 621 h 860"/>
                <a:gd name="T30" fmla="*/ 659 w 764"/>
                <a:gd name="T31" fmla="*/ 666 h 860"/>
                <a:gd name="T32" fmla="*/ 629 w 764"/>
                <a:gd name="T33" fmla="*/ 701 h 860"/>
                <a:gd name="T34" fmla="*/ 605 w 764"/>
                <a:gd name="T35" fmla="*/ 728 h 860"/>
                <a:gd name="T36" fmla="*/ 570 w 764"/>
                <a:gd name="T37" fmla="*/ 760 h 860"/>
                <a:gd name="T38" fmla="*/ 535 w 764"/>
                <a:gd name="T39" fmla="*/ 787 h 860"/>
                <a:gd name="T40" fmla="*/ 495 w 764"/>
                <a:gd name="T41" fmla="*/ 812 h 860"/>
                <a:gd name="T42" fmla="*/ 454 w 764"/>
                <a:gd name="T43" fmla="*/ 833 h 860"/>
                <a:gd name="T44" fmla="*/ 411 w 764"/>
                <a:gd name="T45" fmla="*/ 852 h 860"/>
                <a:gd name="T46" fmla="*/ 385 w 764"/>
                <a:gd name="T47" fmla="*/ 860 h 860"/>
                <a:gd name="T48" fmla="*/ 376 w 764"/>
                <a:gd name="T49" fmla="*/ 857 h 860"/>
                <a:gd name="T50" fmla="*/ 344 w 764"/>
                <a:gd name="T51" fmla="*/ 846 h 860"/>
                <a:gd name="T52" fmla="*/ 293 w 764"/>
                <a:gd name="T53" fmla="*/ 825 h 860"/>
                <a:gd name="T54" fmla="*/ 247 w 764"/>
                <a:gd name="T55" fmla="*/ 801 h 860"/>
                <a:gd name="T56" fmla="*/ 204 w 764"/>
                <a:gd name="T57" fmla="*/ 771 h 860"/>
                <a:gd name="T58" fmla="*/ 167 w 764"/>
                <a:gd name="T59" fmla="*/ 736 h 860"/>
                <a:gd name="T60" fmla="*/ 132 w 764"/>
                <a:gd name="T61" fmla="*/ 701 h 860"/>
                <a:gd name="T62" fmla="*/ 100 w 764"/>
                <a:gd name="T63" fmla="*/ 658 h 860"/>
                <a:gd name="T64" fmla="*/ 73 w 764"/>
                <a:gd name="T65" fmla="*/ 615 h 860"/>
                <a:gd name="T66" fmla="*/ 48 w 764"/>
                <a:gd name="T67" fmla="*/ 567 h 860"/>
                <a:gd name="T68" fmla="*/ 30 w 764"/>
                <a:gd name="T69" fmla="*/ 516 h 860"/>
                <a:gd name="T70" fmla="*/ 13 w 764"/>
                <a:gd name="T71" fmla="*/ 452 h 860"/>
                <a:gd name="T72" fmla="*/ 3 w 764"/>
                <a:gd name="T73" fmla="*/ 390 h 860"/>
                <a:gd name="T74" fmla="*/ 0 w 764"/>
                <a:gd name="T75" fmla="*/ 328 h 860"/>
                <a:gd name="T76" fmla="*/ 3 w 764"/>
                <a:gd name="T77" fmla="*/ 269 h 860"/>
                <a:gd name="T78" fmla="*/ 13 w 764"/>
                <a:gd name="T79" fmla="*/ 210 h 860"/>
                <a:gd name="T80" fmla="*/ 30 w 764"/>
                <a:gd name="T81" fmla="*/ 151 h 860"/>
                <a:gd name="T82" fmla="*/ 51 w 764"/>
                <a:gd name="T83" fmla="*/ 92 h 860"/>
                <a:gd name="T84" fmla="*/ 81 w 764"/>
                <a:gd name="T85" fmla="*/ 35 h 860"/>
                <a:gd name="T86" fmla="*/ 102 w 764"/>
                <a:gd name="T87" fmla="*/ 0 h 860"/>
                <a:gd name="T88" fmla="*/ 105 w 764"/>
                <a:gd name="T89" fmla="*/ 0 h 860"/>
                <a:gd name="T90" fmla="*/ 132 w 764"/>
                <a:gd name="T91" fmla="*/ 6 h 860"/>
                <a:gd name="T92" fmla="*/ 186 w 764"/>
                <a:gd name="T93" fmla="*/ 17 h 860"/>
                <a:gd name="T94" fmla="*/ 239 w 764"/>
                <a:gd name="T95" fmla="*/ 22 h 860"/>
                <a:gd name="T96" fmla="*/ 293 w 764"/>
                <a:gd name="T97" fmla="*/ 19 h 860"/>
                <a:gd name="T98" fmla="*/ 347 w 764"/>
                <a:gd name="T99" fmla="*/ 8 h 860"/>
                <a:gd name="T100" fmla="*/ 379 w 764"/>
                <a:gd name="T101" fmla="*/ 0 h 860"/>
                <a:gd name="T102" fmla="*/ 390 w 764"/>
                <a:gd name="T103" fmla="*/ 0 h 860"/>
                <a:gd name="T104" fmla="*/ 444 w 764"/>
                <a:gd name="T105" fmla="*/ 14 h 860"/>
                <a:gd name="T106" fmla="*/ 495 w 764"/>
                <a:gd name="T107" fmla="*/ 22 h 860"/>
                <a:gd name="T108" fmla="*/ 549 w 764"/>
                <a:gd name="T109" fmla="*/ 19 h 860"/>
                <a:gd name="T110" fmla="*/ 602 w 764"/>
                <a:gd name="T111" fmla="*/ 14 h 860"/>
                <a:gd name="T112" fmla="*/ 656 w 764"/>
                <a:gd name="T11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4" h="860">
                  <a:moveTo>
                    <a:pt x="656" y="0"/>
                  </a:moveTo>
                  <a:lnTo>
                    <a:pt x="659" y="0"/>
                  </a:lnTo>
                  <a:lnTo>
                    <a:pt x="659" y="0"/>
                  </a:lnTo>
                  <a:lnTo>
                    <a:pt x="659" y="0"/>
                  </a:lnTo>
                  <a:lnTo>
                    <a:pt x="661" y="3"/>
                  </a:lnTo>
                  <a:lnTo>
                    <a:pt x="661" y="3"/>
                  </a:lnTo>
                  <a:lnTo>
                    <a:pt x="675" y="27"/>
                  </a:lnTo>
                  <a:lnTo>
                    <a:pt x="691" y="51"/>
                  </a:lnTo>
                  <a:lnTo>
                    <a:pt x="702" y="76"/>
                  </a:lnTo>
                  <a:lnTo>
                    <a:pt x="715" y="100"/>
                  </a:lnTo>
                  <a:lnTo>
                    <a:pt x="726" y="124"/>
                  </a:lnTo>
                  <a:lnTo>
                    <a:pt x="734" y="151"/>
                  </a:lnTo>
                  <a:lnTo>
                    <a:pt x="742" y="178"/>
                  </a:lnTo>
                  <a:lnTo>
                    <a:pt x="750" y="202"/>
                  </a:lnTo>
                  <a:lnTo>
                    <a:pt x="756" y="229"/>
                  </a:lnTo>
                  <a:lnTo>
                    <a:pt x="758" y="256"/>
                  </a:lnTo>
                  <a:lnTo>
                    <a:pt x="761" y="282"/>
                  </a:lnTo>
                  <a:lnTo>
                    <a:pt x="764" y="309"/>
                  </a:lnTo>
                  <a:lnTo>
                    <a:pt x="764" y="339"/>
                  </a:lnTo>
                  <a:lnTo>
                    <a:pt x="761" y="366"/>
                  </a:lnTo>
                  <a:lnTo>
                    <a:pt x="758" y="393"/>
                  </a:lnTo>
                  <a:lnTo>
                    <a:pt x="756" y="422"/>
                  </a:lnTo>
                  <a:lnTo>
                    <a:pt x="750" y="446"/>
                  </a:lnTo>
                  <a:lnTo>
                    <a:pt x="745" y="473"/>
                  </a:lnTo>
                  <a:lnTo>
                    <a:pt x="739" y="500"/>
                  </a:lnTo>
                  <a:lnTo>
                    <a:pt x="731" y="524"/>
                  </a:lnTo>
                  <a:lnTo>
                    <a:pt x="721" y="548"/>
                  </a:lnTo>
                  <a:lnTo>
                    <a:pt x="710" y="572"/>
                  </a:lnTo>
                  <a:lnTo>
                    <a:pt x="699" y="597"/>
                  </a:lnTo>
                  <a:lnTo>
                    <a:pt x="686" y="621"/>
                  </a:lnTo>
                  <a:lnTo>
                    <a:pt x="672" y="642"/>
                  </a:lnTo>
                  <a:lnTo>
                    <a:pt x="659" y="666"/>
                  </a:lnTo>
                  <a:lnTo>
                    <a:pt x="640" y="688"/>
                  </a:lnTo>
                  <a:lnTo>
                    <a:pt x="629" y="701"/>
                  </a:lnTo>
                  <a:lnTo>
                    <a:pt x="618" y="715"/>
                  </a:lnTo>
                  <a:lnTo>
                    <a:pt x="605" y="728"/>
                  </a:lnTo>
                  <a:lnTo>
                    <a:pt x="589" y="744"/>
                  </a:lnTo>
                  <a:lnTo>
                    <a:pt x="570" y="760"/>
                  </a:lnTo>
                  <a:lnTo>
                    <a:pt x="554" y="774"/>
                  </a:lnTo>
                  <a:lnTo>
                    <a:pt x="535" y="787"/>
                  </a:lnTo>
                  <a:lnTo>
                    <a:pt x="516" y="801"/>
                  </a:lnTo>
                  <a:lnTo>
                    <a:pt x="495" y="812"/>
                  </a:lnTo>
                  <a:lnTo>
                    <a:pt x="476" y="822"/>
                  </a:lnTo>
                  <a:lnTo>
                    <a:pt x="454" y="833"/>
                  </a:lnTo>
                  <a:lnTo>
                    <a:pt x="433" y="841"/>
                  </a:lnTo>
                  <a:lnTo>
                    <a:pt x="411" y="852"/>
                  </a:lnTo>
                  <a:lnTo>
                    <a:pt x="390" y="857"/>
                  </a:lnTo>
                  <a:lnTo>
                    <a:pt x="385" y="860"/>
                  </a:lnTo>
                  <a:lnTo>
                    <a:pt x="379" y="860"/>
                  </a:lnTo>
                  <a:lnTo>
                    <a:pt x="376" y="857"/>
                  </a:lnTo>
                  <a:lnTo>
                    <a:pt x="371" y="857"/>
                  </a:lnTo>
                  <a:lnTo>
                    <a:pt x="344" y="846"/>
                  </a:lnTo>
                  <a:lnTo>
                    <a:pt x="317" y="838"/>
                  </a:lnTo>
                  <a:lnTo>
                    <a:pt x="293" y="825"/>
                  </a:lnTo>
                  <a:lnTo>
                    <a:pt x="269" y="814"/>
                  </a:lnTo>
                  <a:lnTo>
                    <a:pt x="247" y="801"/>
                  </a:lnTo>
                  <a:lnTo>
                    <a:pt x="226" y="787"/>
                  </a:lnTo>
                  <a:lnTo>
                    <a:pt x="204" y="771"/>
                  </a:lnTo>
                  <a:lnTo>
                    <a:pt x="186" y="755"/>
                  </a:lnTo>
                  <a:lnTo>
                    <a:pt x="167" y="736"/>
                  </a:lnTo>
                  <a:lnTo>
                    <a:pt x="148" y="720"/>
                  </a:lnTo>
                  <a:lnTo>
                    <a:pt x="132" y="701"/>
                  </a:lnTo>
                  <a:lnTo>
                    <a:pt x="116" y="680"/>
                  </a:lnTo>
                  <a:lnTo>
                    <a:pt x="100" y="658"/>
                  </a:lnTo>
                  <a:lnTo>
                    <a:pt x="86" y="637"/>
                  </a:lnTo>
                  <a:lnTo>
                    <a:pt x="73" y="615"/>
                  </a:lnTo>
                  <a:lnTo>
                    <a:pt x="62" y="591"/>
                  </a:lnTo>
                  <a:lnTo>
                    <a:pt x="48" y="567"/>
                  </a:lnTo>
                  <a:lnTo>
                    <a:pt x="40" y="543"/>
                  </a:lnTo>
                  <a:lnTo>
                    <a:pt x="30" y="516"/>
                  </a:lnTo>
                  <a:lnTo>
                    <a:pt x="22" y="484"/>
                  </a:lnTo>
                  <a:lnTo>
                    <a:pt x="13" y="452"/>
                  </a:lnTo>
                  <a:lnTo>
                    <a:pt x="8" y="422"/>
                  </a:lnTo>
                  <a:lnTo>
                    <a:pt x="3" y="390"/>
                  </a:lnTo>
                  <a:lnTo>
                    <a:pt x="0" y="360"/>
                  </a:lnTo>
                  <a:lnTo>
                    <a:pt x="0" y="328"/>
                  </a:lnTo>
                  <a:lnTo>
                    <a:pt x="0" y="299"/>
                  </a:lnTo>
                  <a:lnTo>
                    <a:pt x="3" y="269"/>
                  </a:lnTo>
                  <a:lnTo>
                    <a:pt x="5" y="239"/>
                  </a:lnTo>
                  <a:lnTo>
                    <a:pt x="13" y="210"/>
                  </a:lnTo>
                  <a:lnTo>
                    <a:pt x="19" y="180"/>
                  </a:lnTo>
                  <a:lnTo>
                    <a:pt x="30" y="151"/>
                  </a:lnTo>
                  <a:lnTo>
                    <a:pt x="40" y="121"/>
                  </a:lnTo>
                  <a:lnTo>
                    <a:pt x="51" y="92"/>
                  </a:lnTo>
                  <a:lnTo>
                    <a:pt x="67" y="65"/>
                  </a:lnTo>
                  <a:lnTo>
                    <a:pt x="81" y="35"/>
                  </a:lnTo>
                  <a:lnTo>
                    <a:pt x="100" y="6"/>
                  </a:lnTo>
                  <a:lnTo>
                    <a:pt x="102" y="0"/>
                  </a:lnTo>
                  <a:lnTo>
                    <a:pt x="105" y="0"/>
                  </a:lnTo>
                  <a:lnTo>
                    <a:pt x="105" y="0"/>
                  </a:lnTo>
                  <a:lnTo>
                    <a:pt x="105" y="0"/>
                  </a:lnTo>
                  <a:lnTo>
                    <a:pt x="132" y="6"/>
                  </a:lnTo>
                  <a:lnTo>
                    <a:pt x="159" y="14"/>
                  </a:lnTo>
                  <a:lnTo>
                    <a:pt x="186" y="17"/>
                  </a:lnTo>
                  <a:lnTo>
                    <a:pt x="212" y="19"/>
                  </a:lnTo>
                  <a:lnTo>
                    <a:pt x="239" y="22"/>
                  </a:lnTo>
                  <a:lnTo>
                    <a:pt x="266" y="22"/>
                  </a:lnTo>
                  <a:lnTo>
                    <a:pt x="293" y="19"/>
                  </a:lnTo>
                  <a:lnTo>
                    <a:pt x="320" y="14"/>
                  </a:lnTo>
                  <a:lnTo>
                    <a:pt x="347" y="8"/>
                  </a:lnTo>
                  <a:lnTo>
                    <a:pt x="374" y="0"/>
                  </a:lnTo>
                  <a:lnTo>
                    <a:pt x="379" y="0"/>
                  </a:lnTo>
                  <a:lnTo>
                    <a:pt x="385" y="0"/>
                  </a:lnTo>
                  <a:lnTo>
                    <a:pt x="390" y="0"/>
                  </a:lnTo>
                  <a:lnTo>
                    <a:pt x="417" y="8"/>
                  </a:lnTo>
                  <a:lnTo>
                    <a:pt x="444" y="14"/>
                  </a:lnTo>
                  <a:lnTo>
                    <a:pt x="471" y="19"/>
                  </a:lnTo>
                  <a:lnTo>
                    <a:pt x="495" y="22"/>
                  </a:lnTo>
                  <a:lnTo>
                    <a:pt x="522" y="22"/>
                  </a:lnTo>
                  <a:lnTo>
                    <a:pt x="549" y="19"/>
                  </a:lnTo>
                  <a:lnTo>
                    <a:pt x="575" y="17"/>
                  </a:lnTo>
                  <a:lnTo>
                    <a:pt x="602" y="14"/>
                  </a:lnTo>
                  <a:lnTo>
                    <a:pt x="629" y="6"/>
                  </a:lnTo>
                  <a:lnTo>
                    <a:pt x="65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0" name="Freeform 64">
              <a:extLst>
                <a:ext uri="{FF2B5EF4-FFF2-40B4-BE49-F238E27FC236}">
                  <a16:creationId xmlns:a16="http://schemas.microsoft.com/office/drawing/2014/main" id="{0B726872-FE51-46BF-AD09-46A84953B6A8}"/>
                </a:ext>
              </a:extLst>
            </p:cNvPr>
            <p:cNvSpPr>
              <a:spLocks/>
            </p:cNvSpPr>
            <p:nvPr/>
          </p:nvSpPr>
          <p:spPr bwMode="auto">
            <a:xfrm>
              <a:off x="117" y="175"/>
              <a:ext cx="764" cy="860"/>
            </a:xfrm>
            <a:custGeom>
              <a:avLst/>
              <a:gdLst>
                <a:gd name="T0" fmla="*/ 659 w 764"/>
                <a:gd name="T1" fmla="*/ 0 h 860"/>
                <a:gd name="T2" fmla="*/ 659 w 764"/>
                <a:gd name="T3" fmla="*/ 0 h 860"/>
                <a:gd name="T4" fmla="*/ 661 w 764"/>
                <a:gd name="T5" fmla="*/ 3 h 860"/>
                <a:gd name="T6" fmla="*/ 691 w 764"/>
                <a:gd name="T7" fmla="*/ 51 h 860"/>
                <a:gd name="T8" fmla="*/ 715 w 764"/>
                <a:gd name="T9" fmla="*/ 100 h 860"/>
                <a:gd name="T10" fmla="*/ 734 w 764"/>
                <a:gd name="T11" fmla="*/ 151 h 860"/>
                <a:gd name="T12" fmla="*/ 750 w 764"/>
                <a:gd name="T13" fmla="*/ 202 h 860"/>
                <a:gd name="T14" fmla="*/ 758 w 764"/>
                <a:gd name="T15" fmla="*/ 256 h 860"/>
                <a:gd name="T16" fmla="*/ 764 w 764"/>
                <a:gd name="T17" fmla="*/ 309 h 860"/>
                <a:gd name="T18" fmla="*/ 761 w 764"/>
                <a:gd name="T19" fmla="*/ 366 h 860"/>
                <a:gd name="T20" fmla="*/ 756 w 764"/>
                <a:gd name="T21" fmla="*/ 422 h 860"/>
                <a:gd name="T22" fmla="*/ 745 w 764"/>
                <a:gd name="T23" fmla="*/ 473 h 860"/>
                <a:gd name="T24" fmla="*/ 731 w 764"/>
                <a:gd name="T25" fmla="*/ 524 h 860"/>
                <a:gd name="T26" fmla="*/ 710 w 764"/>
                <a:gd name="T27" fmla="*/ 572 h 860"/>
                <a:gd name="T28" fmla="*/ 686 w 764"/>
                <a:gd name="T29" fmla="*/ 621 h 860"/>
                <a:gd name="T30" fmla="*/ 659 w 764"/>
                <a:gd name="T31" fmla="*/ 666 h 860"/>
                <a:gd name="T32" fmla="*/ 629 w 764"/>
                <a:gd name="T33" fmla="*/ 701 h 860"/>
                <a:gd name="T34" fmla="*/ 605 w 764"/>
                <a:gd name="T35" fmla="*/ 728 h 860"/>
                <a:gd name="T36" fmla="*/ 570 w 764"/>
                <a:gd name="T37" fmla="*/ 760 h 860"/>
                <a:gd name="T38" fmla="*/ 535 w 764"/>
                <a:gd name="T39" fmla="*/ 787 h 860"/>
                <a:gd name="T40" fmla="*/ 495 w 764"/>
                <a:gd name="T41" fmla="*/ 812 h 860"/>
                <a:gd name="T42" fmla="*/ 454 w 764"/>
                <a:gd name="T43" fmla="*/ 833 h 860"/>
                <a:gd name="T44" fmla="*/ 411 w 764"/>
                <a:gd name="T45" fmla="*/ 852 h 860"/>
                <a:gd name="T46" fmla="*/ 385 w 764"/>
                <a:gd name="T47" fmla="*/ 860 h 860"/>
                <a:gd name="T48" fmla="*/ 376 w 764"/>
                <a:gd name="T49" fmla="*/ 857 h 860"/>
                <a:gd name="T50" fmla="*/ 344 w 764"/>
                <a:gd name="T51" fmla="*/ 846 h 860"/>
                <a:gd name="T52" fmla="*/ 293 w 764"/>
                <a:gd name="T53" fmla="*/ 825 h 860"/>
                <a:gd name="T54" fmla="*/ 247 w 764"/>
                <a:gd name="T55" fmla="*/ 801 h 860"/>
                <a:gd name="T56" fmla="*/ 204 w 764"/>
                <a:gd name="T57" fmla="*/ 771 h 860"/>
                <a:gd name="T58" fmla="*/ 167 w 764"/>
                <a:gd name="T59" fmla="*/ 736 h 860"/>
                <a:gd name="T60" fmla="*/ 132 w 764"/>
                <a:gd name="T61" fmla="*/ 701 h 860"/>
                <a:gd name="T62" fmla="*/ 100 w 764"/>
                <a:gd name="T63" fmla="*/ 658 h 860"/>
                <a:gd name="T64" fmla="*/ 73 w 764"/>
                <a:gd name="T65" fmla="*/ 615 h 860"/>
                <a:gd name="T66" fmla="*/ 48 w 764"/>
                <a:gd name="T67" fmla="*/ 567 h 860"/>
                <a:gd name="T68" fmla="*/ 30 w 764"/>
                <a:gd name="T69" fmla="*/ 516 h 860"/>
                <a:gd name="T70" fmla="*/ 13 w 764"/>
                <a:gd name="T71" fmla="*/ 452 h 860"/>
                <a:gd name="T72" fmla="*/ 3 w 764"/>
                <a:gd name="T73" fmla="*/ 390 h 860"/>
                <a:gd name="T74" fmla="*/ 0 w 764"/>
                <a:gd name="T75" fmla="*/ 328 h 860"/>
                <a:gd name="T76" fmla="*/ 3 w 764"/>
                <a:gd name="T77" fmla="*/ 269 h 860"/>
                <a:gd name="T78" fmla="*/ 13 w 764"/>
                <a:gd name="T79" fmla="*/ 210 h 860"/>
                <a:gd name="T80" fmla="*/ 30 w 764"/>
                <a:gd name="T81" fmla="*/ 151 h 860"/>
                <a:gd name="T82" fmla="*/ 51 w 764"/>
                <a:gd name="T83" fmla="*/ 92 h 860"/>
                <a:gd name="T84" fmla="*/ 81 w 764"/>
                <a:gd name="T85" fmla="*/ 35 h 860"/>
                <a:gd name="T86" fmla="*/ 102 w 764"/>
                <a:gd name="T87" fmla="*/ 0 h 860"/>
                <a:gd name="T88" fmla="*/ 105 w 764"/>
                <a:gd name="T89" fmla="*/ 0 h 860"/>
                <a:gd name="T90" fmla="*/ 132 w 764"/>
                <a:gd name="T91" fmla="*/ 6 h 860"/>
                <a:gd name="T92" fmla="*/ 186 w 764"/>
                <a:gd name="T93" fmla="*/ 17 h 860"/>
                <a:gd name="T94" fmla="*/ 239 w 764"/>
                <a:gd name="T95" fmla="*/ 22 h 860"/>
                <a:gd name="T96" fmla="*/ 293 w 764"/>
                <a:gd name="T97" fmla="*/ 19 h 860"/>
                <a:gd name="T98" fmla="*/ 347 w 764"/>
                <a:gd name="T99" fmla="*/ 8 h 860"/>
                <a:gd name="T100" fmla="*/ 379 w 764"/>
                <a:gd name="T101" fmla="*/ 0 h 860"/>
                <a:gd name="T102" fmla="*/ 390 w 764"/>
                <a:gd name="T103" fmla="*/ 0 h 860"/>
                <a:gd name="T104" fmla="*/ 444 w 764"/>
                <a:gd name="T105" fmla="*/ 14 h 860"/>
                <a:gd name="T106" fmla="*/ 495 w 764"/>
                <a:gd name="T107" fmla="*/ 22 h 860"/>
                <a:gd name="T108" fmla="*/ 549 w 764"/>
                <a:gd name="T109" fmla="*/ 19 h 860"/>
                <a:gd name="T110" fmla="*/ 602 w 764"/>
                <a:gd name="T111" fmla="*/ 14 h 860"/>
                <a:gd name="T112" fmla="*/ 656 w 764"/>
                <a:gd name="T11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4" h="860">
                  <a:moveTo>
                    <a:pt x="656" y="0"/>
                  </a:moveTo>
                  <a:lnTo>
                    <a:pt x="659" y="0"/>
                  </a:lnTo>
                  <a:lnTo>
                    <a:pt x="659" y="0"/>
                  </a:lnTo>
                  <a:lnTo>
                    <a:pt x="659" y="0"/>
                  </a:lnTo>
                  <a:lnTo>
                    <a:pt x="661" y="3"/>
                  </a:lnTo>
                  <a:lnTo>
                    <a:pt x="661" y="3"/>
                  </a:lnTo>
                  <a:lnTo>
                    <a:pt x="675" y="27"/>
                  </a:lnTo>
                  <a:lnTo>
                    <a:pt x="691" y="51"/>
                  </a:lnTo>
                  <a:lnTo>
                    <a:pt x="702" y="76"/>
                  </a:lnTo>
                  <a:lnTo>
                    <a:pt x="715" y="100"/>
                  </a:lnTo>
                  <a:lnTo>
                    <a:pt x="726" y="124"/>
                  </a:lnTo>
                  <a:lnTo>
                    <a:pt x="734" y="151"/>
                  </a:lnTo>
                  <a:lnTo>
                    <a:pt x="742" y="178"/>
                  </a:lnTo>
                  <a:lnTo>
                    <a:pt x="750" y="202"/>
                  </a:lnTo>
                  <a:lnTo>
                    <a:pt x="756" y="229"/>
                  </a:lnTo>
                  <a:lnTo>
                    <a:pt x="758" y="256"/>
                  </a:lnTo>
                  <a:lnTo>
                    <a:pt x="761" y="282"/>
                  </a:lnTo>
                  <a:lnTo>
                    <a:pt x="764" y="309"/>
                  </a:lnTo>
                  <a:lnTo>
                    <a:pt x="764" y="339"/>
                  </a:lnTo>
                  <a:lnTo>
                    <a:pt x="761" y="366"/>
                  </a:lnTo>
                  <a:lnTo>
                    <a:pt x="758" y="393"/>
                  </a:lnTo>
                  <a:lnTo>
                    <a:pt x="756" y="422"/>
                  </a:lnTo>
                  <a:lnTo>
                    <a:pt x="750" y="446"/>
                  </a:lnTo>
                  <a:lnTo>
                    <a:pt x="745" y="473"/>
                  </a:lnTo>
                  <a:lnTo>
                    <a:pt x="739" y="500"/>
                  </a:lnTo>
                  <a:lnTo>
                    <a:pt x="731" y="524"/>
                  </a:lnTo>
                  <a:lnTo>
                    <a:pt x="721" y="548"/>
                  </a:lnTo>
                  <a:lnTo>
                    <a:pt x="710" y="572"/>
                  </a:lnTo>
                  <a:lnTo>
                    <a:pt x="699" y="597"/>
                  </a:lnTo>
                  <a:lnTo>
                    <a:pt x="686" y="621"/>
                  </a:lnTo>
                  <a:lnTo>
                    <a:pt x="672" y="642"/>
                  </a:lnTo>
                  <a:lnTo>
                    <a:pt x="659" y="666"/>
                  </a:lnTo>
                  <a:lnTo>
                    <a:pt x="640" y="688"/>
                  </a:lnTo>
                  <a:lnTo>
                    <a:pt x="629" y="701"/>
                  </a:lnTo>
                  <a:lnTo>
                    <a:pt x="618" y="715"/>
                  </a:lnTo>
                  <a:lnTo>
                    <a:pt x="605" y="728"/>
                  </a:lnTo>
                  <a:lnTo>
                    <a:pt x="589" y="744"/>
                  </a:lnTo>
                  <a:lnTo>
                    <a:pt x="570" y="760"/>
                  </a:lnTo>
                  <a:lnTo>
                    <a:pt x="554" y="774"/>
                  </a:lnTo>
                  <a:lnTo>
                    <a:pt x="535" y="787"/>
                  </a:lnTo>
                  <a:lnTo>
                    <a:pt x="516" y="801"/>
                  </a:lnTo>
                  <a:lnTo>
                    <a:pt x="495" y="812"/>
                  </a:lnTo>
                  <a:lnTo>
                    <a:pt x="476" y="822"/>
                  </a:lnTo>
                  <a:lnTo>
                    <a:pt x="454" y="833"/>
                  </a:lnTo>
                  <a:lnTo>
                    <a:pt x="433" y="841"/>
                  </a:lnTo>
                  <a:lnTo>
                    <a:pt x="411" y="852"/>
                  </a:lnTo>
                  <a:lnTo>
                    <a:pt x="390" y="857"/>
                  </a:lnTo>
                  <a:lnTo>
                    <a:pt x="385" y="860"/>
                  </a:lnTo>
                  <a:lnTo>
                    <a:pt x="379" y="860"/>
                  </a:lnTo>
                  <a:lnTo>
                    <a:pt x="376" y="857"/>
                  </a:lnTo>
                  <a:lnTo>
                    <a:pt x="371" y="857"/>
                  </a:lnTo>
                  <a:lnTo>
                    <a:pt x="344" y="846"/>
                  </a:lnTo>
                  <a:lnTo>
                    <a:pt x="317" y="838"/>
                  </a:lnTo>
                  <a:lnTo>
                    <a:pt x="293" y="825"/>
                  </a:lnTo>
                  <a:lnTo>
                    <a:pt x="269" y="814"/>
                  </a:lnTo>
                  <a:lnTo>
                    <a:pt x="247" y="801"/>
                  </a:lnTo>
                  <a:lnTo>
                    <a:pt x="226" y="787"/>
                  </a:lnTo>
                  <a:lnTo>
                    <a:pt x="204" y="771"/>
                  </a:lnTo>
                  <a:lnTo>
                    <a:pt x="186" y="755"/>
                  </a:lnTo>
                  <a:lnTo>
                    <a:pt x="167" y="736"/>
                  </a:lnTo>
                  <a:lnTo>
                    <a:pt x="148" y="720"/>
                  </a:lnTo>
                  <a:lnTo>
                    <a:pt x="132" y="701"/>
                  </a:lnTo>
                  <a:lnTo>
                    <a:pt x="116" y="680"/>
                  </a:lnTo>
                  <a:lnTo>
                    <a:pt x="100" y="658"/>
                  </a:lnTo>
                  <a:lnTo>
                    <a:pt x="86" y="637"/>
                  </a:lnTo>
                  <a:lnTo>
                    <a:pt x="73" y="615"/>
                  </a:lnTo>
                  <a:lnTo>
                    <a:pt x="62" y="591"/>
                  </a:lnTo>
                  <a:lnTo>
                    <a:pt x="48" y="567"/>
                  </a:lnTo>
                  <a:lnTo>
                    <a:pt x="40" y="543"/>
                  </a:lnTo>
                  <a:lnTo>
                    <a:pt x="30" y="516"/>
                  </a:lnTo>
                  <a:lnTo>
                    <a:pt x="22" y="484"/>
                  </a:lnTo>
                  <a:lnTo>
                    <a:pt x="13" y="452"/>
                  </a:lnTo>
                  <a:lnTo>
                    <a:pt x="8" y="422"/>
                  </a:lnTo>
                  <a:lnTo>
                    <a:pt x="3" y="390"/>
                  </a:lnTo>
                  <a:lnTo>
                    <a:pt x="0" y="360"/>
                  </a:lnTo>
                  <a:lnTo>
                    <a:pt x="0" y="328"/>
                  </a:lnTo>
                  <a:lnTo>
                    <a:pt x="0" y="299"/>
                  </a:lnTo>
                  <a:lnTo>
                    <a:pt x="3" y="269"/>
                  </a:lnTo>
                  <a:lnTo>
                    <a:pt x="5" y="239"/>
                  </a:lnTo>
                  <a:lnTo>
                    <a:pt x="13" y="210"/>
                  </a:lnTo>
                  <a:lnTo>
                    <a:pt x="19" y="180"/>
                  </a:lnTo>
                  <a:lnTo>
                    <a:pt x="30" y="151"/>
                  </a:lnTo>
                  <a:lnTo>
                    <a:pt x="40" y="121"/>
                  </a:lnTo>
                  <a:lnTo>
                    <a:pt x="51" y="92"/>
                  </a:lnTo>
                  <a:lnTo>
                    <a:pt x="67" y="65"/>
                  </a:lnTo>
                  <a:lnTo>
                    <a:pt x="81" y="35"/>
                  </a:lnTo>
                  <a:lnTo>
                    <a:pt x="100" y="6"/>
                  </a:lnTo>
                  <a:lnTo>
                    <a:pt x="102" y="0"/>
                  </a:lnTo>
                  <a:lnTo>
                    <a:pt x="105" y="0"/>
                  </a:lnTo>
                  <a:lnTo>
                    <a:pt x="105" y="0"/>
                  </a:lnTo>
                  <a:lnTo>
                    <a:pt x="105" y="0"/>
                  </a:lnTo>
                  <a:lnTo>
                    <a:pt x="132" y="6"/>
                  </a:lnTo>
                  <a:lnTo>
                    <a:pt x="159" y="14"/>
                  </a:lnTo>
                  <a:lnTo>
                    <a:pt x="186" y="17"/>
                  </a:lnTo>
                  <a:lnTo>
                    <a:pt x="212" y="19"/>
                  </a:lnTo>
                  <a:lnTo>
                    <a:pt x="239" y="22"/>
                  </a:lnTo>
                  <a:lnTo>
                    <a:pt x="266" y="22"/>
                  </a:lnTo>
                  <a:lnTo>
                    <a:pt x="293" y="19"/>
                  </a:lnTo>
                  <a:lnTo>
                    <a:pt x="320" y="14"/>
                  </a:lnTo>
                  <a:lnTo>
                    <a:pt x="347" y="8"/>
                  </a:lnTo>
                  <a:lnTo>
                    <a:pt x="374" y="0"/>
                  </a:lnTo>
                  <a:lnTo>
                    <a:pt x="379" y="0"/>
                  </a:lnTo>
                  <a:lnTo>
                    <a:pt x="385" y="0"/>
                  </a:lnTo>
                  <a:lnTo>
                    <a:pt x="390" y="0"/>
                  </a:lnTo>
                  <a:lnTo>
                    <a:pt x="417" y="8"/>
                  </a:lnTo>
                  <a:lnTo>
                    <a:pt x="444" y="14"/>
                  </a:lnTo>
                  <a:lnTo>
                    <a:pt x="471" y="19"/>
                  </a:lnTo>
                  <a:lnTo>
                    <a:pt x="495" y="22"/>
                  </a:lnTo>
                  <a:lnTo>
                    <a:pt x="522" y="22"/>
                  </a:lnTo>
                  <a:lnTo>
                    <a:pt x="549" y="19"/>
                  </a:lnTo>
                  <a:lnTo>
                    <a:pt x="575" y="17"/>
                  </a:lnTo>
                  <a:lnTo>
                    <a:pt x="602" y="14"/>
                  </a:lnTo>
                  <a:lnTo>
                    <a:pt x="629" y="6"/>
                  </a:lnTo>
                  <a:lnTo>
                    <a:pt x="6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1" name="Freeform 65">
              <a:extLst>
                <a:ext uri="{FF2B5EF4-FFF2-40B4-BE49-F238E27FC236}">
                  <a16:creationId xmlns:a16="http://schemas.microsoft.com/office/drawing/2014/main" id="{DE03C749-117A-463E-BC92-351E1F98D99F}"/>
                </a:ext>
              </a:extLst>
            </p:cNvPr>
            <p:cNvSpPr>
              <a:spLocks/>
            </p:cNvSpPr>
            <p:nvPr/>
          </p:nvSpPr>
          <p:spPr bwMode="auto">
            <a:xfrm>
              <a:off x="101" y="157"/>
              <a:ext cx="796" cy="894"/>
            </a:xfrm>
            <a:custGeom>
              <a:avLst/>
              <a:gdLst>
                <a:gd name="T0" fmla="*/ 248 w 296"/>
                <a:gd name="T1" fmla="*/ 12 h 333"/>
                <a:gd name="T2" fmla="*/ 252 w 296"/>
                <a:gd name="T3" fmla="*/ 20 h 333"/>
                <a:gd name="T4" fmla="*/ 276 w 296"/>
                <a:gd name="T5" fmla="*/ 74 h 333"/>
                <a:gd name="T6" fmla="*/ 284 w 296"/>
                <a:gd name="T7" fmla="*/ 133 h 333"/>
                <a:gd name="T8" fmla="*/ 275 w 296"/>
                <a:gd name="T9" fmla="*/ 191 h 333"/>
                <a:gd name="T10" fmla="*/ 251 w 296"/>
                <a:gd name="T11" fmla="*/ 243 h 333"/>
                <a:gd name="T12" fmla="*/ 227 w 296"/>
                <a:gd name="T13" fmla="*/ 273 h 333"/>
                <a:gd name="T14" fmla="*/ 187 w 296"/>
                <a:gd name="T15" fmla="*/ 304 h 333"/>
                <a:gd name="T16" fmla="*/ 148 w 296"/>
                <a:gd name="T17" fmla="*/ 321 h 333"/>
                <a:gd name="T18" fmla="*/ 118 w 296"/>
                <a:gd name="T19" fmla="*/ 309 h 333"/>
                <a:gd name="T20" fmla="*/ 72 w 296"/>
                <a:gd name="T21" fmla="*/ 277 h 333"/>
                <a:gd name="T22" fmla="*/ 38 w 296"/>
                <a:gd name="T23" fmla="*/ 233 h 333"/>
                <a:gd name="T24" fmla="*/ 17 w 296"/>
                <a:gd name="T25" fmla="*/ 174 h 333"/>
                <a:gd name="T26" fmla="*/ 13 w 296"/>
                <a:gd name="T27" fmla="*/ 107 h 333"/>
                <a:gd name="T28" fmla="*/ 31 w 296"/>
                <a:gd name="T29" fmla="*/ 44 h 333"/>
                <a:gd name="T30" fmla="*/ 48 w 296"/>
                <a:gd name="T31" fmla="*/ 12 h 333"/>
                <a:gd name="T32" fmla="*/ 45 w 296"/>
                <a:gd name="T33" fmla="*/ 7 h 333"/>
                <a:gd name="T34" fmla="*/ 74 w 296"/>
                <a:gd name="T35" fmla="*/ 19 h 333"/>
                <a:gd name="T36" fmla="*/ 105 w 296"/>
                <a:gd name="T37" fmla="*/ 21 h 333"/>
                <a:gd name="T38" fmla="*/ 136 w 296"/>
                <a:gd name="T39" fmla="*/ 16 h 333"/>
                <a:gd name="T40" fmla="*/ 159 w 296"/>
                <a:gd name="T41" fmla="*/ 16 h 333"/>
                <a:gd name="T42" fmla="*/ 190 w 296"/>
                <a:gd name="T43" fmla="*/ 21 h 333"/>
                <a:gd name="T44" fmla="*/ 221 w 296"/>
                <a:gd name="T45" fmla="*/ 19 h 333"/>
                <a:gd name="T46" fmla="*/ 252 w 296"/>
                <a:gd name="T47" fmla="*/ 12 h 333"/>
                <a:gd name="T48" fmla="*/ 229 w 296"/>
                <a:gd name="T49" fmla="*/ 6 h 333"/>
                <a:gd name="T50" fmla="*/ 172 w 296"/>
                <a:gd name="T51" fmla="*/ 6 h 333"/>
                <a:gd name="T52" fmla="*/ 147 w 296"/>
                <a:gd name="T53" fmla="*/ 1 h 333"/>
                <a:gd name="T54" fmla="*/ 114 w 296"/>
                <a:gd name="T55" fmla="*/ 8 h 333"/>
                <a:gd name="T56" fmla="*/ 57 w 296"/>
                <a:gd name="T57" fmla="*/ 4 h 333"/>
                <a:gd name="T58" fmla="*/ 41 w 296"/>
                <a:gd name="T59" fmla="*/ 2 h 333"/>
                <a:gd name="T60" fmla="*/ 31 w 296"/>
                <a:gd name="T61" fmla="*/ 17 h 333"/>
                <a:gd name="T62" fmla="*/ 15 w 296"/>
                <a:gd name="T63" fmla="*/ 50 h 333"/>
                <a:gd name="T64" fmla="*/ 5 w 296"/>
                <a:gd name="T65" fmla="*/ 83 h 333"/>
                <a:gd name="T66" fmla="*/ 0 w 296"/>
                <a:gd name="T67" fmla="*/ 118 h 333"/>
                <a:gd name="T68" fmla="*/ 1 w 296"/>
                <a:gd name="T69" fmla="*/ 153 h 333"/>
                <a:gd name="T70" fmla="*/ 8 w 296"/>
                <a:gd name="T71" fmla="*/ 189 h 333"/>
                <a:gd name="T72" fmla="*/ 19 w 296"/>
                <a:gd name="T73" fmla="*/ 220 h 333"/>
                <a:gd name="T74" fmla="*/ 33 w 296"/>
                <a:gd name="T75" fmla="*/ 248 h 333"/>
                <a:gd name="T76" fmla="*/ 50 w 296"/>
                <a:gd name="T77" fmla="*/ 272 h 333"/>
                <a:gd name="T78" fmla="*/ 71 w 296"/>
                <a:gd name="T79" fmla="*/ 292 h 333"/>
                <a:gd name="T80" fmla="*/ 95 w 296"/>
                <a:gd name="T81" fmla="*/ 310 h 333"/>
                <a:gd name="T82" fmla="*/ 122 w 296"/>
                <a:gd name="T83" fmla="*/ 324 h 333"/>
                <a:gd name="T84" fmla="*/ 145 w 296"/>
                <a:gd name="T85" fmla="*/ 332 h 333"/>
                <a:gd name="T86" fmla="*/ 152 w 296"/>
                <a:gd name="T87" fmla="*/ 332 h 333"/>
                <a:gd name="T88" fmla="*/ 177 w 296"/>
                <a:gd name="T89" fmla="*/ 322 h 333"/>
                <a:gd name="T90" fmla="*/ 201 w 296"/>
                <a:gd name="T91" fmla="*/ 310 h 333"/>
                <a:gd name="T92" fmla="*/ 222 w 296"/>
                <a:gd name="T93" fmla="*/ 294 h 333"/>
                <a:gd name="T94" fmla="*/ 241 w 296"/>
                <a:gd name="T95" fmla="*/ 277 h 333"/>
                <a:gd name="T96" fmla="*/ 255 w 296"/>
                <a:gd name="T97" fmla="*/ 258 h 333"/>
                <a:gd name="T98" fmla="*/ 272 w 296"/>
                <a:gd name="T99" fmla="*/ 232 h 333"/>
                <a:gd name="T100" fmla="*/ 283 w 296"/>
                <a:gd name="T101" fmla="*/ 204 h 333"/>
                <a:gd name="T102" fmla="*/ 291 w 296"/>
                <a:gd name="T103" fmla="*/ 174 h 333"/>
                <a:gd name="T104" fmla="*/ 295 w 296"/>
                <a:gd name="T105" fmla="*/ 144 h 333"/>
                <a:gd name="T106" fmla="*/ 295 w 296"/>
                <a:gd name="T107" fmla="*/ 112 h 333"/>
                <a:gd name="T108" fmla="*/ 290 w 296"/>
                <a:gd name="T109" fmla="*/ 81 h 333"/>
                <a:gd name="T110" fmla="*/ 281 w 296"/>
                <a:gd name="T111" fmla="*/ 51 h 333"/>
                <a:gd name="T112" fmla="*/ 268 w 296"/>
                <a:gd name="T113" fmla="*/ 23 h 333"/>
                <a:gd name="T114" fmla="*/ 257 w 296"/>
                <a:gd name="T115" fmla="*/ 4 h 333"/>
                <a:gd name="T116" fmla="*/ 251 w 296"/>
                <a:gd name="T11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6" h="333">
                  <a:moveTo>
                    <a:pt x="250" y="7"/>
                  </a:moveTo>
                  <a:cubicBezTo>
                    <a:pt x="246" y="11"/>
                    <a:pt x="246" y="11"/>
                    <a:pt x="246" y="11"/>
                  </a:cubicBezTo>
                  <a:cubicBezTo>
                    <a:pt x="246" y="11"/>
                    <a:pt x="246" y="11"/>
                    <a:pt x="246" y="11"/>
                  </a:cubicBezTo>
                  <a:cubicBezTo>
                    <a:pt x="247" y="12"/>
                    <a:pt x="247" y="12"/>
                    <a:pt x="247" y="12"/>
                  </a:cubicBezTo>
                  <a:cubicBezTo>
                    <a:pt x="247" y="12"/>
                    <a:pt x="247" y="12"/>
                    <a:pt x="247" y="12"/>
                  </a:cubicBezTo>
                  <a:cubicBezTo>
                    <a:pt x="248" y="12"/>
                    <a:pt x="248" y="12"/>
                    <a:pt x="248" y="12"/>
                  </a:cubicBezTo>
                  <a:cubicBezTo>
                    <a:pt x="251" y="7"/>
                    <a:pt x="251" y="7"/>
                    <a:pt x="251" y="7"/>
                  </a:cubicBezTo>
                  <a:cubicBezTo>
                    <a:pt x="246" y="11"/>
                    <a:pt x="246" y="11"/>
                    <a:pt x="246" y="11"/>
                  </a:cubicBezTo>
                  <a:cubicBezTo>
                    <a:pt x="247" y="11"/>
                    <a:pt x="247" y="11"/>
                    <a:pt x="247" y="11"/>
                  </a:cubicBezTo>
                  <a:cubicBezTo>
                    <a:pt x="247" y="11"/>
                    <a:pt x="247" y="11"/>
                    <a:pt x="247" y="11"/>
                  </a:cubicBezTo>
                  <a:cubicBezTo>
                    <a:pt x="247" y="11"/>
                    <a:pt x="247" y="11"/>
                    <a:pt x="247" y="11"/>
                  </a:cubicBezTo>
                  <a:cubicBezTo>
                    <a:pt x="252" y="20"/>
                    <a:pt x="252" y="20"/>
                    <a:pt x="252" y="20"/>
                  </a:cubicBezTo>
                  <a:cubicBezTo>
                    <a:pt x="257" y="29"/>
                    <a:pt x="257" y="29"/>
                    <a:pt x="257" y="29"/>
                  </a:cubicBezTo>
                  <a:cubicBezTo>
                    <a:pt x="262" y="38"/>
                    <a:pt x="262" y="38"/>
                    <a:pt x="262" y="38"/>
                  </a:cubicBezTo>
                  <a:cubicBezTo>
                    <a:pt x="266" y="47"/>
                    <a:pt x="266" y="47"/>
                    <a:pt x="266" y="47"/>
                  </a:cubicBezTo>
                  <a:cubicBezTo>
                    <a:pt x="270" y="56"/>
                    <a:pt x="270" y="56"/>
                    <a:pt x="270" y="56"/>
                  </a:cubicBezTo>
                  <a:cubicBezTo>
                    <a:pt x="273" y="65"/>
                    <a:pt x="273" y="65"/>
                    <a:pt x="273" y="65"/>
                  </a:cubicBezTo>
                  <a:cubicBezTo>
                    <a:pt x="276" y="74"/>
                    <a:pt x="276" y="74"/>
                    <a:pt x="276" y="74"/>
                  </a:cubicBezTo>
                  <a:cubicBezTo>
                    <a:pt x="279" y="84"/>
                    <a:pt x="279" y="84"/>
                    <a:pt x="279" y="84"/>
                  </a:cubicBezTo>
                  <a:cubicBezTo>
                    <a:pt x="281" y="93"/>
                    <a:pt x="281" y="93"/>
                    <a:pt x="281" y="93"/>
                  </a:cubicBezTo>
                  <a:cubicBezTo>
                    <a:pt x="282" y="103"/>
                    <a:pt x="282" y="103"/>
                    <a:pt x="282" y="103"/>
                  </a:cubicBezTo>
                  <a:cubicBezTo>
                    <a:pt x="283" y="113"/>
                    <a:pt x="283" y="113"/>
                    <a:pt x="283" y="113"/>
                  </a:cubicBezTo>
                  <a:cubicBezTo>
                    <a:pt x="284" y="123"/>
                    <a:pt x="284" y="123"/>
                    <a:pt x="284" y="123"/>
                  </a:cubicBezTo>
                  <a:cubicBezTo>
                    <a:pt x="284" y="133"/>
                    <a:pt x="284" y="133"/>
                    <a:pt x="284" y="133"/>
                  </a:cubicBezTo>
                  <a:cubicBezTo>
                    <a:pt x="283" y="143"/>
                    <a:pt x="283" y="143"/>
                    <a:pt x="283" y="143"/>
                  </a:cubicBezTo>
                  <a:cubicBezTo>
                    <a:pt x="282" y="153"/>
                    <a:pt x="282" y="153"/>
                    <a:pt x="282" y="153"/>
                  </a:cubicBezTo>
                  <a:cubicBezTo>
                    <a:pt x="281" y="163"/>
                    <a:pt x="281" y="163"/>
                    <a:pt x="281" y="163"/>
                  </a:cubicBezTo>
                  <a:cubicBezTo>
                    <a:pt x="279" y="172"/>
                    <a:pt x="279" y="172"/>
                    <a:pt x="279" y="172"/>
                  </a:cubicBezTo>
                  <a:cubicBezTo>
                    <a:pt x="277" y="182"/>
                    <a:pt x="277" y="182"/>
                    <a:pt x="277" y="182"/>
                  </a:cubicBezTo>
                  <a:cubicBezTo>
                    <a:pt x="275" y="191"/>
                    <a:pt x="275" y="191"/>
                    <a:pt x="275" y="191"/>
                  </a:cubicBezTo>
                  <a:cubicBezTo>
                    <a:pt x="272" y="200"/>
                    <a:pt x="272" y="200"/>
                    <a:pt x="272" y="200"/>
                  </a:cubicBezTo>
                  <a:cubicBezTo>
                    <a:pt x="269" y="209"/>
                    <a:pt x="269" y="209"/>
                    <a:pt x="269" y="209"/>
                  </a:cubicBezTo>
                  <a:cubicBezTo>
                    <a:pt x="265" y="218"/>
                    <a:pt x="265" y="218"/>
                    <a:pt x="265" y="218"/>
                  </a:cubicBezTo>
                  <a:cubicBezTo>
                    <a:pt x="261" y="227"/>
                    <a:pt x="261" y="227"/>
                    <a:pt x="261" y="227"/>
                  </a:cubicBezTo>
                  <a:cubicBezTo>
                    <a:pt x="256" y="235"/>
                    <a:pt x="256" y="235"/>
                    <a:pt x="256" y="235"/>
                  </a:cubicBezTo>
                  <a:cubicBezTo>
                    <a:pt x="251" y="243"/>
                    <a:pt x="251" y="243"/>
                    <a:pt x="251" y="243"/>
                  </a:cubicBezTo>
                  <a:cubicBezTo>
                    <a:pt x="246" y="251"/>
                    <a:pt x="246" y="251"/>
                    <a:pt x="246" y="251"/>
                  </a:cubicBezTo>
                  <a:cubicBezTo>
                    <a:pt x="240" y="259"/>
                    <a:pt x="240" y="259"/>
                    <a:pt x="240" y="259"/>
                  </a:cubicBezTo>
                  <a:cubicBezTo>
                    <a:pt x="236" y="264"/>
                    <a:pt x="236" y="264"/>
                    <a:pt x="236" y="264"/>
                  </a:cubicBezTo>
                  <a:cubicBezTo>
                    <a:pt x="232" y="269"/>
                    <a:pt x="232" y="269"/>
                    <a:pt x="232" y="269"/>
                  </a:cubicBezTo>
                  <a:cubicBezTo>
                    <a:pt x="227" y="273"/>
                    <a:pt x="227" y="273"/>
                    <a:pt x="227" y="273"/>
                  </a:cubicBezTo>
                  <a:cubicBezTo>
                    <a:pt x="227" y="273"/>
                    <a:pt x="227" y="273"/>
                    <a:pt x="227" y="273"/>
                  </a:cubicBezTo>
                  <a:cubicBezTo>
                    <a:pt x="221" y="280"/>
                    <a:pt x="221" y="280"/>
                    <a:pt x="221" y="280"/>
                  </a:cubicBezTo>
                  <a:cubicBezTo>
                    <a:pt x="215" y="285"/>
                    <a:pt x="215" y="285"/>
                    <a:pt x="215" y="285"/>
                  </a:cubicBezTo>
                  <a:cubicBezTo>
                    <a:pt x="208" y="290"/>
                    <a:pt x="208" y="290"/>
                    <a:pt x="208" y="290"/>
                  </a:cubicBezTo>
                  <a:cubicBezTo>
                    <a:pt x="201" y="295"/>
                    <a:pt x="201" y="295"/>
                    <a:pt x="201" y="295"/>
                  </a:cubicBezTo>
                  <a:cubicBezTo>
                    <a:pt x="194" y="300"/>
                    <a:pt x="194" y="300"/>
                    <a:pt x="194" y="300"/>
                  </a:cubicBezTo>
                  <a:cubicBezTo>
                    <a:pt x="187" y="304"/>
                    <a:pt x="187" y="304"/>
                    <a:pt x="187" y="304"/>
                  </a:cubicBezTo>
                  <a:cubicBezTo>
                    <a:pt x="180" y="308"/>
                    <a:pt x="180" y="308"/>
                    <a:pt x="180" y="308"/>
                  </a:cubicBezTo>
                  <a:cubicBezTo>
                    <a:pt x="172" y="312"/>
                    <a:pt x="172" y="312"/>
                    <a:pt x="172" y="312"/>
                  </a:cubicBezTo>
                  <a:cubicBezTo>
                    <a:pt x="165" y="315"/>
                    <a:pt x="165" y="315"/>
                    <a:pt x="165" y="315"/>
                  </a:cubicBezTo>
                  <a:cubicBezTo>
                    <a:pt x="157" y="318"/>
                    <a:pt x="157" y="318"/>
                    <a:pt x="157" y="318"/>
                  </a:cubicBezTo>
                  <a:cubicBezTo>
                    <a:pt x="149" y="321"/>
                    <a:pt x="149" y="321"/>
                    <a:pt x="149" y="321"/>
                  </a:cubicBezTo>
                  <a:cubicBezTo>
                    <a:pt x="148" y="321"/>
                    <a:pt x="148" y="321"/>
                    <a:pt x="148" y="321"/>
                  </a:cubicBezTo>
                  <a:cubicBezTo>
                    <a:pt x="148" y="321"/>
                    <a:pt x="148" y="321"/>
                    <a:pt x="148" y="321"/>
                  </a:cubicBezTo>
                  <a:cubicBezTo>
                    <a:pt x="147" y="321"/>
                    <a:pt x="147" y="321"/>
                    <a:pt x="147" y="321"/>
                  </a:cubicBezTo>
                  <a:cubicBezTo>
                    <a:pt x="146" y="320"/>
                    <a:pt x="146" y="320"/>
                    <a:pt x="146" y="320"/>
                  </a:cubicBezTo>
                  <a:cubicBezTo>
                    <a:pt x="136" y="317"/>
                    <a:pt x="136" y="317"/>
                    <a:pt x="136" y="317"/>
                  </a:cubicBezTo>
                  <a:cubicBezTo>
                    <a:pt x="127" y="313"/>
                    <a:pt x="127" y="313"/>
                    <a:pt x="127" y="313"/>
                  </a:cubicBezTo>
                  <a:cubicBezTo>
                    <a:pt x="118" y="309"/>
                    <a:pt x="118" y="309"/>
                    <a:pt x="118" y="309"/>
                  </a:cubicBezTo>
                  <a:cubicBezTo>
                    <a:pt x="109" y="304"/>
                    <a:pt x="109" y="304"/>
                    <a:pt x="109" y="304"/>
                  </a:cubicBezTo>
                  <a:cubicBezTo>
                    <a:pt x="101" y="300"/>
                    <a:pt x="101" y="300"/>
                    <a:pt x="101" y="300"/>
                  </a:cubicBezTo>
                  <a:cubicBezTo>
                    <a:pt x="93" y="295"/>
                    <a:pt x="93" y="295"/>
                    <a:pt x="93" y="295"/>
                  </a:cubicBezTo>
                  <a:cubicBezTo>
                    <a:pt x="86" y="289"/>
                    <a:pt x="86" y="289"/>
                    <a:pt x="86" y="289"/>
                  </a:cubicBezTo>
                  <a:cubicBezTo>
                    <a:pt x="78" y="283"/>
                    <a:pt x="78" y="283"/>
                    <a:pt x="78" y="283"/>
                  </a:cubicBezTo>
                  <a:cubicBezTo>
                    <a:pt x="72" y="277"/>
                    <a:pt x="72" y="277"/>
                    <a:pt x="72" y="277"/>
                  </a:cubicBezTo>
                  <a:cubicBezTo>
                    <a:pt x="65" y="271"/>
                    <a:pt x="65" y="271"/>
                    <a:pt x="65" y="271"/>
                  </a:cubicBezTo>
                  <a:cubicBezTo>
                    <a:pt x="59" y="264"/>
                    <a:pt x="59" y="264"/>
                    <a:pt x="59" y="264"/>
                  </a:cubicBezTo>
                  <a:cubicBezTo>
                    <a:pt x="53" y="257"/>
                    <a:pt x="53" y="257"/>
                    <a:pt x="53" y="257"/>
                  </a:cubicBezTo>
                  <a:cubicBezTo>
                    <a:pt x="48" y="249"/>
                    <a:pt x="48" y="249"/>
                    <a:pt x="48" y="249"/>
                  </a:cubicBezTo>
                  <a:cubicBezTo>
                    <a:pt x="43" y="241"/>
                    <a:pt x="43" y="241"/>
                    <a:pt x="43" y="241"/>
                  </a:cubicBezTo>
                  <a:cubicBezTo>
                    <a:pt x="38" y="233"/>
                    <a:pt x="38" y="233"/>
                    <a:pt x="38" y="233"/>
                  </a:cubicBezTo>
                  <a:cubicBezTo>
                    <a:pt x="34" y="225"/>
                    <a:pt x="34" y="225"/>
                    <a:pt x="34" y="225"/>
                  </a:cubicBezTo>
                  <a:cubicBezTo>
                    <a:pt x="30" y="216"/>
                    <a:pt x="30" y="216"/>
                    <a:pt x="30" y="216"/>
                  </a:cubicBezTo>
                  <a:cubicBezTo>
                    <a:pt x="26" y="206"/>
                    <a:pt x="26" y="206"/>
                    <a:pt x="26" y="206"/>
                  </a:cubicBezTo>
                  <a:cubicBezTo>
                    <a:pt x="23" y="197"/>
                    <a:pt x="23" y="197"/>
                    <a:pt x="23" y="197"/>
                  </a:cubicBezTo>
                  <a:cubicBezTo>
                    <a:pt x="20" y="185"/>
                    <a:pt x="20" y="185"/>
                    <a:pt x="20" y="185"/>
                  </a:cubicBezTo>
                  <a:cubicBezTo>
                    <a:pt x="17" y="174"/>
                    <a:pt x="17" y="174"/>
                    <a:pt x="17" y="174"/>
                  </a:cubicBezTo>
                  <a:cubicBezTo>
                    <a:pt x="15" y="163"/>
                    <a:pt x="15" y="163"/>
                    <a:pt x="15" y="163"/>
                  </a:cubicBezTo>
                  <a:cubicBezTo>
                    <a:pt x="13" y="151"/>
                    <a:pt x="13" y="151"/>
                    <a:pt x="13" y="151"/>
                  </a:cubicBezTo>
                  <a:cubicBezTo>
                    <a:pt x="12" y="140"/>
                    <a:pt x="12" y="140"/>
                    <a:pt x="12" y="140"/>
                  </a:cubicBezTo>
                  <a:cubicBezTo>
                    <a:pt x="12" y="129"/>
                    <a:pt x="12" y="129"/>
                    <a:pt x="12" y="129"/>
                  </a:cubicBezTo>
                  <a:cubicBezTo>
                    <a:pt x="12" y="118"/>
                    <a:pt x="12" y="118"/>
                    <a:pt x="12" y="118"/>
                  </a:cubicBezTo>
                  <a:cubicBezTo>
                    <a:pt x="13" y="107"/>
                    <a:pt x="13" y="107"/>
                    <a:pt x="13" y="107"/>
                  </a:cubicBezTo>
                  <a:cubicBezTo>
                    <a:pt x="14" y="97"/>
                    <a:pt x="14" y="97"/>
                    <a:pt x="14" y="97"/>
                  </a:cubicBezTo>
                  <a:cubicBezTo>
                    <a:pt x="17" y="86"/>
                    <a:pt x="17" y="86"/>
                    <a:pt x="17" y="86"/>
                  </a:cubicBezTo>
                  <a:cubicBezTo>
                    <a:pt x="19" y="75"/>
                    <a:pt x="19" y="75"/>
                    <a:pt x="19" y="75"/>
                  </a:cubicBezTo>
                  <a:cubicBezTo>
                    <a:pt x="22" y="65"/>
                    <a:pt x="22" y="65"/>
                    <a:pt x="22" y="65"/>
                  </a:cubicBezTo>
                  <a:cubicBezTo>
                    <a:pt x="26" y="54"/>
                    <a:pt x="26" y="54"/>
                    <a:pt x="26" y="54"/>
                  </a:cubicBezTo>
                  <a:cubicBezTo>
                    <a:pt x="31" y="44"/>
                    <a:pt x="31" y="44"/>
                    <a:pt x="31" y="44"/>
                  </a:cubicBezTo>
                  <a:cubicBezTo>
                    <a:pt x="36" y="33"/>
                    <a:pt x="36" y="33"/>
                    <a:pt x="36" y="33"/>
                  </a:cubicBezTo>
                  <a:cubicBezTo>
                    <a:pt x="42" y="23"/>
                    <a:pt x="42" y="23"/>
                    <a:pt x="42" y="23"/>
                  </a:cubicBezTo>
                  <a:cubicBezTo>
                    <a:pt x="48" y="13"/>
                    <a:pt x="48" y="13"/>
                    <a:pt x="48" y="13"/>
                  </a:cubicBezTo>
                  <a:cubicBezTo>
                    <a:pt x="49" y="10"/>
                    <a:pt x="49" y="10"/>
                    <a:pt x="49" y="10"/>
                  </a:cubicBezTo>
                  <a:cubicBezTo>
                    <a:pt x="44" y="7"/>
                    <a:pt x="44" y="7"/>
                    <a:pt x="44" y="7"/>
                  </a:cubicBezTo>
                  <a:cubicBezTo>
                    <a:pt x="48" y="12"/>
                    <a:pt x="48" y="12"/>
                    <a:pt x="48" y="12"/>
                  </a:cubicBezTo>
                  <a:cubicBezTo>
                    <a:pt x="48" y="12"/>
                    <a:pt x="48" y="12"/>
                    <a:pt x="48" y="12"/>
                  </a:cubicBezTo>
                  <a:cubicBezTo>
                    <a:pt x="48" y="12"/>
                    <a:pt x="48" y="12"/>
                    <a:pt x="48" y="12"/>
                  </a:cubicBezTo>
                  <a:cubicBezTo>
                    <a:pt x="45" y="7"/>
                    <a:pt x="45" y="7"/>
                    <a:pt x="45" y="7"/>
                  </a:cubicBezTo>
                  <a:cubicBezTo>
                    <a:pt x="47" y="12"/>
                    <a:pt x="47" y="12"/>
                    <a:pt x="47" y="12"/>
                  </a:cubicBezTo>
                  <a:cubicBezTo>
                    <a:pt x="48" y="12"/>
                    <a:pt x="48" y="12"/>
                    <a:pt x="48" y="12"/>
                  </a:cubicBezTo>
                  <a:cubicBezTo>
                    <a:pt x="45" y="7"/>
                    <a:pt x="45" y="7"/>
                    <a:pt x="45" y="7"/>
                  </a:cubicBezTo>
                  <a:cubicBezTo>
                    <a:pt x="43" y="12"/>
                    <a:pt x="43" y="12"/>
                    <a:pt x="43" y="12"/>
                  </a:cubicBezTo>
                  <a:cubicBezTo>
                    <a:pt x="53" y="15"/>
                    <a:pt x="53" y="15"/>
                    <a:pt x="53" y="15"/>
                  </a:cubicBezTo>
                  <a:cubicBezTo>
                    <a:pt x="54" y="15"/>
                    <a:pt x="54" y="15"/>
                    <a:pt x="54" y="15"/>
                  </a:cubicBezTo>
                  <a:cubicBezTo>
                    <a:pt x="64" y="18"/>
                    <a:pt x="64" y="18"/>
                    <a:pt x="64" y="18"/>
                  </a:cubicBezTo>
                  <a:cubicBezTo>
                    <a:pt x="64" y="18"/>
                    <a:pt x="64" y="18"/>
                    <a:pt x="64" y="18"/>
                  </a:cubicBezTo>
                  <a:cubicBezTo>
                    <a:pt x="74" y="19"/>
                    <a:pt x="74" y="19"/>
                    <a:pt x="74" y="19"/>
                  </a:cubicBezTo>
                  <a:cubicBezTo>
                    <a:pt x="75" y="19"/>
                    <a:pt x="75" y="19"/>
                    <a:pt x="75" y="19"/>
                  </a:cubicBezTo>
                  <a:cubicBezTo>
                    <a:pt x="85" y="20"/>
                    <a:pt x="85" y="20"/>
                    <a:pt x="85" y="20"/>
                  </a:cubicBezTo>
                  <a:cubicBezTo>
                    <a:pt x="85" y="20"/>
                    <a:pt x="85" y="20"/>
                    <a:pt x="85" y="20"/>
                  </a:cubicBezTo>
                  <a:cubicBezTo>
                    <a:pt x="95" y="21"/>
                    <a:pt x="95" y="21"/>
                    <a:pt x="95" y="21"/>
                  </a:cubicBezTo>
                  <a:cubicBezTo>
                    <a:pt x="95" y="21"/>
                    <a:pt x="95" y="21"/>
                    <a:pt x="95" y="21"/>
                  </a:cubicBezTo>
                  <a:cubicBezTo>
                    <a:pt x="105" y="21"/>
                    <a:pt x="105" y="21"/>
                    <a:pt x="105" y="21"/>
                  </a:cubicBezTo>
                  <a:cubicBezTo>
                    <a:pt x="106" y="21"/>
                    <a:pt x="106" y="21"/>
                    <a:pt x="106" y="21"/>
                  </a:cubicBezTo>
                  <a:cubicBezTo>
                    <a:pt x="116" y="20"/>
                    <a:pt x="116" y="20"/>
                    <a:pt x="116" y="20"/>
                  </a:cubicBezTo>
                  <a:cubicBezTo>
                    <a:pt x="116" y="20"/>
                    <a:pt x="116" y="20"/>
                    <a:pt x="116" y="20"/>
                  </a:cubicBezTo>
                  <a:cubicBezTo>
                    <a:pt x="126" y="18"/>
                    <a:pt x="126" y="18"/>
                    <a:pt x="126" y="18"/>
                  </a:cubicBezTo>
                  <a:cubicBezTo>
                    <a:pt x="126" y="18"/>
                    <a:pt x="126" y="18"/>
                    <a:pt x="126" y="18"/>
                  </a:cubicBezTo>
                  <a:cubicBezTo>
                    <a:pt x="136" y="16"/>
                    <a:pt x="136" y="16"/>
                    <a:pt x="136" y="16"/>
                  </a:cubicBezTo>
                  <a:cubicBezTo>
                    <a:pt x="137" y="16"/>
                    <a:pt x="137" y="16"/>
                    <a:pt x="137" y="16"/>
                  </a:cubicBezTo>
                  <a:cubicBezTo>
                    <a:pt x="146" y="13"/>
                    <a:pt x="146" y="13"/>
                    <a:pt x="146" y="13"/>
                  </a:cubicBezTo>
                  <a:cubicBezTo>
                    <a:pt x="147" y="13"/>
                    <a:pt x="147" y="13"/>
                    <a:pt x="147" y="13"/>
                  </a:cubicBezTo>
                  <a:cubicBezTo>
                    <a:pt x="148" y="13"/>
                    <a:pt x="148" y="13"/>
                    <a:pt x="148" y="13"/>
                  </a:cubicBezTo>
                  <a:cubicBezTo>
                    <a:pt x="149" y="13"/>
                    <a:pt x="149" y="13"/>
                    <a:pt x="149" y="13"/>
                  </a:cubicBezTo>
                  <a:cubicBezTo>
                    <a:pt x="159" y="16"/>
                    <a:pt x="159" y="16"/>
                    <a:pt x="159" y="16"/>
                  </a:cubicBezTo>
                  <a:cubicBezTo>
                    <a:pt x="159" y="16"/>
                    <a:pt x="159" y="16"/>
                    <a:pt x="159" y="16"/>
                  </a:cubicBezTo>
                  <a:cubicBezTo>
                    <a:pt x="169" y="18"/>
                    <a:pt x="169" y="18"/>
                    <a:pt x="169" y="18"/>
                  </a:cubicBezTo>
                  <a:cubicBezTo>
                    <a:pt x="170" y="18"/>
                    <a:pt x="170" y="18"/>
                    <a:pt x="170" y="18"/>
                  </a:cubicBezTo>
                  <a:cubicBezTo>
                    <a:pt x="180" y="20"/>
                    <a:pt x="180" y="20"/>
                    <a:pt x="180" y="20"/>
                  </a:cubicBezTo>
                  <a:cubicBezTo>
                    <a:pt x="180" y="20"/>
                    <a:pt x="180" y="20"/>
                    <a:pt x="180" y="20"/>
                  </a:cubicBezTo>
                  <a:cubicBezTo>
                    <a:pt x="190" y="21"/>
                    <a:pt x="190" y="21"/>
                    <a:pt x="190" y="21"/>
                  </a:cubicBezTo>
                  <a:cubicBezTo>
                    <a:pt x="190" y="21"/>
                    <a:pt x="190" y="21"/>
                    <a:pt x="190" y="21"/>
                  </a:cubicBezTo>
                  <a:cubicBezTo>
                    <a:pt x="200" y="21"/>
                    <a:pt x="200" y="21"/>
                    <a:pt x="200" y="21"/>
                  </a:cubicBezTo>
                  <a:cubicBezTo>
                    <a:pt x="201" y="21"/>
                    <a:pt x="201" y="21"/>
                    <a:pt x="201" y="21"/>
                  </a:cubicBezTo>
                  <a:cubicBezTo>
                    <a:pt x="211" y="20"/>
                    <a:pt x="211" y="20"/>
                    <a:pt x="211" y="20"/>
                  </a:cubicBezTo>
                  <a:cubicBezTo>
                    <a:pt x="211" y="20"/>
                    <a:pt x="211" y="20"/>
                    <a:pt x="211" y="20"/>
                  </a:cubicBezTo>
                  <a:cubicBezTo>
                    <a:pt x="221" y="19"/>
                    <a:pt x="221" y="19"/>
                    <a:pt x="221" y="19"/>
                  </a:cubicBezTo>
                  <a:cubicBezTo>
                    <a:pt x="221" y="19"/>
                    <a:pt x="221" y="19"/>
                    <a:pt x="221" y="19"/>
                  </a:cubicBezTo>
                  <a:cubicBezTo>
                    <a:pt x="231" y="18"/>
                    <a:pt x="231" y="18"/>
                    <a:pt x="231" y="18"/>
                  </a:cubicBezTo>
                  <a:cubicBezTo>
                    <a:pt x="232" y="18"/>
                    <a:pt x="232" y="18"/>
                    <a:pt x="232" y="18"/>
                  </a:cubicBezTo>
                  <a:cubicBezTo>
                    <a:pt x="242" y="15"/>
                    <a:pt x="242" y="15"/>
                    <a:pt x="242" y="15"/>
                  </a:cubicBezTo>
                  <a:cubicBezTo>
                    <a:pt x="242" y="15"/>
                    <a:pt x="242" y="15"/>
                    <a:pt x="242" y="15"/>
                  </a:cubicBezTo>
                  <a:cubicBezTo>
                    <a:pt x="252" y="12"/>
                    <a:pt x="252" y="12"/>
                    <a:pt x="252" y="12"/>
                  </a:cubicBezTo>
                  <a:cubicBezTo>
                    <a:pt x="250" y="7"/>
                    <a:pt x="250" y="7"/>
                    <a:pt x="250" y="7"/>
                  </a:cubicBezTo>
                  <a:cubicBezTo>
                    <a:pt x="246" y="11"/>
                    <a:pt x="246" y="11"/>
                    <a:pt x="246" y="11"/>
                  </a:cubicBezTo>
                  <a:cubicBezTo>
                    <a:pt x="250" y="7"/>
                    <a:pt x="250" y="7"/>
                    <a:pt x="250" y="7"/>
                  </a:cubicBezTo>
                  <a:cubicBezTo>
                    <a:pt x="249" y="1"/>
                    <a:pt x="249" y="1"/>
                    <a:pt x="249" y="1"/>
                  </a:cubicBezTo>
                  <a:cubicBezTo>
                    <a:pt x="239" y="4"/>
                    <a:pt x="239" y="4"/>
                    <a:pt x="239" y="4"/>
                  </a:cubicBezTo>
                  <a:cubicBezTo>
                    <a:pt x="229" y="6"/>
                    <a:pt x="229" y="6"/>
                    <a:pt x="229" y="6"/>
                  </a:cubicBezTo>
                  <a:cubicBezTo>
                    <a:pt x="220" y="7"/>
                    <a:pt x="220" y="7"/>
                    <a:pt x="220" y="7"/>
                  </a:cubicBezTo>
                  <a:cubicBezTo>
                    <a:pt x="210" y="8"/>
                    <a:pt x="210" y="8"/>
                    <a:pt x="210" y="8"/>
                  </a:cubicBezTo>
                  <a:cubicBezTo>
                    <a:pt x="200" y="9"/>
                    <a:pt x="200" y="9"/>
                    <a:pt x="200" y="9"/>
                  </a:cubicBezTo>
                  <a:cubicBezTo>
                    <a:pt x="191" y="9"/>
                    <a:pt x="191" y="9"/>
                    <a:pt x="191" y="9"/>
                  </a:cubicBezTo>
                  <a:cubicBezTo>
                    <a:pt x="181" y="8"/>
                    <a:pt x="181" y="8"/>
                    <a:pt x="181" y="8"/>
                  </a:cubicBezTo>
                  <a:cubicBezTo>
                    <a:pt x="172" y="6"/>
                    <a:pt x="172" y="6"/>
                    <a:pt x="172" y="6"/>
                  </a:cubicBezTo>
                  <a:cubicBezTo>
                    <a:pt x="162" y="4"/>
                    <a:pt x="162" y="4"/>
                    <a:pt x="162" y="4"/>
                  </a:cubicBezTo>
                  <a:cubicBezTo>
                    <a:pt x="152" y="1"/>
                    <a:pt x="152" y="1"/>
                    <a:pt x="152" y="1"/>
                  </a:cubicBezTo>
                  <a:cubicBezTo>
                    <a:pt x="152" y="1"/>
                    <a:pt x="152" y="1"/>
                    <a:pt x="152" y="1"/>
                  </a:cubicBezTo>
                  <a:cubicBezTo>
                    <a:pt x="150" y="1"/>
                    <a:pt x="150" y="1"/>
                    <a:pt x="150" y="1"/>
                  </a:cubicBezTo>
                  <a:cubicBezTo>
                    <a:pt x="149" y="1"/>
                    <a:pt x="149" y="1"/>
                    <a:pt x="149" y="1"/>
                  </a:cubicBezTo>
                  <a:cubicBezTo>
                    <a:pt x="147" y="1"/>
                    <a:pt x="147" y="1"/>
                    <a:pt x="147" y="1"/>
                  </a:cubicBezTo>
                  <a:cubicBezTo>
                    <a:pt x="146" y="1"/>
                    <a:pt x="146" y="1"/>
                    <a:pt x="146" y="1"/>
                  </a:cubicBezTo>
                  <a:cubicBezTo>
                    <a:pt x="144" y="1"/>
                    <a:pt x="144" y="1"/>
                    <a:pt x="144" y="1"/>
                  </a:cubicBezTo>
                  <a:cubicBezTo>
                    <a:pt x="143" y="1"/>
                    <a:pt x="143" y="1"/>
                    <a:pt x="143" y="1"/>
                  </a:cubicBezTo>
                  <a:cubicBezTo>
                    <a:pt x="134" y="4"/>
                    <a:pt x="134" y="4"/>
                    <a:pt x="134" y="4"/>
                  </a:cubicBezTo>
                  <a:cubicBezTo>
                    <a:pt x="124" y="6"/>
                    <a:pt x="124" y="6"/>
                    <a:pt x="124" y="6"/>
                  </a:cubicBezTo>
                  <a:cubicBezTo>
                    <a:pt x="114" y="8"/>
                    <a:pt x="114" y="8"/>
                    <a:pt x="114" y="8"/>
                  </a:cubicBezTo>
                  <a:cubicBezTo>
                    <a:pt x="105" y="9"/>
                    <a:pt x="105" y="9"/>
                    <a:pt x="105" y="9"/>
                  </a:cubicBezTo>
                  <a:cubicBezTo>
                    <a:pt x="95" y="9"/>
                    <a:pt x="95" y="9"/>
                    <a:pt x="95" y="9"/>
                  </a:cubicBezTo>
                  <a:cubicBezTo>
                    <a:pt x="86" y="8"/>
                    <a:pt x="86" y="8"/>
                    <a:pt x="86" y="8"/>
                  </a:cubicBezTo>
                  <a:cubicBezTo>
                    <a:pt x="76" y="7"/>
                    <a:pt x="76" y="7"/>
                    <a:pt x="76" y="7"/>
                  </a:cubicBezTo>
                  <a:cubicBezTo>
                    <a:pt x="66" y="6"/>
                    <a:pt x="66" y="6"/>
                    <a:pt x="66" y="6"/>
                  </a:cubicBezTo>
                  <a:cubicBezTo>
                    <a:pt x="57" y="4"/>
                    <a:pt x="57" y="4"/>
                    <a:pt x="57" y="4"/>
                  </a:cubicBezTo>
                  <a:cubicBezTo>
                    <a:pt x="47" y="1"/>
                    <a:pt x="47" y="1"/>
                    <a:pt x="47" y="1"/>
                  </a:cubicBezTo>
                  <a:cubicBezTo>
                    <a:pt x="45" y="0"/>
                    <a:pt x="44" y="1"/>
                    <a:pt x="42" y="1"/>
                  </a:cubicBezTo>
                  <a:cubicBezTo>
                    <a:pt x="42" y="1"/>
                    <a:pt x="42" y="1"/>
                    <a:pt x="42" y="1"/>
                  </a:cubicBezTo>
                  <a:cubicBezTo>
                    <a:pt x="41" y="2"/>
                    <a:pt x="41" y="2"/>
                    <a:pt x="41" y="2"/>
                  </a:cubicBezTo>
                  <a:cubicBezTo>
                    <a:pt x="41" y="2"/>
                    <a:pt x="41" y="2"/>
                    <a:pt x="41" y="2"/>
                  </a:cubicBezTo>
                  <a:cubicBezTo>
                    <a:pt x="41" y="2"/>
                    <a:pt x="41" y="2"/>
                    <a:pt x="41" y="2"/>
                  </a:cubicBezTo>
                  <a:cubicBezTo>
                    <a:pt x="41" y="2"/>
                    <a:pt x="41" y="2"/>
                    <a:pt x="41" y="2"/>
                  </a:cubicBezTo>
                  <a:cubicBezTo>
                    <a:pt x="40" y="3"/>
                    <a:pt x="40" y="3"/>
                    <a:pt x="39" y="4"/>
                  </a:cubicBezTo>
                  <a:cubicBezTo>
                    <a:pt x="38" y="6"/>
                    <a:pt x="38" y="6"/>
                    <a:pt x="38" y="6"/>
                  </a:cubicBezTo>
                  <a:cubicBezTo>
                    <a:pt x="38" y="6"/>
                    <a:pt x="38" y="6"/>
                    <a:pt x="38" y="6"/>
                  </a:cubicBezTo>
                  <a:cubicBezTo>
                    <a:pt x="31" y="17"/>
                    <a:pt x="31" y="17"/>
                    <a:pt x="31" y="17"/>
                  </a:cubicBezTo>
                  <a:cubicBezTo>
                    <a:pt x="31" y="17"/>
                    <a:pt x="31" y="17"/>
                    <a:pt x="31" y="17"/>
                  </a:cubicBezTo>
                  <a:cubicBezTo>
                    <a:pt x="25" y="28"/>
                    <a:pt x="25" y="28"/>
                    <a:pt x="25" y="28"/>
                  </a:cubicBezTo>
                  <a:cubicBezTo>
                    <a:pt x="25" y="28"/>
                    <a:pt x="25" y="28"/>
                    <a:pt x="25" y="28"/>
                  </a:cubicBezTo>
                  <a:cubicBezTo>
                    <a:pt x="20" y="39"/>
                    <a:pt x="20" y="39"/>
                    <a:pt x="20" y="39"/>
                  </a:cubicBezTo>
                  <a:cubicBezTo>
                    <a:pt x="20" y="39"/>
                    <a:pt x="20" y="39"/>
                    <a:pt x="20" y="39"/>
                  </a:cubicBezTo>
                  <a:cubicBezTo>
                    <a:pt x="15" y="50"/>
                    <a:pt x="15" y="50"/>
                    <a:pt x="15" y="50"/>
                  </a:cubicBezTo>
                  <a:cubicBezTo>
                    <a:pt x="15" y="50"/>
                    <a:pt x="15" y="50"/>
                    <a:pt x="15" y="50"/>
                  </a:cubicBezTo>
                  <a:cubicBezTo>
                    <a:pt x="11" y="61"/>
                    <a:pt x="11" y="61"/>
                    <a:pt x="11" y="61"/>
                  </a:cubicBezTo>
                  <a:cubicBezTo>
                    <a:pt x="11" y="61"/>
                    <a:pt x="11" y="61"/>
                    <a:pt x="11" y="61"/>
                  </a:cubicBezTo>
                  <a:cubicBezTo>
                    <a:pt x="8" y="72"/>
                    <a:pt x="8" y="72"/>
                    <a:pt x="8" y="72"/>
                  </a:cubicBezTo>
                  <a:cubicBezTo>
                    <a:pt x="8" y="72"/>
                    <a:pt x="8" y="72"/>
                    <a:pt x="8" y="72"/>
                  </a:cubicBezTo>
                  <a:cubicBezTo>
                    <a:pt x="5" y="83"/>
                    <a:pt x="5" y="83"/>
                    <a:pt x="5" y="83"/>
                  </a:cubicBezTo>
                  <a:cubicBezTo>
                    <a:pt x="5" y="83"/>
                    <a:pt x="5" y="83"/>
                    <a:pt x="5" y="83"/>
                  </a:cubicBezTo>
                  <a:cubicBezTo>
                    <a:pt x="3" y="94"/>
                    <a:pt x="3" y="94"/>
                    <a:pt x="3" y="94"/>
                  </a:cubicBezTo>
                  <a:cubicBezTo>
                    <a:pt x="2" y="95"/>
                    <a:pt x="2" y="95"/>
                    <a:pt x="2" y="95"/>
                  </a:cubicBezTo>
                  <a:cubicBezTo>
                    <a:pt x="1" y="106"/>
                    <a:pt x="1" y="106"/>
                    <a:pt x="1" y="106"/>
                  </a:cubicBezTo>
                  <a:cubicBezTo>
                    <a:pt x="1" y="106"/>
                    <a:pt x="1" y="106"/>
                    <a:pt x="1" y="106"/>
                  </a:cubicBezTo>
                  <a:cubicBezTo>
                    <a:pt x="0" y="118"/>
                    <a:pt x="0" y="118"/>
                    <a:pt x="0" y="118"/>
                  </a:cubicBezTo>
                  <a:cubicBezTo>
                    <a:pt x="0" y="118"/>
                    <a:pt x="0" y="118"/>
                    <a:pt x="0" y="118"/>
                  </a:cubicBezTo>
                  <a:cubicBezTo>
                    <a:pt x="0" y="129"/>
                    <a:pt x="0" y="129"/>
                    <a:pt x="0" y="129"/>
                  </a:cubicBezTo>
                  <a:cubicBezTo>
                    <a:pt x="0" y="130"/>
                    <a:pt x="0" y="130"/>
                    <a:pt x="0" y="130"/>
                  </a:cubicBezTo>
                  <a:cubicBezTo>
                    <a:pt x="0" y="141"/>
                    <a:pt x="0" y="141"/>
                    <a:pt x="0" y="141"/>
                  </a:cubicBezTo>
                  <a:cubicBezTo>
                    <a:pt x="0" y="141"/>
                    <a:pt x="0" y="141"/>
                    <a:pt x="0" y="141"/>
                  </a:cubicBezTo>
                  <a:cubicBezTo>
                    <a:pt x="1" y="153"/>
                    <a:pt x="1" y="153"/>
                    <a:pt x="1" y="153"/>
                  </a:cubicBezTo>
                  <a:cubicBezTo>
                    <a:pt x="1" y="153"/>
                    <a:pt x="1" y="153"/>
                    <a:pt x="1" y="153"/>
                  </a:cubicBezTo>
                  <a:cubicBezTo>
                    <a:pt x="3" y="165"/>
                    <a:pt x="3" y="165"/>
                    <a:pt x="3" y="165"/>
                  </a:cubicBezTo>
                  <a:cubicBezTo>
                    <a:pt x="3" y="165"/>
                    <a:pt x="3" y="165"/>
                    <a:pt x="3" y="165"/>
                  </a:cubicBezTo>
                  <a:cubicBezTo>
                    <a:pt x="5" y="176"/>
                    <a:pt x="5" y="176"/>
                    <a:pt x="5" y="176"/>
                  </a:cubicBezTo>
                  <a:cubicBezTo>
                    <a:pt x="5" y="177"/>
                    <a:pt x="5" y="177"/>
                    <a:pt x="5" y="177"/>
                  </a:cubicBezTo>
                  <a:cubicBezTo>
                    <a:pt x="8" y="188"/>
                    <a:pt x="8" y="188"/>
                    <a:pt x="8" y="188"/>
                  </a:cubicBezTo>
                  <a:cubicBezTo>
                    <a:pt x="8" y="189"/>
                    <a:pt x="8" y="189"/>
                    <a:pt x="8" y="189"/>
                  </a:cubicBezTo>
                  <a:cubicBezTo>
                    <a:pt x="11" y="200"/>
                    <a:pt x="11" y="200"/>
                    <a:pt x="11" y="200"/>
                  </a:cubicBezTo>
                  <a:cubicBezTo>
                    <a:pt x="12" y="201"/>
                    <a:pt x="12" y="201"/>
                    <a:pt x="12" y="201"/>
                  </a:cubicBezTo>
                  <a:cubicBezTo>
                    <a:pt x="15" y="211"/>
                    <a:pt x="15" y="211"/>
                    <a:pt x="15" y="211"/>
                  </a:cubicBezTo>
                  <a:cubicBezTo>
                    <a:pt x="15" y="211"/>
                    <a:pt x="15" y="211"/>
                    <a:pt x="15" y="211"/>
                  </a:cubicBezTo>
                  <a:cubicBezTo>
                    <a:pt x="19" y="220"/>
                    <a:pt x="19" y="220"/>
                    <a:pt x="19" y="220"/>
                  </a:cubicBezTo>
                  <a:cubicBezTo>
                    <a:pt x="19" y="220"/>
                    <a:pt x="19" y="220"/>
                    <a:pt x="19" y="220"/>
                  </a:cubicBezTo>
                  <a:cubicBezTo>
                    <a:pt x="23" y="230"/>
                    <a:pt x="23" y="230"/>
                    <a:pt x="23" y="230"/>
                  </a:cubicBezTo>
                  <a:cubicBezTo>
                    <a:pt x="23" y="230"/>
                    <a:pt x="23" y="230"/>
                    <a:pt x="23" y="230"/>
                  </a:cubicBezTo>
                  <a:cubicBezTo>
                    <a:pt x="28" y="239"/>
                    <a:pt x="28" y="239"/>
                    <a:pt x="28" y="239"/>
                  </a:cubicBezTo>
                  <a:cubicBezTo>
                    <a:pt x="28" y="239"/>
                    <a:pt x="28" y="239"/>
                    <a:pt x="28" y="239"/>
                  </a:cubicBezTo>
                  <a:cubicBezTo>
                    <a:pt x="33" y="247"/>
                    <a:pt x="33" y="247"/>
                    <a:pt x="33" y="247"/>
                  </a:cubicBezTo>
                  <a:cubicBezTo>
                    <a:pt x="33" y="248"/>
                    <a:pt x="33" y="248"/>
                    <a:pt x="33" y="248"/>
                  </a:cubicBezTo>
                  <a:cubicBezTo>
                    <a:pt x="38" y="256"/>
                    <a:pt x="38" y="256"/>
                    <a:pt x="38" y="256"/>
                  </a:cubicBezTo>
                  <a:cubicBezTo>
                    <a:pt x="38" y="256"/>
                    <a:pt x="38" y="256"/>
                    <a:pt x="38" y="256"/>
                  </a:cubicBezTo>
                  <a:cubicBezTo>
                    <a:pt x="44" y="264"/>
                    <a:pt x="44" y="264"/>
                    <a:pt x="44" y="264"/>
                  </a:cubicBezTo>
                  <a:cubicBezTo>
                    <a:pt x="44" y="264"/>
                    <a:pt x="44" y="264"/>
                    <a:pt x="44" y="264"/>
                  </a:cubicBezTo>
                  <a:cubicBezTo>
                    <a:pt x="50" y="271"/>
                    <a:pt x="50" y="271"/>
                    <a:pt x="50" y="271"/>
                  </a:cubicBezTo>
                  <a:cubicBezTo>
                    <a:pt x="50" y="272"/>
                    <a:pt x="50" y="272"/>
                    <a:pt x="50" y="272"/>
                  </a:cubicBezTo>
                  <a:cubicBezTo>
                    <a:pt x="56" y="279"/>
                    <a:pt x="56" y="279"/>
                    <a:pt x="56" y="279"/>
                  </a:cubicBezTo>
                  <a:cubicBezTo>
                    <a:pt x="57" y="279"/>
                    <a:pt x="57" y="279"/>
                    <a:pt x="57" y="279"/>
                  </a:cubicBezTo>
                  <a:cubicBezTo>
                    <a:pt x="63" y="286"/>
                    <a:pt x="63" y="286"/>
                    <a:pt x="63" y="286"/>
                  </a:cubicBezTo>
                  <a:cubicBezTo>
                    <a:pt x="64" y="286"/>
                    <a:pt x="64" y="286"/>
                    <a:pt x="64" y="286"/>
                  </a:cubicBezTo>
                  <a:cubicBezTo>
                    <a:pt x="71" y="292"/>
                    <a:pt x="71" y="292"/>
                    <a:pt x="71" y="292"/>
                  </a:cubicBezTo>
                  <a:cubicBezTo>
                    <a:pt x="71" y="292"/>
                    <a:pt x="71" y="292"/>
                    <a:pt x="71" y="292"/>
                  </a:cubicBezTo>
                  <a:cubicBezTo>
                    <a:pt x="78" y="298"/>
                    <a:pt x="78" y="298"/>
                    <a:pt x="78" y="298"/>
                  </a:cubicBezTo>
                  <a:cubicBezTo>
                    <a:pt x="78" y="299"/>
                    <a:pt x="78" y="299"/>
                    <a:pt x="78" y="299"/>
                  </a:cubicBezTo>
                  <a:cubicBezTo>
                    <a:pt x="86" y="304"/>
                    <a:pt x="86" y="304"/>
                    <a:pt x="86" y="304"/>
                  </a:cubicBezTo>
                  <a:cubicBezTo>
                    <a:pt x="86" y="305"/>
                    <a:pt x="86" y="305"/>
                    <a:pt x="86" y="305"/>
                  </a:cubicBezTo>
                  <a:cubicBezTo>
                    <a:pt x="95" y="310"/>
                    <a:pt x="95" y="310"/>
                    <a:pt x="95" y="310"/>
                  </a:cubicBezTo>
                  <a:cubicBezTo>
                    <a:pt x="95" y="310"/>
                    <a:pt x="95" y="310"/>
                    <a:pt x="95" y="310"/>
                  </a:cubicBezTo>
                  <a:cubicBezTo>
                    <a:pt x="103" y="315"/>
                    <a:pt x="103" y="315"/>
                    <a:pt x="103" y="315"/>
                  </a:cubicBezTo>
                  <a:cubicBezTo>
                    <a:pt x="103" y="315"/>
                    <a:pt x="103" y="315"/>
                    <a:pt x="103" y="315"/>
                  </a:cubicBezTo>
                  <a:cubicBezTo>
                    <a:pt x="112" y="320"/>
                    <a:pt x="112" y="320"/>
                    <a:pt x="112" y="320"/>
                  </a:cubicBezTo>
                  <a:cubicBezTo>
                    <a:pt x="113" y="320"/>
                    <a:pt x="113" y="320"/>
                    <a:pt x="113" y="320"/>
                  </a:cubicBezTo>
                  <a:cubicBezTo>
                    <a:pt x="122" y="324"/>
                    <a:pt x="122" y="324"/>
                    <a:pt x="122" y="324"/>
                  </a:cubicBezTo>
                  <a:cubicBezTo>
                    <a:pt x="122" y="324"/>
                    <a:pt x="122" y="324"/>
                    <a:pt x="122" y="324"/>
                  </a:cubicBezTo>
                  <a:cubicBezTo>
                    <a:pt x="132" y="328"/>
                    <a:pt x="132" y="328"/>
                    <a:pt x="132" y="328"/>
                  </a:cubicBezTo>
                  <a:cubicBezTo>
                    <a:pt x="132" y="328"/>
                    <a:pt x="132" y="328"/>
                    <a:pt x="132" y="328"/>
                  </a:cubicBezTo>
                  <a:cubicBezTo>
                    <a:pt x="142" y="332"/>
                    <a:pt x="142" y="332"/>
                    <a:pt x="142" y="332"/>
                  </a:cubicBezTo>
                  <a:cubicBezTo>
                    <a:pt x="142" y="332"/>
                    <a:pt x="142" y="332"/>
                    <a:pt x="142" y="332"/>
                  </a:cubicBezTo>
                  <a:cubicBezTo>
                    <a:pt x="144" y="332"/>
                    <a:pt x="144" y="332"/>
                    <a:pt x="144" y="332"/>
                  </a:cubicBezTo>
                  <a:cubicBezTo>
                    <a:pt x="145" y="332"/>
                    <a:pt x="145" y="332"/>
                    <a:pt x="145" y="332"/>
                  </a:cubicBezTo>
                  <a:cubicBezTo>
                    <a:pt x="146" y="333"/>
                    <a:pt x="146" y="333"/>
                    <a:pt x="146" y="333"/>
                  </a:cubicBezTo>
                  <a:cubicBezTo>
                    <a:pt x="147" y="333"/>
                    <a:pt x="147" y="333"/>
                    <a:pt x="147" y="333"/>
                  </a:cubicBezTo>
                  <a:cubicBezTo>
                    <a:pt x="149" y="333"/>
                    <a:pt x="149" y="333"/>
                    <a:pt x="149" y="333"/>
                  </a:cubicBezTo>
                  <a:cubicBezTo>
                    <a:pt x="149" y="333"/>
                    <a:pt x="150" y="333"/>
                    <a:pt x="150" y="332"/>
                  </a:cubicBezTo>
                  <a:cubicBezTo>
                    <a:pt x="152" y="332"/>
                    <a:pt x="152" y="332"/>
                    <a:pt x="152" y="332"/>
                  </a:cubicBezTo>
                  <a:cubicBezTo>
                    <a:pt x="152" y="332"/>
                    <a:pt x="152" y="332"/>
                    <a:pt x="152" y="332"/>
                  </a:cubicBezTo>
                  <a:cubicBezTo>
                    <a:pt x="161" y="329"/>
                    <a:pt x="161" y="329"/>
                    <a:pt x="161" y="329"/>
                  </a:cubicBezTo>
                  <a:cubicBezTo>
                    <a:pt x="161" y="329"/>
                    <a:pt x="161" y="329"/>
                    <a:pt x="161" y="329"/>
                  </a:cubicBezTo>
                  <a:cubicBezTo>
                    <a:pt x="169" y="326"/>
                    <a:pt x="169" y="326"/>
                    <a:pt x="169" y="326"/>
                  </a:cubicBezTo>
                  <a:cubicBezTo>
                    <a:pt x="169" y="326"/>
                    <a:pt x="169" y="326"/>
                    <a:pt x="169" y="326"/>
                  </a:cubicBezTo>
                  <a:cubicBezTo>
                    <a:pt x="177" y="323"/>
                    <a:pt x="177" y="323"/>
                    <a:pt x="177" y="323"/>
                  </a:cubicBezTo>
                  <a:cubicBezTo>
                    <a:pt x="177" y="322"/>
                    <a:pt x="177" y="322"/>
                    <a:pt x="177" y="322"/>
                  </a:cubicBezTo>
                  <a:cubicBezTo>
                    <a:pt x="185" y="319"/>
                    <a:pt x="185" y="319"/>
                    <a:pt x="185" y="319"/>
                  </a:cubicBezTo>
                  <a:cubicBezTo>
                    <a:pt x="185" y="319"/>
                    <a:pt x="185" y="319"/>
                    <a:pt x="185" y="319"/>
                  </a:cubicBezTo>
                  <a:cubicBezTo>
                    <a:pt x="193" y="315"/>
                    <a:pt x="193" y="315"/>
                    <a:pt x="193" y="315"/>
                  </a:cubicBezTo>
                  <a:cubicBezTo>
                    <a:pt x="193" y="314"/>
                    <a:pt x="193" y="314"/>
                    <a:pt x="193" y="314"/>
                  </a:cubicBezTo>
                  <a:cubicBezTo>
                    <a:pt x="201" y="310"/>
                    <a:pt x="201" y="310"/>
                    <a:pt x="201" y="310"/>
                  </a:cubicBezTo>
                  <a:cubicBezTo>
                    <a:pt x="201" y="310"/>
                    <a:pt x="201" y="310"/>
                    <a:pt x="201" y="310"/>
                  </a:cubicBezTo>
                  <a:cubicBezTo>
                    <a:pt x="208" y="305"/>
                    <a:pt x="208" y="305"/>
                    <a:pt x="208" y="305"/>
                  </a:cubicBezTo>
                  <a:cubicBezTo>
                    <a:pt x="208" y="305"/>
                    <a:pt x="208" y="305"/>
                    <a:pt x="208" y="305"/>
                  </a:cubicBezTo>
                  <a:cubicBezTo>
                    <a:pt x="215" y="300"/>
                    <a:pt x="215" y="300"/>
                    <a:pt x="215" y="300"/>
                  </a:cubicBezTo>
                  <a:cubicBezTo>
                    <a:pt x="216" y="300"/>
                    <a:pt x="216" y="300"/>
                    <a:pt x="216" y="300"/>
                  </a:cubicBezTo>
                  <a:cubicBezTo>
                    <a:pt x="222" y="294"/>
                    <a:pt x="222" y="294"/>
                    <a:pt x="222" y="294"/>
                  </a:cubicBezTo>
                  <a:cubicBezTo>
                    <a:pt x="222" y="294"/>
                    <a:pt x="222" y="294"/>
                    <a:pt x="222" y="294"/>
                  </a:cubicBezTo>
                  <a:cubicBezTo>
                    <a:pt x="229" y="289"/>
                    <a:pt x="229" y="289"/>
                    <a:pt x="229" y="289"/>
                  </a:cubicBezTo>
                  <a:cubicBezTo>
                    <a:pt x="229" y="288"/>
                    <a:pt x="229" y="288"/>
                    <a:pt x="229" y="288"/>
                  </a:cubicBezTo>
                  <a:cubicBezTo>
                    <a:pt x="236" y="282"/>
                    <a:pt x="236" y="282"/>
                    <a:pt x="236" y="282"/>
                  </a:cubicBezTo>
                  <a:cubicBezTo>
                    <a:pt x="236" y="282"/>
                    <a:pt x="236" y="282"/>
                    <a:pt x="236" y="282"/>
                  </a:cubicBezTo>
                  <a:cubicBezTo>
                    <a:pt x="240" y="277"/>
                    <a:pt x="240" y="277"/>
                    <a:pt x="240" y="277"/>
                  </a:cubicBezTo>
                  <a:cubicBezTo>
                    <a:pt x="241" y="277"/>
                    <a:pt x="241" y="277"/>
                    <a:pt x="241" y="277"/>
                  </a:cubicBezTo>
                  <a:cubicBezTo>
                    <a:pt x="245" y="272"/>
                    <a:pt x="245" y="272"/>
                    <a:pt x="245" y="272"/>
                  </a:cubicBezTo>
                  <a:cubicBezTo>
                    <a:pt x="245" y="272"/>
                    <a:pt x="245" y="272"/>
                    <a:pt x="245" y="272"/>
                  </a:cubicBezTo>
                  <a:cubicBezTo>
                    <a:pt x="249" y="267"/>
                    <a:pt x="249" y="267"/>
                    <a:pt x="249" y="267"/>
                  </a:cubicBezTo>
                  <a:cubicBezTo>
                    <a:pt x="249" y="266"/>
                    <a:pt x="249" y="266"/>
                    <a:pt x="249" y="266"/>
                  </a:cubicBezTo>
                  <a:cubicBezTo>
                    <a:pt x="255" y="258"/>
                    <a:pt x="255" y="258"/>
                    <a:pt x="255" y="258"/>
                  </a:cubicBezTo>
                  <a:cubicBezTo>
                    <a:pt x="255" y="258"/>
                    <a:pt x="255" y="258"/>
                    <a:pt x="255" y="258"/>
                  </a:cubicBezTo>
                  <a:cubicBezTo>
                    <a:pt x="261" y="250"/>
                    <a:pt x="261" y="250"/>
                    <a:pt x="261" y="250"/>
                  </a:cubicBezTo>
                  <a:cubicBezTo>
                    <a:pt x="261" y="250"/>
                    <a:pt x="261" y="250"/>
                    <a:pt x="261" y="250"/>
                  </a:cubicBezTo>
                  <a:cubicBezTo>
                    <a:pt x="267" y="241"/>
                    <a:pt x="267" y="241"/>
                    <a:pt x="267" y="241"/>
                  </a:cubicBezTo>
                  <a:cubicBezTo>
                    <a:pt x="267" y="241"/>
                    <a:pt x="267" y="241"/>
                    <a:pt x="267" y="241"/>
                  </a:cubicBezTo>
                  <a:cubicBezTo>
                    <a:pt x="271" y="232"/>
                    <a:pt x="271" y="232"/>
                    <a:pt x="271" y="232"/>
                  </a:cubicBezTo>
                  <a:cubicBezTo>
                    <a:pt x="272" y="232"/>
                    <a:pt x="272" y="232"/>
                    <a:pt x="272" y="232"/>
                  </a:cubicBezTo>
                  <a:cubicBezTo>
                    <a:pt x="276" y="223"/>
                    <a:pt x="276" y="223"/>
                    <a:pt x="276" y="223"/>
                  </a:cubicBezTo>
                  <a:cubicBezTo>
                    <a:pt x="276" y="223"/>
                    <a:pt x="276" y="223"/>
                    <a:pt x="276" y="223"/>
                  </a:cubicBezTo>
                  <a:cubicBezTo>
                    <a:pt x="280" y="214"/>
                    <a:pt x="280" y="214"/>
                    <a:pt x="280" y="214"/>
                  </a:cubicBezTo>
                  <a:cubicBezTo>
                    <a:pt x="280" y="213"/>
                    <a:pt x="280" y="213"/>
                    <a:pt x="280" y="213"/>
                  </a:cubicBezTo>
                  <a:cubicBezTo>
                    <a:pt x="283" y="204"/>
                    <a:pt x="283" y="204"/>
                    <a:pt x="283" y="204"/>
                  </a:cubicBezTo>
                  <a:cubicBezTo>
                    <a:pt x="283" y="204"/>
                    <a:pt x="283" y="204"/>
                    <a:pt x="283" y="204"/>
                  </a:cubicBezTo>
                  <a:cubicBezTo>
                    <a:pt x="286" y="194"/>
                    <a:pt x="286" y="194"/>
                    <a:pt x="286" y="194"/>
                  </a:cubicBezTo>
                  <a:cubicBezTo>
                    <a:pt x="286" y="194"/>
                    <a:pt x="286" y="194"/>
                    <a:pt x="286" y="194"/>
                  </a:cubicBezTo>
                  <a:cubicBezTo>
                    <a:pt x="289" y="185"/>
                    <a:pt x="289" y="185"/>
                    <a:pt x="289" y="185"/>
                  </a:cubicBezTo>
                  <a:cubicBezTo>
                    <a:pt x="289" y="184"/>
                    <a:pt x="289" y="184"/>
                    <a:pt x="289" y="184"/>
                  </a:cubicBezTo>
                  <a:cubicBezTo>
                    <a:pt x="291" y="175"/>
                    <a:pt x="291" y="175"/>
                    <a:pt x="291" y="175"/>
                  </a:cubicBezTo>
                  <a:cubicBezTo>
                    <a:pt x="291" y="174"/>
                    <a:pt x="291" y="174"/>
                    <a:pt x="291" y="174"/>
                  </a:cubicBezTo>
                  <a:cubicBezTo>
                    <a:pt x="293" y="165"/>
                    <a:pt x="293" y="165"/>
                    <a:pt x="293" y="165"/>
                  </a:cubicBezTo>
                  <a:cubicBezTo>
                    <a:pt x="293" y="164"/>
                    <a:pt x="293" y="164"/>
                    <a:pt x="293" y="164"/>
                  </a:cubicBezTo>
                  <a:cubicBezTo>
                    <a:pt x="294" y="154"/>
                    <a:pt x="294" y="154"/>
                    <a:pt x="294" y="154"/>
                  </a:cubicBezTo>
                  <a:cubicBezTo>
                    <a:pt x="294" y="154"/>
                    <a:pt x="294" y="154"/>
                    <a:pt x="294" y="154"/>
                  </a:cubicBezTo>
                  <a:cubicBezTo>
                    <a:pt x="295" y="144"/>
                    <a:pt x="295" y="144"/>
                    <a:pt x="295" y="144"/>
                  </a:cubicBezTo>
                  <a:cubicBezTo>
                    <a:pt x="295" y="144"/>
                    <a:pt x="295" y="144"/>
                    <a:pt x="295" y="144"/>
                  </a:cubicBezTo>
                  <a:cubicBezTo>
                    <a:pt x="296" y="133"/>
                    <a:pt x="296" y="133"/>
                    <a:pt x="296" y="133"/>
                  </a:cubicBezTo>
                  <a:cubicBezTo>
                    <a:pt x="296" y="133"/>
                    <a:pt x="296" y="133"/>
                    <a:pt x="296" y="133"/>
                  </a:cubicBezTo>
                  <a:cubicBezTo>
                    <a:pt x="296" y="122"/>
                    <a:pt x="296" y="122"/>
                    <a:pt x="296" y="122"/>
                  </a:cubicBezTo>
                  <a:cubicBezTo>
                    <a:pt x="296" y="122"/>
                    <a:pt x="296" y="122"/>
                    <a:pt x="296" y="122"/>
                  </a:cubicBezTo>
                  <a:cubicBezTo>
                    <a:pt x="295" y="112"/>
                    <a:pt x="295" y="112"/>
                    <a:pt x="295" y="112"/>
                  </a:cubicBezTo>
                  <a:cubicBezTo>
                    <a:pt x="295" y="112"/>
                    <a:pt x="295" y="112"/>
                    <a:pt x="295" y="112"/>
                  </a:cubicBezTo>
                  <a:cubicBezTo>
                    <a:pt x="294" y="101"/>
                    <a:pt x="294" y="101"/>
                    <a:pt x="294" y="101"/>
                  </a:cubicBezTo>
                  <a:cubicBezTo>
                    <a:pt x="294" y="101"/>
                    <a:pt x="294" y="101"/>
                    <a:pt x="294" y="101"/>
                  </a:cubicBezTo>
                  <a:cubicBezTo>
                    <a:pt x="293" y="91"/>
                    <a:pt x="293" y="91"/>
                    <a:pt x="293" y="91"/>
                  </a:cubicBezTo>
                  <a:cubicBezTo>
                    <a:pt x="292" y="91"/>
                    <a:pt x="292" y="91"/>
                    <a:pt x="292" y="91"/>
                  </a:cubicBezTo>
                  <a:cubicBezTo>
                    <a:pt x="290" y="81"/>
                    <a:pt x="290" y="81"/>
                    <a:pt x="290" y="81"/>
                  </a:cubicBezTo>
                  <a:cubicBezTo>
                    <a:pt x="290" y="81"/>
                    <a:pt x="290" y="81"/>
                    <a:pt x="290" y="81"/>
                  </a:cubicBezTo>
                  <a:cubicBezTo>
                    <a:pt x="288" y="71"/>
                    <a:pt x="288" y="71"/>
                    <a:pt x="288" y="71"/>
                  </a:cubicBezTo>
                  <a:cubicBezTo>
                    <a:pt x="288" y="71"/>
                    <a:pt x="288" y="71"/>
                    <a:pt x="288" y="71"/>
                  </a:cubicBezTo>
                  <a:cubicBezTo>
                    <a:pt x="285" y="61"/>
                    <a:pt x="285" y="61"/>
                    <a:pt x="285" y="61"/>
                  </a:cubicBezTo>
                  <a:cubicBezTo>
                    <a:pt x="285" y="61"/>
                    <a:pt x="285" y="61"/>
                    <a:pt x="285" y="61"/>
                  </a:cubicBezTo>
                  <a:cubicBezTo>
                    <a:pt x="281" y="51"/>
                    <a:pt x="281" y="51"/>
                    <a:pt x="281" y="51"/>
                  </a:cubicBezTo>
                  <a:cubicBezTo>
                    <a:pt x="281" y="51"/>
                    <a:pt x="281" y="51"/>
                    <a:pt x="281" y="51"/>
                  </a:cubicBezTo>
                  <a:cubicBezTo>
                    <a:pt x="277" y="42"/>
                    <a:pt x="277" y="42"/>
                    <a:pt x="277" y="42"/>
                  </a:cubicBezTo>
                  <a:cubicBezTo>
                    <a:pt x="277" y="42"/>
                    <a:pt x="277" y="42"/>
                    <a:pt x="277" y="42"/>
                  </a:cubicBezTo>
                  <a:cubicBezTo>
                    <a:pt x="273" y="32"/>
                    <a:pt x="273" y="32"/>
                    <a:pt x="273" y="32"/>
                  </a:cubicBezTo>
                  <a:cubicBezTo>
                    <a:pt x="273" y="32"/>
                    <a:pt x="273" y="32"/>
                    <a:pt x="273" y="32"/>
                  </a:cubicBezTo>
                  <a:cubicBezTo>
                    <a:pt x="268" y="23"/>
                    <a:pt x="268" y="23"/>
                    <a:pt x="268" y="23"/>
                  </a:cubicBezTo>
                  <a:cubicBezTo>
                    <a:pt x="268" y="23"/>
                    <a:pt x="268" y="23"/>
                    <a:pt x="268" y="23"/>
                  </a:cubicBezTo>
                  <a:cubicBezTo>
                    <a:pt x="263" y="14"/>
                    <a:pt x="263" y="14"/>
                    <a:pt x="263" y="14"/>
                  </a:cubicBezTo>
                  <a:cubicBezTo>
                    <a:pt x="262" y="14"/>
                    <a:pt x="262" y="14"/>
                    <a:pt x="262" y="14"/>
                  </a:cubicBezTo>
                  <a:cubicBezTo>
                    <a:pt x="257" y="5"/>
                    <a:pt x="257" y="5"/>
                    <a:pt x="257" y="5"/>
                  </a:cubicBezTo>
                  <a:cubicBezTo>
                    <a:pt x="257" y="5"/>
                    <a:pt x="257" y="5"/>
                    <a:pt x="257" y="5"/>
                  </a:cubicBezTo>
                  <a:cubicBezTo>
                    <a:pt x="257" y="4"/>
                    <a:pt x="257" y="4"/>
                    <a:pt x="257" y="4"/>
                  </a:cubicBezTo>
                  <a:cubicBezTo>
                    <a:pt x="257" y="4"/>
                    <a:pt x="257" y="4"/>
                    <a:pt x="257" y="4"/>
                  </a:cubicBezTo>
                  <a:cubicBezTo>
                    <a:pt x="256" y="4"/>
                    <a:pt x="256" y="4"/>
                    <a:pt x="256" y="4"/>
                  </a:cubicBezTo>
                  <a:cubicBezTo>
                    <a:pt x="256" y="3"/>
                    <a:pt x="255" y="3"/>
                    <a:pt x="255" y="3"/>
                  </a:cubicBezTo>
                  <a:cubicBezTo>
                    <a:pt x="255" y="2"/>
                    <a:pt x="255" y="2"/>
                    <a:pt x="255" y="2"/>
                  </a:cubicBezTo>
                  <a:cubicBezTo>
                    <a:pt x="254" y="2"/>
                    <a:pt x="254" y="2"/>
                    <a:pt x="254" y="2"/>
                  </a:cubicBezTo>
                  <a:cubicBezTo>
                    <a:pt x="254" y="2"/>
                    <a:pt x="254" y="2"/>
                    <a:pt x="254" y="2"/>
                  </a:cubicBezTo>
                  <a:cubicBezTo>
                    <a:pt x="251" y="7"/>
                    <a:pt x="251" y="7"/>
                    <a:pt x="251" y="7"/>
                  </a:cubicBezTo>
                  <a:cubicBezTo>
                    <a:pt x="255" y="3"/>
                    <a:pt x="255" y="3"/>
                    <a:pt x="255" y="3"/>
                  </a:cubicBezTo>
                  <a:cubicBezTo>
                    <a:pt x="255" y="2"/>
                    <a:pt x="255" y="2"/>
                    <a:pt x="255" y="2"/>
                  </a:cubicBezTo>
                  <a:cubicBezTo>
                    <a:pt x="253" y="1"/>
                    <a:pt x="251" y="0"/>
                    <a:pt x="249" y="1"/>
                  </a:cubicBezTo>
                  <a:cubicBezTo>
                    <a:pt x="250" y="7"/>
                    <a:pt x="250" y="7"/>
                    <a:pt x="250" y="7"/>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2" name="Freeform 67">
              <a:extLst>
                <a:ext uri="{FF2B5EF4-FFF2-40B4-BE49-F238E27FC236}">
                  <a16:creationId xmlns:a16="http://schemas.microsoft.com/office/drawing/2014/main" id="{546653A3-CB4E-4CE6-9C2D-F79EBCC2D7DE}"/>
                </a:ext>
              </a:extLst>
            </p:cNvPr>
            <p:cNvSpPr>
              <a:spLocks/>
            </p:cNvSpPr>
            <p:nvPr/>
          </p:nvSpPr>
          <p:spPr bwMode="auto">
            <a:xfrm>
              <a:off x="7" y="4"/>
              <a:ext cx="903" cy="1095"/>
            </a:xfrm>
            <a:custGeom>
              <a:avLst/>
              <a:gdLst>
                <a:gd name="T0" fmla="*/ 903 w 903"/>
                <a:gd name="T1" fmla="*/ 0 h 1095"/>
                <a:gd name="T2" fmla="*/ 0 w 903"/>
                <a:gd name="T3" fmla="*/ 0 h 1095"/>
                <a:gd name="T4" fmla="*/ 0 w 903"/>
                <a:gd name="T5" fmla="*/ 1095 h 1095"/>
                <a:gd name="T6" fmla="*/ 164 w 903"/>
                <a:gd name="T7" fmla="*/ 897 h 1095"/>
                <a:gd name="T8" fmla="*/ 150 w 903"/>
                <a:gd name="T9" fmla="*/ 878 h 1095"/>
                <a:gd name="T10" fmla="*/ 132 w 903"/>
                <a:gd name="T11" fmla="*/ 851 h 1095"/>
                <a:gd name="T12" fmla="*/ 115 w 903"/>
                <a:gd name="T13" fmla="*/ 821 h 1095"/>
                <a:gd name="T14" fmla="*/ 102 w 903"/>
                <a:gd name="T15" fmla="*/ 795 h 1095"/>
                <a:gd name="T16" fmla="*/ 89 w 903"/>
                <a:gd name="T17" fmla="*/ 765 h 1095"/>
                <a:gd name="T18" fmla="*/ 78 w 903"/>
                <a:gd name="T19" fmla="*/ 733 h 1095"/>
                <a:gd name="T20" fmla="*/ 67 w 903"/>
                <a:gd name="T21" fmla="*/ 701 h 1095"/>
                <a:gd name="T22" fmla="*/ 54 w 903"/>
                <a:gd name="T23" fmla="*/ 660 h 1095"/>
                <a:gd name="T24" fmla="*/ 45 w 903"/>
                <a:gd name="T25" fmla="*/ 623 h 1095"/>
                <a:gd name="T26" fmla="*/ 37 w 903"/>
                <a:gd name="T27" fmla="*/ 585 h 1095"/>
                <a:gd name="T28" fmla="*/ 32 w 903"/>
                <a:gd name="T29" fmla="*/ 547 h 1095"/>
                <a:gd name="T30" fmla="*/ 29 w 903"/>
                <a:gd name="T31" fmla="*/ 510 h 1095"/>
                <a:gd name="T32" fmla="*/ 29 w 903"/>
                <a:gd name="T33" fmla="*/ 472 h 1095"/>
                <a:gd name="T34" fmla="*/ 29 w 903"/>
                <a:gd name="T35" fmla="*/ 435 h 1095"/>
                <a:gd name="T36" fmla="*/ 32 w 903"/>
                <a:gd name="T37" fmla="*/ 397 h 1095"/>
                <a:gd name="T38" fmla="*/ 37 w 903"/>
                <a:gd name="T39" fmla="*/ 362 h 1095"/>
                <a:gd name="T40" fmla="*/ 45 w 903"/>
                <a:gd name="T41" fmla="*/ 325 h 1095"/>
                <a:gd name="T42" fmla="*/ 54 w 903"/>
                <a:gd name="T43" fmla="*/ 290 h 1095"/>
                <a:gd name="T44" fmla="*/ 64 w 903"/>
                <a:gd name="T45" fmla="*/ 252 h 1095"/>
                <a:gd name="T46" fmla="*/ 78 w 903"/>
                <a:gd name="T47" fmla="*/ 217 h 1095"/>
                <a:gd name="T48" fmla="*/ 91 w 903"/>
                <a:gd name="T49" fmla="*/ 182 h 1095"/>
                <a:gd name="T50" fmla="*/ 107 w 903"/>
                <a:gd name="T51" fmla="*/ 147 h 1095"/>
                <a:gd name="T52" fmla="*/ 126 w 903"/>
                <a:gd name="T53" fmla="*/ 112 h 1095"/>
                <a:gd name="T54" fmla="*/ 148 w 903"/>
                <a:gd name="T55" fmla="*/ 77 h 1095"/>
                <a:gd name="T56" fmla="*/ 153 w 903"/>
                <a:gd name="T57" fmla="*/ 69 h 1095"/>
                <a:gd name="T58" fmla="*/ 153 w 903"/>
                <a:gd name="T59" fmla="*/ 69 h 1095"/>
                <a:gd name="T60" fmla="*/ 153 w 903"/>
                <a:gd name="T61" fmla="*/ 69 h 1095"/>
                <a:gd name="T62" fmla="*/ 156 w 903"/>
                <a:gd name="T63" fmla="*/ 69 h 1095"/>
                <a:gd name="T64" fmla="*/ 188 w 903"/>
                <a:gd name="T65" fmla="*/ 77 h 1095"/>
                <a:gd name="T66" fmla="*/ 220 w 903"/>
                <a:gd name="T67" fmla="*/ 85 h 1095"/>
                <a:gd name="T68" fmla="*/ 253 w 903"/>
                <a:gd name="T69" fmla="*/ 91 h 1095"/>
                <a:gd name="T70" fmla="*/ 285 w 903"/>
                <a:gd name="T71" fmla="*/ 94 h 1095"/>
                <a:gd name="T72" fmla="*/ 317 w 903"/>
                <a:gd name="T73" fmla="*/ 96 h 1095"/>
                <a:gd name="T74" fmla="*/ 349 w 903"/>
                <a:gd name="T75" fmla="*/ 94 h 1095"/>
                <a:gd name="T76" fmla="*/ 382 w 903"/>
                <a:gd name="T77" fmla="*/ 91 h 1095"/>
                <a:gd name="T78" fmla="*/ 414 w 903"/>
                <a:gd name="T79" fmla="*/ 85 h 1095"/>
                <a:gd name="T80" fmla="*/ 446 w 903"/>
                <a:gd name="T81" fmla="*/ 80 h 1095"/>
                <a:gd name="T82" fmla="*/ 476 w 903"/>
                <a:gd name="T83" fmla="*/ 69 h 1095"/>
                <a:gd name="T84" fmla="*/ 484 w 903"/>
                <a:gd name="T85" fmla="*/ 69 h 1095"/>
                <a:gd name="T86" fmla="*/ 489 w 903"/>
                <a:gd name="T87" fmla="*/ 69 h 1095"/>
                <a:gd name="T88" fmla="*/ 495 w 903"/>
                <a:gd name="T89" fmla="*/ 69 h 1095"/>
                <a:gd name="T90" fmla="*/ 527 w 903"/>
                <a:gd name="T91" fmla="*/ 80 h 1095"/>
                <a:gd name="T92" fmla="*/ 559 w 903"/>
                <a:gd name="T93" fmla="*/ 85 h 1095"/>
                <a:gd name="T94" fmla="*/ 591 w 903"/>
                <a:gd name="T95" fmla="*/ 91 h 1095"/>
                <a:gd name="T96" fmla="*/ 624 w 903"/>
                <a:gd name="T97" fmla="*/ 94 h 1095"/>
                <a:gd name="T98" fmla="*/ 656 w 903"/>
                <a:gd name="T99" fmla="*/ 96 h 1095"/>
                <a:gd name="T100" fmla="*/ 688 w 903"/>
                <a:gd name="T101" fmla="*/ 94 h 1095"/>
                <a:gd name="T102" fmla="*/ 720 w 903"/>
                <a:gd name="T103" fmla="*/ 91 h 1095"/>
                <a:gd name="T104" fmla="*/ 753 w 903"/>
                <a:gd name="T105" fmla="*/ 85 h 1095"/>
                <a:gd name="T106" fmla="*/ 785 w 903"/>
                <a:gd name="T107" fmla="*/ 77 h 1095"/>
                <a:gd name="T108" fmla="*/ 817 w 903"/>
                <a:gd name="T109" fmla="*/ 69 h 1095"/>
                <a:gd name="T110" fmla="*/ 817 w 903"/>
                <a:gd name="T111" fmla="*/ 69 h 1095"/>
                <a:gd name="T112" fmla="*/ 817 w 903"/>
                <a:gd name="T113" fmla="*/ 69 h 1095"/>
                <a:gd name="T114" fmla="*/ 820 w 903"/>
                <a:gd name="T115" fmla="*/ 69 h 1095"/>
                <a:gd name="T116" fmla="*/ 820 w 903"/>
                <a:gd name="T117" fmla="*/ 72 h 1095"/>
                <a:gd name="T118" fmla="*/ 820 w 903"/>
                <a:gd name="T119" fmla="*/ 72 h 1095"/>
                <a:gd name="T120" fmla="*/ 831 w 903"/>
                <a:gd name="T121" fmla="*/ 88 h 1095"/>
                <a:gd name="T122" fmla="*/ 903 w 903"/>
                <a:gd name="T123" fmla="*/ 0 h 1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3" h="1095">
                  <a:moveTo>
                    <a:pt x="903" y="0"/>
                  </a:moveTo>
                  <a:lnTo>
                    <a:pt x="0" y="0"/>
                  </a:lnTo>
                  <a:lnTo>
                    <a:pt x="0" y="1095"/>
                  </a:lnTo>
                  <a:lnTo>
                    <a:pt x="164" y="897"/>
                  </a:lnTo>
                  <a:lnTo>
                    <a:pt x="150" y="878"/>
                  </a:lnTo>
                  <a:lnTo>
                    <a:pt x="132" y="851"/>
                  </a:lnTo>
                  <a:lnTo>
                    <a:pt x="115" y="821"/>
                  </a:lnTo>
                  <a:lnTo>
                    <a:pt x="102" y="795"/>
                  </a:lnTo>
                  <a:lnTo>
                    <a:pt x="89" y="765"/>
                  </a:lnTo>
                  <a:lnTo>
                    <a:pt x="78" y="733"/>
                  </a:lnTo>
                  <a:lnTo>
                    <a:pt x="67" y="701"/>
                  </a:lnTo>
                  <a:lnTo>
                    <a:pt x="54" y="660"/>
                  </a:lnTo>
                  <a:lnTo>
                    <a:pt x="45" y="623"/>
                  </a:lnTo>
                  <a:lnTo>
                    <a:pt x="37" y="585"/>
                  </a:lnTo>
                  <a:lnTo>
                    <a:pt x="32" y="547"/>
                  </a:lnTo>
                  <a:lnTo>
                    <a:pt x="29" y="510"/>
                  </a:lnTo>
                  <a:lnTo>
                    <a:pt x="29" y="472"/>
                  </a:lnTo>
                  <a:lnTo>
                    <a:pt x="29" y="435"/>
                  </a:lnTo>
                  <a:lnTo>
                    <a:pt x="32" y="397"/>
                  </a:lnTo>
                  <a:lnTo>
                    <a:pt x="37" y="362"/>
                  </a:lnTo>
                  <a:lnTo>
                    <a:pt x="45" y="325"/>
                  </a:lnTo>
                  <a:lnTo>
                    <a:pt x="54" y="290"/>
                  </a:lnTo>
                  <a:lnTo>
                    <a:pt x="64" y="252"/>
                  </a:lnTo>
                  <a:lnTo>
                    <a:pt x="78" y="217"/>
                  </a:lnTo>
                  <a:lnTo>
                    <a:pt x="91" y="182"/>
                  </a:lnTo>
                  <a:lnTo>
                    <a:pt x="107" y="147"/>
                  </a:lnTo>
                  <a:lnTo>
                    <a:pt x="126" y="112"/>
                  </a:lnTo>
                  <a:lnTo>
                    <a:pt x="148" y="77"/>
                  </a:lnTo>
                  <a:lnTo>
                    <a:pt x="153" y="69"/>
                  </a:lnTo>
                  <a:lnTo>
                    <a:pt x="153" y="69"/>
                  </a:lnTo>
                  <a:lnTo>
                    <a:pt x="153" y="69"/>
                  </a:lnTo>
                  <a:lnTo>
                    <a:pt x="156" y="69"/>
                  </a:lnTo>
                  <a:lnTo>
                    <a:pt x="188" y="77"/>
                  </a:lnTo>
                  <a:lnTo>
                    <a:pt x="220" y="85"/>
                  </a:lnTo>
                  <a:lnTo>
                    <a:pt x="253" y="91"/>
                  </a:lnTo>
                  <a:lnTo>
                    <a:pt x="285" y="94"/>
                  </a:lnTo>
                  <a:lnTo>
                    <a:pt x="317" y="96"/>
                  </a:lnTo>
                  <a:lnTo>
                    <a:pt x="349" y="94"/>
                  </a:lnTo>
                  <a:lnTo>
                    <a:pt x="382" y="91"/>
                  </a:lnTo>
                  <a:lnTo>
                    <a:pt x="414" y="85"/>
                  </a:lnTo>
                  <a:lnTo>
                    <a:pt x="446" y="80"/>
                  </a:lnTo>
                  <a:lnTo>
                    <a:pt x="476" y="69"/>
                  </a:lnTo>
                  <a:lnTo>
                    <a:pt x="484" y="69"/>
                  </a:lnTo>
                  <a:lnTo>
                    <a:pt x="489" y="69"/>
                  </a:lnTo>
                  <a:lnTo>
                    <a:pt x="495" y="69"/>
                  </a:lnTo>
                  <a:lnTo>
                    <a:pt x="527" y="80"/>
                  </a:lnTo>
                  <a:lnTo>
                    <a:pt x="559" y="85"/>
                  </a:lnTo>
                  <a:lnTo>
                    <a:pt x="591" y="91"/>
                  </a:lnTo>
                  <a:lnTo>
                    <a:pt x="624" y="94"/>
                  </a:lnTo>
                  <a:lnTo>
                    <a:pt x="656" y="96"/>
                  </a:lnTo>
                  <a:lnTo>
                    <a:pt x="688" y="94"/>
                  </a:lnTo>
                  <a:lnTo>
                    <a:pt x="720" y="91"/>
                  </a:lnTo>
                  <a:lnTo>
                    <a:pt x="753" y="85"/>
                  </a:lnTo>
                  <a:lnTo>
                    <a:pt x="785" y="77"/>
                  </a:lnTo>
                  <a:lnTo>
                    <a:pt x="817" y="69"/>
                  </a:lnTo>
                  <a:lnTo>
                    <a:pt x="817" y="69"/>
                  </a:lnTo>
                  <a:lnTo>
                    <a:pt x="817" y="69"/>
                  </a:lnTo>
                  <a:lnTo>
                    <a:pt x="820" y="69"/>
                  </a:lnTo>
                  <a:lnTo>
                    <a:pt x="820" y="72"/>
                  </a:lnTo>
                  <a:lnTo>
                    <a:pt x="820" y="72"/>
                  </a:lnTo>
                  <a:lnTo>
                    <a:pt x="831" y="88"/>
                  </a:lnTo>
                  <a:lnTo>
                    <a:pt x="9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3" name="Freeform 69">
              <a:extLst>
                <a:ext uri="{FF2B5EF4-FFF2-40B4-BE49-F238E27FC236}">
                  <a16:creationId xmlns:a16="http://schemas.microsoft.com/office/drawing/2014/main" id="{DB3B0CB5-7342-44B9-90C9-1CF1501CE30D}"/>
                </a:ext>
              </a:extLst>
            </p:cNvPr>
            <p:cNvSpPr>
              <a:spLocks/>
            </p:cNvSpPr>
            <p:nvPr/>
          </p:nvSpPr>
          <p:spPr bwMode="auto">
            <a:xfrm>
              <a:off x="133" y="192"/>
              <a:ext cx="616" cy="633"/>
            </a:xfrm>
            <a:custGeom>
              <a:avLst/>
              <a:gdLst>
                <a:gd name="T0" fmla="*/ 363 w 616"/>
                <a:gd name="T1" fmla="*/ 0 h 633"/>
                <a:gd name="T2" fmla="*/ 336 w 616"/>
                <a:gd name="T3" fmla="*/ 8 h 633"/>
                <a:gd name="T4" fmla="*/ 307 w 616"/>
                <a:gd name="T5" fmla="*/ 13 h 633"/>
                <a:gd name="T6" fmla="*/ 280 w 616"/>
                <a:gd name="T7" fmla="*/ 18 h 633"/>
                <a:gd name="T8" fmla="*/ 253 w 616"/>
                <a:gd name="T9" fmla="*/ 21 h 633"/>
                <a:gd name="T10" fmla="*/ 223 w 616"/>
                <a:gd name="T11" fmla="*/ 21 h 633"/>
                <a:gd name="T12" fmla="*/ 196 w 616"/>
                <a:gd name="T13" fmla="*/ 18 h 633"/>
                <a:gd name="T14" fmla="*/ 170 w 616"/>
                <a:gd name="T15" fmla="*/ 16 h 633"/>
                <a:gd name="T16" fmla="*/ 140 w 616"/>
                <a:gd name="T17" fmla="*/ 13 h 633"/>
                <a:gd name="T18" fmla="*/ 113 w 616"/>
                <a:gd name="T19" fmla="*/ 5 h 633"/>
                <a:gd name="T20" fmla="*/ 94 w 616"/>
                <a:gd name="T21" fmla="*/ 2 h 633"/>
                <a:gd name="T22" fmla="*/ 65 w 616"/>
                <a:gd name="T23" fmla="*/ 53 h 633"/>
                <a:gd name="T24" fmla="*/ 38 w 616"/>
                <a:gd name="T25" fmla="*/ 110 h 633"/>
                <a:gd name="T26" fmla="*/ 19 w 616"/>
                <a:gd name="T27" fmla="*/ 166 h 633"/>
                <a:gd name="T28" fmla="*/ 6 w 616"/>
                <a:gd name="T29" fmla="*/ 225 h 633"/>
                <a:gd name="T30" fmla="*/ 0 w 616"/>
                <a:gd name="T31" fmla="*/ 282 h 633"/>
                <a:gd name="T32" fmla="*/ 0 w 616"/>
                <a:gd name="T33" fmla="*/ 341 h 633"/>
                <a:gd name="T34" fmla="*/ 8 w 616"/>
                <a:gd name="T35" fmla="*/ 402 h 633"/>
                <a:gd name="T36" fmla="*/ 22 w 616"/>
                <a:gd name="T37" fmla="*/ 461 h 633"/>
                <a:gd name="T38" fmla="*/ 38 w 616"/>
                <a:gd name="T39" fmla="*/ 518 h 633"/>
                <a:gd name="T40" fmla="*/ 59 w 616"/>
                <a:gd name="T41" fmla="*/ 569 h 633"/>
                <a:gd name="T42" fmla="*/ 84 w 616"/>
                <a:gd name="T43" fmla="*/ 612 h 633"/>
                <a:gd name="T44" fmla="*/ 97 w 616"/>
                <a:gd name="T45" fmla="*/ 633 h 633"/>
                <a:gd name="T46" fmla="*/ 592 w 616"/>
                <a:gd name="T47" fmla="*/ 13 h 633"/>
                <a:gd name="T48" fmla="*/ 562 w 616"/>
                <a:gd name="T49" fmla="*/ 16 h 633"/>
                <a:gd name="T50" fmla="*/ 535 w 616"/>
                <a:gd name="T51" fmla="*/ 18 h 633"/>
                <a:gd name="T52" fmla="*/ 508 w 616"/>
                <a:gd name="T53" fmla="*/ 21 h 633"/>
                <a:gd name="T54" fmla="*/ 479 w 616"/>
                <a:gd name="T55" fmla="*/ 21 h 633"/>
                <a:gd name="T56" fmla="*/ 452 w 616"/>
                <a:gd name="T57" fmla="*/ 18 h 633"/>
                <a:gd name="T58" fmla="*/ 425 w 616"/>
                <a:gd name="T59" fmla="*/ 13 h 633"/>
                <a:gd name="T60" fmla="*/ 395 w 616"/>
                <a:gd name="T61" fmla="*/ 8 h 633"/>
                <a:gd name="T62" fmla="*/ 369 w 616"/>
                <a:gd name="T6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6" h="633">
                  <a:moveTo>
                    <a:pt x="366" y="0"/>
                  </a:moveTo>
                  <a:lnTo>
                    <a:pt x="363" y="0"/>
                  </a:lnTo>
                  <a:lnTo>
                    <a:pt x="360" y="0"/>
                  </a:lnTo>
                  <a:lnTo>
                    <a:pt x="336" y="8"/>
                  </a:lnTo>
                  <a:lnTo>
                    <a:pt x="334" y="8"/>
                  </a:lnTo>
                  <a:lnTo>
                    <a:pt x="307" y="13"/>
                  </a:lnTo>
                  <a:lnTo>
                    <a:pt x="307" y="13"/>
                  </a:lnTo>
                  <a:lnTo>
                    <a:pt x="280" y="18"/>
                  </a:lnTo>
                  <a:lnTo>
                    <a:pt x="280" y="18"/>
                  </a:lnTo>
                  <a:lnTo>
                    <a:pt x="253" y="21"/>
                  </a:lnTo>
                  <a:lnTo>
                    <a:pt x="250" y="21"/>
                  </a:lnTo>
                  <a:lnTo>
                    <a:pt x="223" y="21"/>
                  </a:lnTo>
                  <a:lnTo>
                    <a:pt x="223" y="21"/>
                  </a:lnTo>
                  <a:lnTo>
                    <a:pt x="196" y="18"/>
                  </a:lnTo>
                  <a:lnTo>
                    <a:pt x="196" y="18"/>
                  </a:lnTo>
                  <a:lnTo>
                    <a:pt x="170" y="16"/>
                  </a:lnTo>
                  <a:lnTo>
                    <a:pt x="167" y="16"/>
                  </a:lnTo>
                  <a:lnTo>
                    <a:pt x="140" y="13"/>
                  </a:lnTo>
                  <a:lnTo>
                    <a:pt x="140" y="13"/>
                  </a:lnTo>
                  <a:lnTo>
                    <a:pt x="113" y="5"/>
                  </a:lnTo>
                  <a:lnTo>
                    <a:pt x="110" y="5"/>
                  </a:lnTo>
                  <a:lnTo>
                    <a:pt x="94" y="2"/>
                  </a:lnTo>
                  <a:lnTo>
                    <a:pt x="81" y="26"/>
                  </a:lnTo>
                  <a:lnTo>
                    <a:pt x="65" y="53"/>
                  </a:lnTo>
                  <a:lnTo>
                    <a:pt x="51" y="83"/>
                  </a:lnTo>
                  <a:lnTo>
                    <a:pt x="38" y="110"/>
                  </a:lnTo>
                  <a:lnTo>
                    <a:pt x="27" y="139"/>
                  </a:lnTo>
                  <a:lnTo>
                    <a:pt x="19" y="166"/>
                  </a:lnTo>
                  <a:lnTo>
                    <a:pt x="14" y="196"/>
                  </a:lnTo>
                  <a:lnTo>
                    <a:pt x="6" y="225"/>
                  </a:lnTo>
                  <a:lnTo>
                    <a:pt x="3" y="252"/>
                  </a:lnTo>
                  <a:lnTo>
                    <a:pt x="0" y="282"/>
                  </a:lnTo>
                  <a:lnTo>
                    <a:pt x="0" y="311"/>
                  </a:lnTo>
                  <a:lnTo>
                    <a:pt x="0" y="341"/>
                  </a:lnTo>
                  <a:lnTo>
                    <a:pt x="3" y="370"/>
                  </a:lnTo>
                  <a:lnTo>
                    <a:pt x="8" y="402"/>
                  </a:lnTo>
                  <a:lnTo>
                    <a:pt x="14" y="432"/>
                  </a:lnTo>
                  <a:lnTo>
                    <a:pt x="22" y="461"/>
                  </a:lnTo>
                  <a:lnTo>
                    <a:pt x="30" y="494"/>
                  </a:lnTo>
                  <a:lnTo>
                    <a:pt x="38" y="518"/>
                  </a:lnTo>
                  <a:lnTo>
                    <a:pt x="49" y="545"/>
                  </a:lnTo>
                  <a:lnTo>
                    <a:pt x="59" y="569"/>
                  </a:lnTo>
                  <a:lnTo>
                    <a:pt x="70" y="590"/>
                  </a:lnTo>
                  <a:lnTo>
                    <a:pt x="84" y="612"/>
                  </a:lnTo>
                  <a:lnTo>
                    <a:pt x="97" y="633"/>
                  </a:lnTo>
                  <a:lnTo>
                    <a:pt x="97" y="633"/>
                  </a:lnTo>
                  <a:lnTo>
                    <a:pt x="616" y="5"/>
                  </a:lnTo>
                  <a:lnTo>
                    <a:pt x="592" y="13"/>
                  </a:lnTo>
                  <a:lnTo>
                    <a:pt x="589" y="13"/>
                  </a:lnTo>
                  <a:lnTo>
                    <a:pt x="562" y="16"/>
                  </a:lnTo>
                  <a:lnTo>
                    <a:pt x="562" y="16"/>
                  </a:lnTo>
                  <a:lnTo>
                    <a:pt x="535" y="18"/>
                  </a:lnTo>
                  <a:lnTo>
                    <a:pt x="535" y="18"/>
                  </a:lnTo>
                  <a:lnTo>
                    <a:pt x="508" y="21"/>
                  </a:lnTo>
                  <a:lnTo>
                    <a:pt x="506" y="21"/>
                  </a:lnTo>
                  <a:lnTo>
                    <a:pt x="479" y="21"/>
                  </a:lnTo>
                  <a:lnTo>
                    <a:pt x="479" y="21"/>
                  </a:lnTo>
                  <a:lnTo>
                    <a:pt x="452" y="18"/>
                  </a:lnTo>
                  <a:lnTo>
                    <a:pt x="452" y="18"/>
                  </a:lnTo>
                  <a:lnTo>
                    <a:pt x="425" y="13"/>
                  </a:lnTo>
                  <a:lnTo>
                    <a:pt x="422" y="13"/>
                  </a:lnTo>
                  <a:lnTo>
                    <a:pt x="395" y="8"/>
                  </a:lnTo>
                  <a:lnTo>
                    <a:pt x="395" y="8"/>
                  </a:lnTo>
                  <a:lnTo>
                    <a:pt x="369" y="0"/>
                  </a:lnTo>
                  <a:lnTo>
                    <a:pt x="36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4" name="Freeform 70">
              <a:extLst>
                <a:ext uri="{FF2B5EF4-FFF2-40B4-BE49-F238E27FC236}">
                  <a16:creationId xmlns:a16="http://schemas.microsoft.com/office/drawing/2014/main" id="{CFF2025B-3D38-4365-9938-C8EFF8BEE0D8}"/>
                </a:ext>
              </a:extLst>
            </p:cNvPr>
            <p:cNvSpPr>
              <a:spLocks/>
            </p:cNvSpPr>
            <p:nvPr/>
          </p:nvSpPr>
          <p:spPr bwMode="auto">
            <a:xfrm>
              <a:off x="133" y="192"/>
              <a:ext cx="616" cy="633"/>
            </a:xfrm>
            <a:custGeom>
              <a:avLst/>
              <a:gdLst>
                <a:gd name="T0" fmla="*/ 363 w 616"/>
                <a:gd name="T1" fmla="*/ 0 h 633"/>
                <a:gd name="T2" fmla="*/ 336 w 616"/>
                <a:gd name="T3" fmla="*/ 8 h 633"/>
                <a:gd name="T4" fmla="*/ 307 w 616"/>
                <a:gd name="T5" fmla="*/ 13 h 633"/>
                <a:gd name="T6" fmla="*/ 280 w 616"/>
                <a:gd name="T7" fmla="*/ 18 h 633"/>
                <a:gd name="T8" fmla="*/ 253 w 616"/>
                <a:gd name="T9" fmla="*/ 21 h 633"/>
                <a:gd name="T10" fmla="*/ 223 w 616"/>
                <a:gd name="T11" fmla="*/ 21 h 633"/>
                <a:gd name="T12" fmla="*/ 196 w 616"/>
                <a:gd name="T13" fmla="*/ 18 h 633"/>
                <a:gd name="T14" fmla="*/ 170 w 616"/>
                <a:gd name="T15" fmla="*/ 16 h 633"/>
                <a:gd name="T16" fmla="*/ 140 w 616"/>
                <a:gd name="T17" fmla="*/ 13 h 633"/>
                <a:gd name="T18" fmla="*/ 113 w 616"/>
                <a:gd name="T19" fmla="*/ 5 h 633"/>
                <a:gd name="T20" fmla="*/ 94 w 616"/>
                <a:gd name="T21" fmla="*/ 2 h 633"/>
                <a:gd name="T22" fmla="*/ 65 w 616"/>
                <a:gd name="T23" fmla="*/ 53 h 633"/>
                <a:gd name="T24" fmla="*/ 38 w 616"/>
                <a:gd name="T25" fmla="*/ 110 h 633"/>
                <a:gd name="T26" fmla="*/ 19 w 616"/>
                <a:gd name="T27" fmla="*/ 166 h 633"/>
                <a:gd name="T28" fmla="*/ 6 w 616"/>
                <a:gd name="T29" fmla="*/ 225 h 633"/>
                <a:gd name="T30" fmla="*/ 0 w 616"/>
                <a:gd name="T31" fmla="*/ 282 h 633"/>
                <a:gd name="T32" fmla="*/ 0 w 616"/>
                <a:gd name="T33" fmla="*/ 341 h 633"/>
                <a:gd name="T34" fmla="*/ 8 w 616"/>
                <a:gd name="T35" fmla="*/ 402 h 633"/>
                <a:gd name="T36" fmla="*/ 22 w 616"/>
                <a:gd name="T37" fmla="*/ 461 h 633"/>
                <a:gd name="T38" fmla="*/ 38 w 616"/>
                <a:gd name="T39" fmla="*/ 518 h 633"/>
                <a:gd name="T40" fmla="*/ 59 w 616"/>
                <a:gd name="T41" fmla="*/ 569 h 633"/>
                <a:gd name="T42" fmla="*/ 84 w 616"/>
                <a:gd name="T43" fmla="*/ 612 h 633"/>
                <a:gd name="T44" fmla="*/ 97 w 616"/>
                <a:gd name="T45" fmla="*/ 633 h 633"/>
                <a:gd name="T46" fmla="*/ 592 w 616"/>
                <a:gd name="T47" fmla="*/ 13 h 633"/>
                <a:gd name="T48" fmla="*/ 562 w 616"/>
                <a:gd name="T49" fmla="*/ 16 h 633"/>
                <a:gd name="T50" fmla="*/ 535 w 616"/>
                <a:gd name="T51" fmla="*/ 18 h 633"/>
                <a:gd name="T52" fmla="*/ 508 w 616"/>
                <a:gd name="T53" fmla="*/ 21 h 633"/>
                <a:gd name="T54" fmla="*/ 479 w 616"/>
                <a:gd name="T55" fmla="*/ 21 h 633"/>
                <a:gd name="T56" fmla="*/ 452 w 616"/>
                <a:gd name="T57" fmla="*/ 18 h 633"/>
                <a:gd name="T58" fmla="*/ 425 w 616"/>
                <a:gd name="T59" fmla="*/ 13 h 633"/>
                <a:gd name="T60" fmla="*/ 395 w 616"/>
                <a:gd name="T61" fmla="*/ 8 h 633"/>
                <a:gd name="T62" fmla="*/ 369 w 616"/>
                <a:gd name="T6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6" h="633">
                  <a:moveTo>
                    <a:pt x="366" y="0"/>
                  </a:moveTo>
                  <a:lnTo>
                    <a:pt x="363" y="0"/>
                  </a:lnTo>
                  <a:lnTo>
                    <a:pt x="360" y="0"/>
                  </a:lnTo>
                  <a:lnTo>
                    <a:pt x="336" y="8"/>
                  </a:lnTo>
                  <a:lnTo>
                    <a:pt x="334" y="8"/>
                  </a:lnTo>
                  <a:lnTo>
                    <a:pt x="307" y="13"/>
                  </a:lnTo>
                  <a:lnTo>
                    <a:pt x="307" y="13"/>
                  </a:lnTo>
                  <a:lnTo>
                    <a:pt x="280" y="18"/>
                  </a:lnTo>
                  <a:lnTo>
                    <a:pt x="280" y="18"/>
                  </a:lnTo>
                  <a:lnTo>
                    <a:pt x="253" y="21"/>
                  </a:lnTo>
                  <a:lnTo>
                    <a:pt x="250" y="21"/>
                  </a:lnTo>
                  <a:lnTo>
                    <a:pt x="223" y="21"/>
                  </a:lnTo>
                  <a:lnTo>
                    <a:pt x="223" y="21"/>
                  </a:lnTo>
                  <a:lnTo>
                    <a:pt x="196" y="18"/>
                  </a:lnTo>
                  <a:lnTo>
                    <a:pt x="196" y="18"/>
                  </a:lnTo>
                  <a:lnTo>
                    <a:pt x="170" y="16"/>
                  </a:lnTo>
                  <a:lnTo>
                    <a:pt x="167" y="16"/>
                  </a:lnTo>
                  <a:lnTo>
                    <a:pt x="140" y="13"/>
                  </a:lnTo>
                  <a:lnTo>
                    <a:pt x="140" y="13"/>
                  </a:lnTo>
                  <a:lnTo>
                    <a:pt x="113" y="5"/>
                  </a:lnTo>
                  <a:lnTo>
                    <a:pt x="110" y="5"/>
                  </a:lnTo>
                  <a:lnTo>
                    <a:pt x="94" y="2"/>
                  </a:lnTo>
                  <a:lnTo>
                    <a:pt x="81" y="26"/>
                  </a:lnTo>
                  <a:lnTo>
                    <a:pt x="65" y="53"/>
                  </a:lnTo>
                  <a:lnTo>
                    <a:pt x="51" y="83"/>
                  </a:lnTo>
                  <a:lnTo>
                    <a:pt x="38" y="110"/>
                  </a:lnTo>
                  <a:lnTo>
                    <a:pt x="27" y="139"/>
                  </a:lnTo>
                  <a:lnTo>
                    <a:pt x="19" y="166"/>
                  </a:lnTo>
                  <a:lnTo>
                    <a:pt x="14" y="196"/>
                  </a:lnTo>
                  <a:lnTo>
                    <a:pt x="6" y="225"/>
                  </a:lnTo>
                  <a:lnTo>
                    <a:pt x="3" y="252"/>
                  </a:lnTo>
                  <a:lnTo>
                    <a:pt x="0" y="282"/>
                  </a:lnTo>
                  <a:lnTo>
                    <a:pt x="0" y="311"/>
                  </a:lnTo>
                  <a:lnTo>
                    <a:pt x="0" y="341"/>
                  </a:lnTo>
                  <a:lnTo>
                    <a:pt x="3" y="370"/>
                  </a:lnTo>
                  <a:lnTo>
                    <a:pt x="8" y="402"/>
                  </a:lnTo>
                  <a:lnTo>
                    <a:pt x="14" y="432"/>
                  </a:lnTo>
                  <a:lnTo>
                    <a:pt x="22" y="461"/>
                  </a:lnTo>
                  <a:lnTo>
                    <a:pt x="30" y="494"/>
                  </a:lnTo>
                  <a:lnTo>
                    <a:pt x="38" y="518"/>
                  </a:lnTo>
                  <a:lnTo>
                    <a:pt x="49" y="545"/>
                  </a:lnTo>
                  <a:lnTo>
                    <a:pt x="59" y="569"/>
                  </a:lnTo>
                  <a:lnTo>
                    <a:pt x="70" y="590"/>
                  </a:lnTo>
                  <a:lnTo>
                    <a:pt x="84" y="612"/>
                  </a:lnTo>
                  <a:lnTo>
                    <a:pt x="97" y="633"/>
                  </a:lnTo>
                  <a:lnTo>
                    <a:pt x="97" y="633"/>
                  </a:lnTo>
                  <a:lnTo>
                    <a:pt x="616" y="5"/>
                  </a:lnTo>
                  <a:lnTo>
                    <a:pt x="592" y="13"/>
                  </a:lnTo>
                  <a:lnTo>
                    <a:pt x="589" y="13"/>
                  </a:lnTo>
                  <a:lnTo>
                    <a:pt x="562" y="16"/>
                  </a:lnTo>
                  <a:lnTo>
                    <a:pt x="562" y="16"/>
                  </a:lnTo>
                  <a:lnTo>
                    <a:pt x="535" y="18"/>
                  </a:lnTo>
                  <a:lnTo>
                    <a:pt x="535" y="18"/>
                  </a:lnTo>
                  <a:lnTo>
                    <a:pt x="508" y="21"/>
                  </a:lnTo>
                  <a:lnTo>
                    <a:pt x="506" y="21"/>
                  </a:lnTo>
                  <a:lnTo>
                    <a:pt x="479" y="21"/>
                  </a:lnTo>
                  <a:lnTo>
                    <a:pt x="479" y="21"/>
                  </a:lnTo>
                  <a:lnTo>
                    <a:pt x="452" y="18"/>
                  </a:lnTo>
                  <a:lnTo>
                    <a:pt x="452" y="18"/>
                  </a:lnTo>
                  <a:lnTo>
                    <a:pt x="425" y="13"/>
                  </a:lnTo>
                  <a:lnTo>
                    <a:pt x="422" y="13"/>
                  </a:lnTo>
                  <a:lnTo>
                    <a:pt x="395" y="8"/>
                  </a:lnTo>
                  <a:lnTo>
                    <a:pt x="395" y="8"/>
                  </a:lnTo>
                  <a:lnTo>
                    <a:pt x="369" y="0"/>
                  </a:lnTo>
                  <a:lnTo>
                    <a:pt x="3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5" name="Freeform 71">
              <a:extLst>
                <a:ext uri="{FF2B5EF4-FFF2-40B4-BE49-F238E27FC236}">
                  <a16:creationId xmlns:a16="http://schemas.microsoft.com/office/drawing/2014/main" id="{9102EE4D-313C-49EF-BC9C-F2E08E45C09E}"/>
                </a:ext>
              </a:extLst>
            </p:cNvPr>
            <p:cNvSpPr>
              <a:spLocks/>
            </p:cNvSpPr>
            <p:nvPr/>
          </p:nvSpPr>
          <p:spPr bwMode="auto">
            <a:xfrm>
              <a:off x="101" y="159"/>
              <a:ext cx="680" cy="693"/>
            </a:xfrm>
            <a:custGeom>
              <a:avLst/>
              <a:gdLst>
                <a:gd name="T0" fmla="*/ 249 w 253"/>
                <a:gd name="T1" fmla="*/ 0 h 258"/>
                <a:gd name="T2" fmla="*/ 220 w 253"/>
                <a:gd name="T3" fmla="*/ 6 h 258"/>
                <a:gd name="T4" fmla="*/ 191 w 253"/>
                <a:gd name="T5" fmla="*/ 8 h 258"/>
                <a:gd name="T6" fmla="*/ 162 w 253"/>
                <a:gd name="T7" fmla="*/ 3 h 258"/>
                <a:gd name="T8" fmla="*/ 150 w 253"/>
                <a:gd name="T9" fmla="*/ 0 h 258"/>
                <a:gd name="T10" fmla="*/ 146 w 253"/>
                <a:gd name="T11" fmla="*/ 0 h 258"/>
                <a:gd name="T12" fmla="*/ 134 w 253"/>
                <a:gd name="T13" fmla="*/ 3 h 258"/>
                <a:gd name="T14" fmla="*/ 105 w 253"/>
                <a:gd name="T15" fmla="*/ 8 h 258"/>
                <a:gd name="T16" fmla="*/ 76 w 253"/>
                <a:gd name="T17" fmla="*/ 6 h 258"/>
                <a:gd name="T18" fmla="*/ 47 w 253"/>
                <a:gd name="T19" fmla="*/ 0 h 258"/>
                <a:gd name="T20" fmla="*/ 42 w 253"/>
                <a:gd name="T21" fmla="*/ 0 h 258"/>
                <a:gd name="T22" fmla="*/ 41 w 253"/>
                <a:gd name="T23" fmla="*/ 1 h 258"/>
                <a:gd name="T24" fmla="*/ 38 w 253"/>
                <a:gd name="T25" fmla="*/ 5 h 258"/>
                <a:gd name="T26" fmla="*/ 31 w 253"/>
                <a:gd name="T27" fmla="*/ 16 h 258"/>
                <a:gd name="T28" fmla="*/ 20 w 253"/>
                <a:gd name="T29" fmla="*/ 38 h 258"/>
                <a:gd name="T30" fmla="*/ 15 w 253"/>
                <a:gd name="T31" fmla="*/ 49 h 258"/>
                <a:gd name="T32" fmla="*/ 8 w 253"/>
                <a:gd name="T33" fmla="*/ 71 h 258"/>
                <a:gd name="T34" fmla="*/ 5 w 253"/>
                <a:gd name="T35" fmla="*/ 82 h 258"/>
                <a:gd name="T36" fmla="*/ 1 w 253"/>
                <a:gd name="T37" fmla="*/ 105 h 258"/>
                <a:gd name="T38" fmla="*/ 0 w 253"/>
                <a:gd name="T39" fmla="*/ 117 h 258"/>
                <a:gd name="T40" fmla="*/ 0 w 253"/>
                <a:gd name="T41" fmla="*/ 140 h 258"/>
                <a:gd name="T42" fmla="*/ 1 w 253"/>
                <a:gd name="T43" fmla="*/ 152 h 258"/>
                <a:gd name="T44" fmla="*/ 5 w 253"/>
                <a:gd name="T45" fmla="*/ 175 h 258"/>
                <a:gd name="T46" fmla="*/ 8 w 253"/>
                <a:gd name="T47" fmla="*/ 188 h 258"/>
                <a:gd name="T48" fmla="*/ 15 w 253"/>
                <a:gd name="T49" fmla="*/ 210 h 258"/>
                <a:gd name="T50" fmla="*/ 19 w 253"/>
                <a:gd name="T51" fmla="*/ 219 h 258"/>
                <a:gd name="T52" fmla="*/ 28 w 253"/>
                <a:gd name="T53" fmla="*/ 238 h 258"/>
                <a:gd name="T54" fmla="*/ 33 w 253"/>
                <a:gd name="T55" fmla="*/ 247 h 258"/>
                <a:gd name="T56" fmla="*/ 41 w 253"/>
                <a:gd name="T57" fmla="*/ 258 h 258"/>
                <a:gd name="T58" fmla="*/ 43 w 253"/>
                <a:gd name="T59" fmla="*/ 240 h 258"/>
                <a:gd name="T60" fmla="*/ 30 w 253"/>
                <a:gd name="T61" fmla="*/ 215 h 258"/>
                <a:gd name="T62" fmla="*/ 20 w 253"/>
                <a:gd name="T63" fmla="*/ 184 h 258"/>
                <a:gd name="T64" fmla="*/ 13 w 253"/>
                <a:gd name="T65" fmla="*/ 150 h 258"/>
                <a:gd name="T66" fmla="*/ 12 w 253"/>
                <a:gd name="T67" fmla="*/ 117 h 258"/>
                <a:gd name="T68" fmla="*/ 17 w 253"/>
                <a:gd name="T69" fmla="*/ 85 h 258"/>
                <a:gd name="T70" fmla="*/ 26 w 253"/>
                <a:gd name="T71" fmla="*/ 53 h 258"/>
                <a:gd name="T72" fmla="*/ 42 w 253"/>
                <a:gd name="T73" fmla="*/ 22 h 258"/>
                <a:gd name="T74" fmla="*/ 54 w 253"/>
                <a:gd name="T75" fmla="*/ 14 h 258"/>
                <a:gd name="T76" fmla="*/ 74 w 253"/>
                <a:gd name="T77" fmla="*/ 18 h 258"/>
                <a:gd name="T78" fmla="*/ 85 w 253"/>
                <a:gd name="T79" fmla="*/ 19 h 258"/>
                <a:gd name="T80" fmla="*/ 105 w 253"/>
                <a:gd name="T81" fmla="*/ 20 h 258"/>
                <a:gd name="T82" fmla="*/ 116 w 253"/>
                <a:gd name="T83" fmla="*/ 19 h 258"/>
                <a:gd name="T84" fmla="*/ 136 w 253"/>
                <a:gd name="T85" fmla="*/ 15 h 258"/>
                <a:gd name="T86" fmla="*/ 147 w 253"/>
                <a:gd name="T87" fmla="*/ 12 h 258"/>
                <a:gd name="T88" fmla="*/ 159 w 253"/>
                <a:gd name="T89" fmla="*/ 15 h 258"/>
                <a:gd name="T90" fmla="*/ 170 w 253"/>
                <a:gd name="T91" fmla="*/ 17 h 258"/>
                <a:gd name="T92" fmla="*/ 190 w 253"/>
                <a:gd name="T93" fmla="*/ 20 h 258"/>
                <a:gd name="T94" fmla="*/ 201 w 253"/>
                <a:gd name="T95" fmla="*/ 20 h 258"/>
                <a:gd name="T96" fmla="*/ 221 w 253"/>
                <a:gd name="T97" fmla="*/ 18 h 258"/>
                <a:gd name="T98" fmla="*/ 232 w 253"/>
                <a:gd name="T99" fmla="*/ 17 h 258"/>
                <a:gd name="T100" fmla="*/ 250 w 253"/>
                <a:gd name="T101"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3" h="258">
                  <a:moveTo>
                    <a:pt x="250" y="0"/>
                  </a:moveTo>
                  <a:cubicBezTo>
                    <a:pt x="250" y="0"/>
                    <a:pt x="249" y="0"/>
                    <a:pt x="249" y="0"/>
                  </a:cubicBezTo>
                  <a:cubicBezTo>
                    <a:pt x="249" y="0"/>
                    <a:pt x="249" y="0"/>
                    <a:pt x="249" y="0"/>
                  </a:cubicBezTo>
                  <a:cubicBezTo>
                    <a:pt x="239" y="3"/>
                    <a:pt x="239" y="3"/>
                    <a:pt x="239" y="3"/>
                  </a:cubicBezTo>
                  <a:cubicBezTo>
                    <a:pt x="229" y="5"/>
                    <a:pt x="229" y="5"/>
                    <a:pt x="229" y="5"/>
                  </a:cubicBezTo>
                  <a:cubicBezTo>
                    <a:pt x="220" y="6"/>
                    <a:pt x="220" y="6"/>
                    <a:pt x="220" y="6"/>
                  </a:cubicBezTo>
                  <a:cubicBezTo>
                    <a:pt x="210" y="7"/>
                    <a:pt x="210" y="7"/>
                    <a:pt x="210" y="7"/>
                  </a:cubicBezTo>
                  <a:cubicBezTo>
                    <a:pt x="200" y="8"/>
                    <a:pt x="200" y="8"/>
                    <a:pt x="200" y="8"/>
                  </a:cubicBezTo>
                  <a:cubicBezTo>
                    <a:pt x="191" y="8"/>
                    <a:pt x="191" y="8"/>
                    <a:pt x="191" y="8"/>
                  </a:cubicBezTo>
                  <a:cubicBezTo>
                    <a:pt x="181" y="7"/>
                    <a:pt x="181" y="7"/>
                    <a:pt x="181" y="7"/>
                  </a:cubicBezTo>
                  <a:cubicBezTo>
                    <a:pt x="172" y="5"/>
                    <a:pt x="172" y="5"/>
                    <a:pt x="172" y="5"/>
                  </a:cubicBezTo>
                  <a:cubicBezTo>
                    <a:pt x="162" y="3"/>
                    <a:pt x="162" y="3"/>
                    <a:pt x="162" y="3"/>
                  </a:cubicBezTo>
                  <a:cubicBezTo>
                    <a:pt x="152" y="0"/>
                    <a:pt x="152" y="0"/>
                    <a:pt x="152" y="0"/>
                  </a:cubicBezTo>
                  <a:cubicBezTo>
                    <a:pt x="152" y="0"/>
                    <a:pt x="152" y="0"/>
                    <a:pt x="152" y="0"/>
                  </a:cubicBezTo>
                  <a:cubicBezTo>
                    <a:pt x="150" y="0"/>
                    <a:pt x="150" y="0"/>
                    <a:pt x="150" y="0"/>
                  </a:cubicBezTo>
                  <a:cubicBezTo>
                    <a:pt x="149" y="0"/>
                    <a:pt x="149" y="0"/>
                    <a:pt x="149" y="0"/>
                  </a:cubicBezTo>
                  <a:cubicBezTo>
                    <a:pt x="147" y="0"/>
                    <a:pt x="147" y="0"/>
                    <a:pt x="147" y="0"/>
                  </a:cubicBezTo>
                  <a:cubicBezTo>
                    <a:pt x="146" y="0"/>
                    <a:pt x="146" y="0"/>
                    <a:pt x="146" y="0"/>
                  </a:cubicBezTo>
                  <a:cubicBezTo>
                    <a:pt x="144" y="0"/>
                    <a:pt x="144" y="0"/>
                    <a:pt x="144" y="0"/>
                  </a:cubicBezTo>
                  <a:cubicBezTo>
                    <a:pt x="143" y="0"/>
                    <a:pt x="143" y="0"/>
                    <a:pt x="143" y="0"/>
                  </a:cubicBezTo>
                  <a:cubicBezTo>
                    <a:pt x="134" y="3"/>
                    <a:pt x="134" y="3"/>
                    <a:pt x="134" y="3"/>
                  </a:cubicBezTo>
                  <a:cubicBezTo>
                    <a:pt x="124" y="5"/>
                    <a:pt x="124" y="5"/>
                    <a:pt x="124" y="5"/>
                  </a:cubicBezTo>
                  <a:cubicBezTo>
                    <a:pt x="114" y="7"/>
                    <a:pt x="114" y="7"/>
                    <a:pt x="114" y="7"/>
                  </a:cubicBezTo>
                  <a:cubicBezTo>
                    <a:pt x="105" y="8"/>
                    <a:pt x="105" y="8"/>
                    <a:pt x="105" y="8"/>
                  </a:cubicBezTo>
                  <a:cubicBezTo>
                    <a:pt x="95" y="8"/>
                    <a:pt x="95" y="8"/>
                    <a:pt x="95" y="8"/>
                  </a:cubicBezTo>
                  <a:cubicBezTo>
                    <a:pt x="86" y="7"/>
                    <a:pt x="86" y="7"/>
                    <a:pt x="86" y="7"/>
                  </a:cubicBezTo>
                  <a:cubicBezTo>
                    <a:pt x="76" y="6"/>
                    <a:pt x="76" y="6"/>
                    <a:pt x="76" y="6"/>
                  </a:cubicBezTo>
                  <a:cubicBezTo>
                    <a:pt x="66" y="5"/>
                    <a:pt x="66" y="5"/>
                    <a:pt x="66" y="5"/>
                  </a:cubicBezTo>
                  <a:cubicBezTo>
                    <a:pt x="57" y="3"/>
                    <a:pt x="57" y="3"/>
                    <a:pt x="57" y="3"/>
                  </a:cubicBezTo>
                  <a:cubicBezTo>
                    <a:pt x="47" y="0"/>
                    <a:pt x="47" y="0"/>
                    <a:pt x="47" y="0"/>
                  </a:cubicBezTo>
                  <a:cubicBezTo>
                    <a:pt x="46" y="0"/>
                    <a:pt x="46" y="0"/>
                    <a:pt x="45" y="0"/>
                  </a:cubicBezTo>
                  <a:cubicBezTo>
                    <a:pt x="44" y="0"/>
                    <a:pt x="43" y="0"/>
                    <a:pt x="42" y="0"/>
                  </a:cubicBezTo>
                  <a:cubicBezTo>
                    <a:pt x="42" y="0"/>
                    <a:pt x="42" y="0"/>
                    <a:pt x="42" y="0"/>
                  </a:cubicBezTo>
                  <a:cubicBezTo>
                    <a:pt x="41" y="1"/>
                    <a:pt x="41" y="1"/>
                    <a:pt x="41" y="1"/>
                  </a:cubicBezTo>
                  <a:cubicBezTo>
                    <a:pt x="41" y="1"/>
                    <a:pt x="41" y="1"/>
                    <a:pt x="41" y="1"/>
                  </a:cubicBezTo>
                  <a:cubicBezTo>
                    <a:pt x="41" y="1"/>
                    <a:pt x="41" y="1"/>
                    <a:pt x="41" y="1"/>
                  </a:cubicBezTo>
                  <a:cubicBezTo>
                    <a:pt x="41" y="1"/>
                    <a:pt x="41" y="1"/>
                    <a:pt x="41" y="1"/>
                  </a:cubicBezTo>
                  <a:cubicBezTo>
                    <a:pt x="40" y="2"/>
                    <a:pt x="40" y="2"/>
                    <a:pt x="39" y="3"/>
                  </a:cubicBezTo>
                  <a:cubicBezTo>
                    <a:pt x="38" y="5"/>
                    <a:pt x="38" y="5"/>
                    <a:pt x="38" y="5"/>
                  </a:cubicBezTo>
                  <a:cubicBezTo>
                    <a:pt x="38" y="5"/>
                    <a:pt x="38" y="5"/>
                    <a:pt x="38" y="5"/>
                  </a:cubicBezTo>
                  <a:cubicBezTo>
                    <a:pt x="31" y="16"/>
                    <a:pt x="31" y="16"/>
                    <a:pt x="31" y="16"/>
                  </a:cubicBezTo>
                  <a:cubicBezTo>
                    <a:pt x="31" y="16"/>
                    <a:pt x="31" y="16"/>
                    <a:pt x="31" y="16"/>
                  </a:cubicBezTo>
                  <a:cubicBezTo>
                    <a:pt x="25" y="27"/>
                    <a:pt x="25" y="27"/>
                    <a:pt x="25" y="27"/>
                  </a:cubicBezTo>
                  <a:cubicBezTo>
                    <a:pt x="25" y="27"/>
                    <a:pt x="25" y="27"/>
                    <a:pt x="25" y="27"/>
                  </a:cubicBezTo>
                  <a:cubicBezTo>
                    <a:pt x="20" y="38"/>
                    <a:pt x="20" y="38"/>
                    <a:pt x="20" y="38"/>
                  </a:cubicBezTo>
                  <a:cubicBezTo>
                    <a:pt x="20" y="38"/>
                    <a:pt x="20" y="38"/>
                    <a:pt x="20" y="38"/>
                  </a:cubicBezTo>
                  <a:cubicBezTo>
                    <a:pt x="15" y="49"/>
                    <a:pt x="15" y="49"/>
                    <a:pt x="15" y="49"/>
                  </a:cubicBezTo>
                  <a:cubicBezTo>
                    <a:pt x="15" y="49"/>
                    <a:pt x="15" y="49"/>
                    <a:pt x="15" y="49"/>
                  </a:cubicBezTo>
                  <a:cubicBezTo>
                    <a:pt x="11" y="60"/>
                    <a:pt x="11" y="60"/>
                    <a:pt x="11" y="60"/>
                  </a:cubicBezTo>
                  <a:cubicBezTo>
                    <a:pt x="11" y="60"/>
                    <a:pt x="11" y="60"/>
                    <a:pt x="11" y="60"/>
                  </a:cubicBezTo>
                  <a:cubicBezTo>
                    <a:pt x="8" y="71"/>
                    <a:pt x="8" y="71"/>
                    <a:pt x="8" y="71"/>
                  </a:cubicBezTo>
                  <a:cubicBezTo>
                    <a:pt x="8" y="71"/>
                    <a:pt x="8" y="71"/>
                    <a:pt x="8" y="71"/>
                  </a:cubicBezTo>
                  <a:cubicBezTo>
                    <a:pt x="5" y="82"/>
                    <a:pt x="5" y="82"/>
                    <a:pt x="5" y="82"/>
                  </a:cubicBezTo>
                  <a:cubicBezTo>
                    <a:pt x="5" y="82"/>
                    <a:pt x="5" y="82"/>
                    <a:pt x="5" y="82"/>
                  </a:cubicBezTo>
                  <a:cubicBezTo>
                    <a:pt x="3" y="93"/>
                    <a:pt x="3" y="93"/>
                    <a:pt x="3" y="93"/>
                  </a:cubicBezTo>
                  <a:cubicBezTo>
                    <a:pt x="2" y="94"/>
                    <a:pt x="2" y="94"/>
                    <a:pt x="2" y="94"/>
                  </a:cubicBezTo>
                  <a:cubicBezTo>
                    <a:pt x="1" y="105"/>
                    <a:pt x="1" y="105"/>
                    <a:pt x="1" y="105"/>
                  </a:cubicBezTo>
                  <a:cubicBezTo>
                    <a:pt x="1" y="105"/>
                    <a:pt x="1" y="105"/>
                    <a:pt x="1" y="105"/>
                  </a:cubicBezTo>
                  <a:cubicBezTo>
                    <a:pt x="0" y="117"/>
                    <a:pt x="0" y="117"/>
                    <a:pt x="0" y="117"/>
                  </a:cubicBezTo>
                  <a:cubicBezTo>
                    <a:pt x="0" y="117"/>
                    <a:pt x="0" y="117"/>
                    <a:pt x="0" y="117"/>
                  </a:cubicBezTo>
                  <a:cubicBezTo>
                    <a:pt x="0" y="128"/>
                    <a:pt x="0" y="128"/>
                    <a:pt x="0" y="128"/>
                  </a:cubicBezTo>
                  <a:cubicBezTo>
                    <a:pt x="0" y="129"/>
                    <a:pt x="0" y="129"/>
                    <a:pt x="0" y="129"/>
                  </a:cubicBezTo>
                  <a:cubicBezTo>
                    <a:pt x="0" y="140"/>
                    <a:pt x="0" y="140"/>
                    <a:pt x="0" y="140"/>
                  </a:cubicBezTo>
                  <a:cubicBezTo>
                    <a:pt x="0" y="140"/>
                    <a:pt x="0" y="140"/>
                    <a:pt x="0" y="140"/>
                  </a:cubicBezTo>
                  <a:cubicBezTo>
                    <a:pt x="1" y="152"/>
                    <a:pt x="1" y="152"/>
                    <a:pt x="1" y="152"/>
                  </a:cubicBezTo>
                  <a:cubicBezTo>
                    <a:pt x="1" y="152"/>
                    <a:pt x="1" y="152"/>
                    <a:pt x="1" y="152"/>
                  </a:cubicBezTo>
                  <a:cubicBezTo>
                    <a:pt x="3" y="164"/>
                    <a:pt x="3" y="164"/>
                    <a:pt x="3" y="164"/>
                  </a:cubicBezTo>
                  <a:cubicBezTo>
                    <a:pt x="3" y="164"/>
                    <a:pt x="3" y="164"/>
                    <a:pt x="3" y="164"/>
                  </a:cubicBezTo>
                  <a:cubicBezTo>
                    <a:pt x="5" y="175"/>
                    <a:pt x="5" y="175"/>
                    <a:pt x="5" y="175"/>
                  </a:cubicBezTo>
                  <a:cubicBezTo>
                    <a:pt x="5" y="176"/>
                    <a:pt x="5" y="176"/>
                    <a:pt x="5" y="176"/>
                  </a:cubicBezTo>
                  <a:cubicBezTo>
                    <a:pt x="8" y="187"/>
                    <a:pt x="8" y="187"/>
                    <a:pt x="8" y="187"/>
                  </a:cubicBezTo>
                  <a:cubicBezTo>
                    <a:pt x="8" y="188"/>
                    <a:pt x="8" y="188"/>
                    <a:pt x="8" y="188"/>
                  </a:cubicBezTo>
                  <a:cubicBezTo>
                    <a:pt x="11" y="199"/>
                    <a:pt x="11" y="199"/>
                    <a:pt x="11" y="199"/>
                  </a:cubicBezTo>
                  <a:cubicBezTo>
                    <a:pt x="12" y="200"/>
                    <a:pt x="12" y="200"/>
                    <a:pt x="12" y="200"/>
                  </a:cubicBezTo>
                  <a:cubicBezTo>
                    <a:pt x="15" y="210"/>
                    <a:pt x="15" y="210"/>
                    <a:pt x="15" y="210"/>
                  </a:cubicBezTo>
                  <a:cubicBezTo>
                    <a:pt x="15" y="210"/>
                    <a:pt x="15" y="210"/>
                    <a:pt x="15" y="210"/>
                  </a:cubicBezTo>
                  <a:cubicBezTo>
                    <a:pt x="19" y="219"/>
                    <a:pt x="19" y="219"/>
                    <a:pt x="19" y="219"/>
                  </a:cubicBezTo>
                  <a:cubicBezTo>
                    <a:pt x="19" y="219"/>
                    <a:pt x="19" y="219"/>
                    <a:pt x="19" y="219"/>
                  </a:cubicBezTo>
                  <a:cubicBezTo>
                    <a:pt x="23" y="229"/>
                    <a:pt x="23" y="229"/>
                    <a:pt x="23" y="229"/>
                  </a:cubicBezTo>
                  <a:cubicBezTo>
                    <a:pt x="23" y="229"/>
                    <a:pt x="23" y="229"/>
                    <a:pt x="23" y="229"/>
                  </a:cubicBezTo>
                  <a:cubicBezTo>
                    <a:pt x="28" y="238"/>
                    <a:pt x="28" y="238"/>
                    <a:pt x="28" y="238"/>
                  </a:cubicBezTo>
                  <a:cubicBezTo>
                    <a:pt x="28" y="238"/>
                    <a:pt x="28" y="238"/>
                    <a:pt x="28" y="238"/>
                  </a:cubicBezTo>
                  <a:cubicBezTo>
                    <a:pt x="33" y="246"/>
                    <a:pt x="33" y="246"/>
                    <a:pt x="33" y="246"/>
                  </a:cubicBezTo>
                  <a:cubicBezTo>
                    <a:pt x="33" y="247"/>
                    <a:pt x="33" y="247"/>
                    <a:pt x="33" y="247"/>
                  </a:cubicBezTo>
                  <a:cubicBezTo>
                    <a:pt x="38" y="255"/>
                    <a:pt x="38" y="255"/>
                    <a:pt x="38" y="255"/>
                  </a:cubicBezTo>
                  <a:cubicBezTo>
                    <a:pt x="38" y="255"/>
                    <a:pt x="38" y="255"/>
                    <a:pt x="38" y="255"/>
                  </a:cubicBezTo>
                  <a:cubicBezTo>
                    <a:pt x="41" y="258"/>
                    <a:pt x="41" y="258"/>
                    <a:pt x="41" y="258"/>
                  </a:cubicBezTo>
                  <a:cubicBezTo>
                    <a:pt x="48" y="248"/>
                    <a:pt x="48" y="248"/>
                    <a:pt x="48" y="248"/>
                  </a:cubicBezTo>
                  <a:cubicBezTo>
                    <a:pt x="48" y="248"/>
                    <a:pt x="48" y="248"/>
                    <a:pt x="48" y="248"/>
                  </a:cubicBezTo>
                  <a:cubicBezTo>
                    <a:pt x="43" y="240"/>
                    <a:pt x="43" y="240"/>
                    <a:pt x="43" y="240"/>
                  </a:cubicBezTo>
                  <a:cubicBezTo>
                    <a:pt x="38" y="232"/>
                    <a:pt x="38" y="232"/>
                    <a:pt x="38" y="232"/>
                  </a:cubicBezTo>
                  <a:cubicBezTo>
                    <a:pt x="34" y="224"/>
                    <a:pt x="34" y="224"/>
                    <a:pt x="34" y="224"/>
                  </a:cubicBezTo>
                  <a:cubicBezTo>
                    <a:pt x="30" y="215"/>
                    <a:pt x="30" y="215"/>
                    <a:pt x="30" y="215"/>
                  </a:cubicBezTo>
                  <a:cubicBezTo>
                    <a:pt x="26" y="205"/>
                    <a:pt x="26" y="205"/>
                    <a:pt x="26" y="205"/>
                  </a:cubicBezTo>
                  <a:cubicBezTo>
                    <a:pt x="23" y="196"/>
                    <a:pt x="23" y="196"/>
                    <a:pt x="23" y="196"/>
                  </a:cubicBezTo>
                  <a:cubicBezTo>
                    <a:pt x="20" y="184"/>
                    <a:pt x="20" y="184"/>
                    <a:pt x="20" y="184"/>
                  </a:cubicBezTo>
                  <a:cubicBezTo>
                    <a:pt x="17" y="173"/>
                    <a:pt x="17" y="173"/>
                    <a:pt x="17" y="173"/>
                  </a:cubicBezTo>
                  <a:cubicBezTo>
                    <a:pt x="15" y="162"/>
                    <a:pt x="15" y="162"/>
                    <a:pt x="15" y="162"/>
                  </a:cubicBezTo>
                  <a:cubicBezTo>
                    <a:pt x="13" y="150"/>
                    <a:pt x="13" y="150"/>
                    <a:pt x="13" y="150"/>
                  </a:cubicBezTo>
                  <a:cubicBezTo>
                    <a:pt x="12" y="139"/>
                    <a:pt x="12" y="139"/>
                    <a:pt x="12" y="139"/>
                  </a:cubicBezTo>
                  <a:cubicBezTo>
                    <a:pt x="12" y="128"/>
                    <a:pt x="12" y="128"/>
                    <a:pt x="12" y="128"/>
                  </a:cubicBezTo>
                  <a:cubicBezTo>
                    <a:pt x="12" y="117"/>
                    <a:pt x="12" y="117"/>
                    <a:pt x="12" y="117"/>
                  </a:cubicBezTo>
                  <a:cubicBezTo>
                    <a:pt x="13" y="106"/>
                    <a:pt x="13" y="106"/>
                    <a:pt x="13" y="106"/>
                  </a:cubicBezTo>
                  <a:cubicBezTo>
                    <a:pt x="14" y="96"/>
                    <a:pt x="14" y="96"/>
                    <a:pt x="14" y="96"/>
                  </a:cubicBezTo>
                  <a:cubicBezTo>
                    <a:pt x="17" y="85"/>
                    <a:pt x="17" y="85"/>
                    <a:pt x="17" y="85"/>
                  </a:cubicBezTo>
                  <a:cubicBezTo>
                    <a:pt x="19" y="74"/>
                    <a:pt x="19" y="74"/>
                    <a:pt x="19" y="74"/>
                  </a:cubicBezTo>
                  <a:cubicBezTo>
                    <a:pt x="22" y="64"/>
                    <a:pt x="22" y="64"/>
                    <a:pt x="22" y="64"/>
                  </a:cubicBezTo>
                  <a:cubicBezTo>
                    <a:pt x="26" y="53"/>
                    <a:pt x="26" y="53"/>
                    <a:pt x="26" y="53"/>
                  </a:cubicBezTo>
                  <a:cubicBezTo>
                    <a:pt x="31" y="43"/>
                    <a:pt x="31" y="43"/>
                    <a:pt x="31" y="43"/>
                  </a:cubicBezTo>
                  <a:cubicBezTo>
                    <a:pt x="36" y="32"/>
                    <a:pt x="36" y="32"/>
                    <a:pt x="36" y="32"/>
                  </a:cubicBezTo>
                  <a:cubicBezTo>
                    <a:pt x="42" y="22"/>
                    <a:pt x="42" y="22"/>
                    <a:pt x="42" y="22"/>
                  </a:cubicBezTo>
                  <a:cubicBezTo>
                    <a:pt x="47" y="13"/>
                    <a:pt x="47" y="13"/>
                    <a:pt x="47" y="13"/>
                  </a:cubicBezTo>
                  <a:cubicBezTo>
                    <a:pt x="53" y="14"/>
                    <a:pt x="53" y="14"/>
                    <a:pt x="53" y="14"/>
                  </a:cubicBezTo>
                  <a:cubicBezTo>
                    <a:pt x="54" y="14"/>
                    <a:pt x="54" y="14"/>
                    <a:pt x="54" y="14"/>
                  </a:cubicBezTo>
                  <a:cubicBezTo>
                    <a:pt x="64" y="17"/>
                    <a:pt x="64" y="17"/>
                    <a:pt x="64" y="17"/>
                  </a:cubicBezTo>
                  <a:cubicBezTo>
                    <a:pt x="64" y="17"/>
                    <a:pt x="64" y="17"/>
                    <a:pt x="64" y="17"/>
                  </a:cubicBezTo>
                  <a:cubicBezTo>
                    <a:pt x="74" y="18"/>
                    <a:pt x="74" y="18"/>
                    <a:pt x="74" y="18"/>
                  </a:cubicBezTo>
                  <a:cubicBezTo>
                    <a:pt x="75" y="18"/>
                    <a:pt x="75" y="18"/>
                    <a:pt x="75" y="18"/>
                  </a:cubicBezTo>
                  <a:cubicBezTo>
                    <a:pt x="85" y="19"/>
                    <a:pt x="85" y="19"/>
                    <a:pt x="85" y="19"/>
                  </a:cubicBezTo>
                  <a:cubicBezTo>
                    <a:pt x="85" y="19"/>
                    <a:pt x="85" y="19"/>
                    <a:pt x="85" y="19"/>
                  </a:cubicBezTo>
                  <a:cubicBezTo>
                    <a:pt x="95" y="20"/>
                    <a:pt x="95" y="20"/>
                    <a:pt x="95" y="20"/>
                  </a:cubicBezTo>
                  <a:cubicBezTo>
                    <a:pt x="95" y="20"/>
                    <a:pt x="95" y="20"/>
                    <a:pt x="95" y="20"/>
                  </a:cubicBezTo>
                  <a:cubicBezTo>
                    <a:pt x="105" y="20"/>
                    <a:pt x="105" y="20"/>
                    <a:pt x="105" y="20"/>
                  </a:cubicBezTo>
                  <a:cubicBezTo>
                    <a:pt x="106" y="20"/>
                    <a:pt x="106" y="20"/>
                    <a:pt x="106" y="20"/>
                  </a:cubicBezTo>
                  <a:cubicBezTo>
                    <a:pt x="116" y="19"/>
                    <a:pt x="116" y="19"/>
                    <a:pt x="116" y="19"/>
                  </a:cubicBezTo>
                  <a:cubicBezTo>
                    <a:pt x="116" y="19"/>
                    <a:pt x="116" y="19"/>
                    <a:pt x="116" y="19"/>
                  </a:cubicBezTo>
                  <a:cubicBezTo>
                    <a:pt x="126" y="17"/>
                    <a:pt x="126" y="17"/>
                    <a:pt x="126" y="17"/>
                  </a:cubicBezTo>
                  <a:cubicBezTo>
                    <a:pt x="126" y="17"/>
                    <a:pt x="126" y="17"/>
                    <a:pt x="126" y="17"/>
                  </a:cubicBezTo>
                  <a:cubicBezTo>
                    <a:pt x="136" y="15"/>
                    <a:pt x="136" y="15"/>
                    <a:pt x="136" y="15"/>
                  </a:cubicBezTo>
                  <a:cubicBezTo>
                    <a:pt x="137" y="15"/>
                    <a:pt x="137" y="15"/>
                    <a:pt x="137" y="15"/>
                  </a:cubicBezTo>
                  <a:cubicBezTo>
                    <a:pt x="146" y="12"/>
                    <a:pt x="146" y="12"/>
                    <a:pt x="146" y="12"/>
                  </a:cubicBezTo>
                  <a:cubicBezTo>
                    <a:pt x="147" y="12"/>
                    <a:pt x="147" y="12"/>
                    <a:pt x="147" y="12"/>
                  </a:cubicBezTo>
                  <a:cubicBezTo>
                    <a:pt x="148" y="12"/>
                    <a:pt x="148" y="12"/>
                    <a:pt x="148" y="12"/>
                  </a:cubicBezTo>
                  <a:cubicBezTo>
                    <a:pt x="149" y="12"/>
                    <a:pt x="149" y="12"/>
                    <a:pt x="149" y="12"/>
                  </a:cubicBezTo>
                  <a:cubicBezTo>
                    <a:pt x="159" y="15"/>
                    <a:pt x="159" y="15"/>
                    <a:pt x="159" y="15"/>
                  </a:cubicBezTo>
                  <a:cubicBezTo>
                    <a:pt x="159" y="15"/>
                    <a:pt x="159" y="15"/>
                    <a:pt x="159" y="15"/>
                  </a:cubicBezTo>
                  <a:cubicBezTo>
                    <a:pt x="169" y="17"/>
                    <a:pt x="169" y="17"/>
                    <a:pt x="169" y="17"/>
                  </a:cubicBezTo>
                  <a:cubicBezTo>
                    <a:pt x="170" y="17"/>
                    <a:pt x="170" y="17"/>
                    <a:pt x="170" y="17"/>
                  </a:cubicBezTo>
                  <a:cubicBezTo>
                    <a:pt x="180" y="19"/>
                    <a:pt x="180" y="19"/>
                    <a:pt x="180" y="19"/>
                  </a:cubicBezTo>
                  <a:cubicBezTo>
                    <a:pt x="180" y="19"/>
                    <a:pt x="180" y="19"/>
                    <a:pt x="180" y="19"/>
                  </a:cubicBezTo>
                  <a:cubicBezTo>
                    <a:pt x="190" y="20"/>
                    <a:pt x="190" y="20"/>
                    <a:pt x="190" y="20"/>
                  </a:cubicBezTo>
                  <a:cubicBezTo>
                    <a:pt x="190" y="20"/>
                    <a:pt x="190" y="20"/>
                    <a:pt x="190" y="20"/>
                  </a:cubicBezTo>
                  <a:cubicBezTo>
                    <a:pt x="200" y="20"/>
                    <a:pt x="200" y="20"/>
                    <a:pt x="200" y="20"/>
                  </a:cubicBezTo>
                  <a:cubicBezTo>
                    <a:pt x="201" y="20"/>
                    <a:pt x="201" y="20"/>
                    <a:pt x="201" y="20"/>
                  </a:cubicBezTo>
                  <a:cubicBezTo>
                    <a:pt x="211" y="19"/>
                    <a:pt x="211" y="19"/>
                    <a:pt x="211" y="19"/>
                  </a:cubicBezTo>
                  <a:cubicBezTo>
                    <a:pt x="211" y="19"/>
                    <a:pt x="211" y="19"/>
                    <a:pt x="211" y="19"/>
                  </a:cubicBezTo>
                  <a:cubicBezTo>
                    <a:pt x="221" y="18"/>
                    <a:pt x="221" y="18"/>
                    <a:pt x="221" y="18"/>
                  </a:cubicBezTo>
                  <a:cubicBezTo>
                    <a:pt x="221" y="18"/>
                    <a:pt x="221" y="18"/>
                    <a:pt x="221" y="18"/>
                  </a:cubicBezTo>
                  <a:cubicBezTo>
                    <a:pt x="231" y="17"/>
                    <a:pt x="231" y="17"/>
                    <a:pt x="231" y="17"/>
                  </a:cubicBezTo>
                  <a:cubicBezTo>
                    <a:pt x="232" y="17"/>
                    <a:pt x="232" y="17"/>
                    <a:pt x="232" y="17"/>
                  </a:cubicBezTo>
                  <a:cubicBezTo>
                    <a:pt x="241" y="14"/>
                    <a:pt x="241" y="14"/>
                    <a:pt x="241" y="14"/>
                  </a:cubicBezTo>
                  <a:cubicBezTo>
                    <a:pt x="253" y="0"/>
                    <a:pt x="253" y="0"/>
                    <a:pt x="253" y="0"/>
                  </a:cubicBezTo>
                  <a:cubicBezTo>
                    <a:pt x="252" y="0"/>
                    <a:pt x="251" y="0"/>
                    <a:pt x="250"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884173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par>
                                <p:cTn id="16" presetID="22" presetClass="entr" presetSubtype="8" fill="hold" nodeType="with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wipe(left)">
                                      <p:cBhvr>
                                        <p:cTn id="18" dur="500"/>
                                        <p:tgtEl>
                                          <p:spTgt spid="39"/>
                                        </p:tgtEl>
                                      </p:cBhvr>
                                    </p:animEffect>
                                  </p:childTnLst>
                                </p:cTn>
                              </p:par>
                              <p:par>
                                <p:cTn id="19" presetID="10" presetClass="entr" presetSubtype="0" fill="hold" nodeType="withEffect">
                                  <p:stCondLst>
                                    <p:cond delay="0"/>
                                  </p:stCondLst>
                                  <p:childTnLst>
                                    <p:set>
                                      <p:cBhvr>
                                        <p:cTn id="20" dur="1" fill="hold">
                                          <p:stCondLst>
                                            <p:cond delay="0"/>
                                          </p:stCondLst>
                                        </p:cTn>
                                        <p:tgtEl>
                                          <p:spTgt spid="43"/>
                                        </p:tgtEl>
                                        <p:attrNameLst>
                                          <p:attrName>style.visibility</p:attrName>
                                        </p:attrNameLst>
                                      </p:cBhvr>
                                      <p:to>
                                        <p:strVal val="visible"/>
                                      </p:to>
                                    </p:set>
                                    <p:animEffect transition="in" filter="fade">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par>
                          <p:cTn id="25" fill="hold">
                            <p:stCondLst>
                              <p:cond delay="500"/>
                            </p:stCondLst>
                            <p:childTnLst>
                              <p:par>
                                <p:cTn id="26" presetID="6" presetClass="emph" presetSubtype="0" decel="100000" fill="hold" nodeType="afterEffect">
                                  <p:stCondLst>
                                    <p:cond delay="0"/>
                                  </p:stCondLst>
                                  <p:childTnLst>
                                    <p:animScale>
                                      <p:cBhvr>
                                        <p:cTn id="27" dur="500" fill="hold"/>
                                        <p:tgtEl>
                                          <p:spTgt spid="43"/>
                                        </p:tgtEl>
                                      </p:cBhvr>
                                      <p:by x="150000" y="150000"/>
                                    </p:animScale>
                                  </p:childTnLst>
                                </p:cTn>
                              </p:par>
                              <p:par>
                                <p:cTn id="28" presetID="42" presetClass="path" presetSubtype="0" accel="50000" decel="50000" fill="hold" grpId="1" nodeType="withEffect">
                                  <p:stCondLst>
                                    <p:cond delay="0"/>
                                  </p:stCondLst>
                                  <p:childTnLst>
                                    <p:animMotion origin="layout" path="M 2.5E-6 1.85185E-6 L 2.5E-6 0.02824 " pathEditMode="relative" rAng="0" ptsTypes="AA">
                                      <p:cBhvr>
                                        <p:cTn id="29" dur="500" fill="hold"/>
                                        <p:tgtEl>
                                          <p:spTgt spid="11"/>
                                        </p:tgtEl>
                                        <p:attrNameLst>
                                          <p:attrName>ppt_x</p:attrName>
                                          <p:attrName>ppt_y</p:attrName>
                                        </p:attrNameLst>
                                      </p:cBhvr>
                                      <p:rCtr x="0" y="1412"/>
                                    </p:animMotion>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wipe(left)">
                                      <p:cBhvr>
                                        <p:cTn id="34" dur="500"/>
                                        <p:tgtEl>
                                          <p:spTgt spid="51"/>
                                        </p:tgtEl>
                                      </p:cBhvr>
                                    </p:animEffect>
                                  </p:childTnLst>
                                </p:cTn>
                              </p:par>
                            </p:childTnLst>
                          </p:cTn>
                        </p:par>
                        <p:par>
                          <p:cTn id="35" fill="hold">
                            <p:stCondLst>
                              <p:cond delay="500"/>
                            </p:stCondLst>
                            <p:childTnLst>
                              <p:par>
                                <p:cTn id="36" presetID="21" presetClass="entr" presetSubtype="1" fill="hold" nodeType="after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wheel(1)">
                                      <p:cBhvr>
                                        <p:cTn id="38" dur="2000"/>
                                        <p:tgtEl>
                                          <p:spTgt spid="5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5"/>
                                        </p:tgtEl>
                                        <p:attrNameLst>
                                          <p:attrName>style.visibility</p:attrName>
                                        </p:attrNameLst>
                                      </p:cBhvr>
                                      <p:to>
                                        <p:strVal val="visible"/>
                                      </p:to>
                                    </p:set>
                                    <p:animEffect transition="in" filter="fade">
                                      <p:cBhvr>
                                        <p:cTn id="41" dur="500"/>
                                        <p:tgtEl>
                                          <p:spTgt spid="55"/>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wipe(left)">
                                      <p:cBhvr>
                                        <p:cTn id="46" dur="500"/>
                                        <p:tgtEl>
                                          <p:spTgt spid="50"/>
                                        </p:tgtEl>
                                      </p:cBhvr>
                                    </p:animEffect>
                                  </p:childTnLst>
                                </p:cTn>
                              </p:par>
                              <p:par>
                                <p:cTn id="47" presetID="6" presetClass="emph" presetSubtype="0" decel="100000" fill="hold" nodeType="withEffect">
                                  <p:stCondLst>
                                    <p:cond delay="0"/>
                                  </p:stCondLst>
                                  <p:childTnLst>
                                    <p:animScale>
                                      <p:cBhvr>
                                        <p:cTn id="48" dur="500" fill="hold"/>
                                        <p:tgtEl>
                                          <p:spTgt spid="43"/>
                                        </p:tgtEl>
                                      </p:cBhvr>
                                      <p:by x="75000" y="75000"/>
                                    </p:animScale>
                                  </p:childTnLst>
                                </p:cTn>
                              </p:par>
                              <p:par>
                                <p:cTn id="49" presetID="64" presetClass="path" presetSubtype="0" decel="100000" fill="hold" grpId="2" nodeType="withEffect">
                                  <p:stCondLst>
                                    <p:cond delay="0"/>
                                  </p:stCondLst>
                                  <p:childTnLst>
                                    <p:animMotion origin="layout" path="M 2.5E-6 0.02824 L 2.5E-6 1.85185E-6 " pathEditMode="relative" rAng="0" ptsTypes="AA">
                                      <p:cBhvr>
                                        <p:cTn id="50" dur="500" fill="hold"/>
                                        <p:tgtEl>
                                          <p:spTgt spid="11"/>
                                        </p:tgtEl>
                                        <p:attrNameLst>
                                          <p:attrName>ppt_x</p:attrName>
                                          <p:attrName>ppt_y</p:attrName>
                                        </p:attrNameLst>
                                      </p:cBhvr>
                                      <p:rCtr x="0" y="-1412"/>
                                    </p:animMotion>
                                  </p:childTnLst>
                                </p:cTn>
                              </p:par>
                              <p:par>
                                <p:cTn id="51" presetID="10" presetClass="entr" presetSubtype="0" fill="hold" nodeType="withEffect">
                                  <p:stCondLst>
                                    <p:cond delay="0"/>
                                  </p:stCondLst>
                                  <p:childTnLst>
                                    <p:set>
                                      <p:cBhvr>
                                        <p:cTn id="52" dur="1" fill="hold">
                                          <p:stCondLst>
                                            <p:cond delay="0"/>
                                          </p:stCondLst>
                                        </p:cTn>
                                        <p:tgtEl>
                                          <p:spTgt spid="47"/>
                                        </p:tgtEl>
                                        <p:attrNameLst>
                                          <p:attrName>style.visibility</p:attrName>
                                        </p:attrNameLst>
                                      </p:cBhvr>
                                      <p:to>
                                        <p:strVal val="visible"/>
                                      </p:to>
                                    </p:set>
                                    <p:animEffect transition="in" filter="fade">
                                      <p:cBhvr>
                                        <p:cTn id="53" dur="500"/>
                                        <p:tgtEl>
                                          <p:spTgt spid="47"/>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6"/>
                                        </p:tgtEl>
                                        <p:attrNameLst>
                                          <p:attrName>style.visibility</p:attrName>
                                        </p:attrNameLst>
                                      </p:cBhvr>
                                      <p:to>
                                        <p:strVal val="visible"/>
                                      </p:to>
                                    </p:set>
                                    <p:animEffect transition="in" filter="fade">
                                      <p:cBhvr>
                                        <p:cTn id="56" dur="500"/>
                                        <p:tgtEl>
                                          <p:spTgt spid="46"/>
                                        </p:tgtEl>
                                      </p:cBhvr>
                                    </p:animEffect>
                                  </p:childTnLst>
                                </p:cTn>
                              </p:par>
                            </p:childTnLst>
                          </p:cTn>
                        </p:par>
                        <p:par>
                          <p:cTn id="57" fill="hold">
                            <p:stCondLst>
                              <p:cond delay="500"/>
                            </p:stCondLst>
                            <p:childTnLst>
                              <p:par>
                                <p:cTn id="58" presetID="10" presetClass="entr" presetSubtype="0" fill="hold" nodeType="afterEffect">
                                  <p:stCondLst>
                                    <p:cond delay="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childTnLst>
                          </p:cTn>
                        </p:par>
                        <p:par>
                          <p:cTn id="61" fill="hold">
                            <p:stCondLst>
                              <p:cond delay="1000"/>
                            </p:stCondLst>
                            <p:childTnLst>
                              <p:par>
                                <p:cTn id="62" presetID="22" presetClass="entr" presetSubtype="4" fill="hold" grpId="0"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wipe(down)">
                                      <p:cBhvr>
                                        <p:cTn id="64" dur="500"/>
                                        <p:tgtEl>
                                          <p:spTgt spid="20"/>
                                        </p:tgtEl>
                                      </p:cBhvr>
                                    </p:animEffect>
                                  </p:childTnLst>
                                </p:cTn>
                              </p:par>
                              <p:par>
                                <p:cTn id="65" presetID="10" presetClass="entr" presetSubtype="0" fill="hold" nodeType="withEffect">
                                  <p:stCondLst>
                                    <p:cond delay="25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500"/>
                                        <p:tgtEl>
                                          <p:spTgt spid="21"/>
                                        </p:tgtEl>
                                      </p:cBhvr>
                                    </p:animEffect>
                                  </p:childTnLst>
                                </p:cTn>
                              </p:par>
                            </p:childTnLst>
                          </p:cTn>
                        </p:par>
                        <p:par>
                          <p:cTn id="68" fill="hold">
                            <p:stCondLst>
                              <p:cond delay="1750"/>
                            </p:stCondLst>
                            <p:childTnLst>
                              <p:par>
                                <p:cTn id="69" presetID="21" presetClass="entr" presetSubtype="1" fill="hold" grpId="0" nodeType="afterEffect">
                                  <p:stCondLst>
                                    <p:cond delay="0"/>
                                  </p:stCondLst>
                                  <p:childTnLst>
                                    <p:set>
                                      <p:cBhvr>
                                        <p:cTn id="70" dur="1" fill="hold">
                                          <p:stCondLst>
                                            <p:cond delay="0"/>
                                          </p:stCondLst>
                                        </p:cTn>
                                        <p:tgtEl>
                                          <p:spTgt spid="12"/>
                                        </p:tgtEl>
                                        <p:attrNameLst>
                                          <p:attrName>style.visibility</p:attrName>
                                        </p:attrNameLst>
                                      </p:cBhvr>
                                      <p:to>
                                        <p:strVal val="visible"/>
                                      </p:to>
                                    </p:set>
                                    <p:animEffect transition="in" filter="wheel(1)">
                                      <p:cBhvr>
                                        <p:cTn id="71" dur="1500"/>
                                        <p:tgtEl>
                                          <p:spTgt spid="12"/>
                                        </p:tgtEl>
                                      </p:cBhvr>
                                    </p:animEffect>
                                  </p:childTnLst>
                                </p:cTn>
                              </p:par>
                              <p:par>
                                <p:cTn id="72" presetID="10" presetClass="entr" presetSubtype="0" fill="hold" nodeType="withEffect">
                                  <p:stCondLst>
                                    <p:cond delay="250"/>
                                  </p:stCondLst>
                                  <p:childTnLst>
                                    <p:set>
                                      <p:cBhvr>
                                        <p:cTn id="73" dur="1" fill="hold">
                                          <p:stCondLst>
                                            <p:cond delay="0"/>
                                          </p:stCondLst>
                                        </p:cTn>
                                        <p:tgtEl>
                                          <p:spTgt spid="25"/>
                                        </p:tgtEl>
                                        <p:attrNameLst>
                                          <p:attrName>style.visibility</p:attrName>
                                        </p:attrNameLst>
                                      </p:cBhvr>
                                      <p:to>
                                        <p:strVal val="visible"/>
                                      </p:to>
                                    </p:set>
                                    <p:animEffect transition="in" filter="fade">
                                      <p:cBhvr>
                                        <p:cTn id="74" dur="500"/>
                                        <p:tgtEl>
                                          <p:spTgt spid="25"/>
                                        </p:tgtEl>
                                      </p:cBhvr>
                                    </p:animEffect>
                                  </p:childTnLst>
                                </p:cTn>
                              </p:par>
                              <p:par>
                                <p:cTn id="75" presetID="10" presetClass="entr" presetSubtype="0" fill="hold" nodeType="withEffect">
                                  <p:stCondLst>
                                    <p:cond delay="500"/>
                                  </p:stCondLst>
                                  <p:childTnLst>
                                    <p:set>
                                      <p:cBhvr>
                                        <p:cTn id="76" dur="1" fill="hold">
                                          <p:stCondLst>
                                            <p:cond delay="0"/>
                                          </p:stCondLst>
                                        </p:cTn>
                                        <p:tgtEl>
                                          <p:spTgt spid="13"/>
                                        </p:tgtEl>
                                        <p:attrNameLst>
                                          <p:attrName>style.visibility</p:attrName>
                                        </p:attrNameLst>
                                      </p:cBhvr>
                                      <p:to>
                                        <p:strVal val="visible"/>
                                      </p:to>
                                    </p:set>
                                    <p:animEffect transition="in" filter="fade">
                                      <p:cBhvr>
                                        <p:cTn id="77" dur="500"/>
                                        <p:tgtEl>
                                          <p:spTgt spid="13"/>
                                        </p:tgtEl>
                                      </p:cBhvr>
                                    </p:animEffect>
                                  </p:childTnLst>
                                </p:cTn>
                              </p:par>
                              <p:par>
                                <p:cTn id="78" presetID="10" presetClass="entr" presetSubtype="0" fill="hold" nodeType="withEffect">
                                  <p:stCondLst>
                                    <p:cond delay="750"/>
                                  </p:stCondLst>
                                  <p:childTnLst>
                                    <p:set>
                                      <p:cBhvr>
                                        <p:cTn id="79" dur="1" fill="hold">
                                          <p:stCondLst>
                                            <p:cond delay="0"/>
                                          </p:stCondLst>
                                        </p:cTn>
                                        <p:tgtEl>
                                          <p:spTgt spid="56"/>
                                        </p:tgtEl>
                                        <p:attrNameLst>
                                          <p:attrName>style.visibility</p:attrName>
                                        </p:attrNameLst>
                                      </p:cBhvr>
                                      <p:to>
                                        <p:strVal val="visible"/>
                                      </p:to>
                                    </p:set>
                                    <p:animEffect transition="in" filter="fade">
                                      <p:cBhvr>
                                        <p:cTn id="80"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1" grpId="1"/>
      <p:bldP spid="11" grpId="2"/>
      <p:bldP spid="12" grpId="0" animBg="1"/>
      <p:bldP spid="20" grpId="0" animBg="1"/>
      <p:bldP spid="46" grpId="0"/>
      <p:bldP spid="55" grpId="0"/>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6169" y="1212851"/>
            <a:ext cx="6114723" cy="5977021"/>
          </a:xfrm>
        </p:spPr>
        <p:txBody>
          <a:bodyPr/>
          <a:lstStyle/>
          <a:p>
            <a:pPr marL="0" indent="0">
              <a:buNone/>
            </a:pPr>
            <a:r>
              <a:rPr lang="en-AU" dirty="0">
                <a:solidFill>
                  <a:schemeClr val="tx2"/>
                </a:solidFill>
              </a:rPr>
              <a:t>Azure AD Privileged Identity Manager provides a dashboard that gives you important information </a:t>
            </a:r>
            <a:br>
              <a:rPr lang="en-AU" dirty="0">
                <a:solidFill>
                  <a:schemeClr val="tx2"/>
                </a:solidFill>
              </a:rPr>
            </a:br>
            <a:r>
              <a:rPr lang="en-AU" dirty="0">
                <a:solidFill>
                  <a:schemeClr val="tx2"/>
                </a:solidFill>
              </a:rPr>
              <a:t>such as:</a:t>
            </a:r>
          </a:p>
          <a:p>
            <a:pPr marL="0" indent="0">
              <a:buNone/>
            </a:pPr>
            <a:endParaRPr lang="en-AU" sz="2000" dirty="0">
              <a:solidFill>
                <a:schemeClr val="tx1"/>
              </a:solidFill>
            </a:endParaRPr>
          </a:p>
          <a:p>
            <a:pPr marL="285750" lvl="1" indent="-285750">
              <a:lnSpc>
                <a:spcPct val="114000"/>
              </a:lnSpc>
            </a:pPr>
            <a:r>
              <a:rPr lang="en-AU" dirty="0"/>
              <a:t>Alerts that point out opportunities to           improve security</a:t>
            </a:r>
          </a:p>
          <a:p>
            <a:pPr marL="285750" lvl="1" indent="-285750">
              <a:lnSpc>
                <a:spcPct val="114000"/>
              </a:lnSpc>
            </a:pPr>
            <a:r>
              <a:rPr lang="en-AU" dirty="0"/>
              <a:t>The number of users who are assigned to            each privileged role</a:t>
            </a:r>
          </a:p>
          <a:p>
            <a:pPr marL="285750" lvl="1" indent="-285750">
              <a:lnSpc>
                <a:spcPct val="114000"/>
              </a:lnSpc>
            </a:pPr>
            <a:r>
              <a:rPr lang="en-AU" dirty="0"/>
              <a:t>The number of eligible and permanent admins</a:t>
            </a:r>
          </a:p>
          <a:p>
            <a:pPr marL="285750" lvl="1" indent="-285750">
              <a:lnSpc>
                <a:spcPct val="114000"/>
              </a:lnSpc>
            </a:pPr>
            <a:r>
              <a:rPr lang="en-AU" dirty="0"/>
              <a:t>Ongoing access reviews</a:t>
            </a:r>
          </a:p>
          <a:p>
            <a:pPr marL="0" indent="0">
              <a:buNone/>
            </a:pPr>
            <a:endParaRPr lang="en-AU" dirty="0">
              <a:solidFill>
                <a:schemeClr val="tx2"/>
              </a:solidFill>
            </a:endParaRPr>
          </a:p>
        </p:txBody>
      </p:sp>
      <p:sp>
        <p:nvSpPr>
          <p:cNvPr id="17" name="Title 16"/>
          <p:cNvSpPr>
            <a:spLocks noGrp="1"/>
          </p:cNvSpPr>
          <p:nvPr>
            <p:ph type="title"/>
          </p:nvPr>
        </p:nvSpPr>
        <p:spPr/>
        <p:txBody>
          <a:bodyPr/>
          <a:lstStyle/>
          <a:p>
            <a:r>
              <a:rPr lang="en-US" dirty="0"/>
              <a:t>Azure PIM dashboard</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480892" y="-1"/>
            <a:ext cx="5953908" cy="6994525"/>
          </a:xfrm>
          <a:prstGeom prst="rect">
            <a:avLst/>
          </a:prstGeom>
        </p:spPr>
      </p:pic>
    </p:spTree>
    <p:extLst>
      <p:ext uri="{BB962C8B-B14F-4D97-AF65-F5344CB8AC3E}">
        <p14:creationId xmlns:p14="http://schemas.microsoft.com/office/powerpoint/2010/main" val="4110387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PIM role management</a:t>
            </a:r>
          </a:p>
        </p:txBody>
      </p:sp>
      <p:sp>
        <p:nvSpPr>
          <p:cNvPr id="10" name="Text Placeholder 2"/>
          <p:cNvSpPr>
            <a:spLocks noGrp="1"/>
          </p:cNvSpPr>
          <p:nvPr>
            <p:ph type="body" sz="quarter" idx="10"/>
          </p:nvPr>
        </p:nvSpPr>
        <p:spPr>
          <a:xfrm>
            <a:off x="366168" y="1212851"/>
            <a:ext cx="6308583" cy="2055947"/>
          </a:xfrm>
        </p:spPr>
        <p:txBody>
          <a:bodyPr/>
          <a:lstStyle/>
          <a:p>
            <a:pPr marL="0" indent="0">
              <a:buNone/>
            </a:pPr>
            <a:r>
              <a:rPr lang="en-AU" sz="3200" dirty="0">
                <a:solidFill>
                  <a:schemeClr val="tx2"/>
                </a:solidFill>
              </a:rPr>
              <a:t>Manage the administrators by adding or removing permanent or eligible administrators to each role:</a:t>
            </a:r>
          </a:p>
          <a:p>
            <a:pPr marL="0" indent="0">
              <a:buNone/>
            </a:pPr>
            <a:endParaRPr lang="en-AU" sz="3200" dirty="0">
              <a:solidFill>
                <a:schemeClr val="tx2"/>
              </a:solidFill>
            </a:endParaRPr>
          </a:p>
        </p:txBody>
      </p:sp>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7244" y="3122174"/>
            <a:ext cx="4882932" cy="3473596"/>
          </a:xfrm>
          <a:prstGeom prst="rect">
            <a:avLst/>
          </a:prstGeom>
        </p:spPr>
      </p:pic>
      <p:pic>
        <p:nvPicPr>
          <p:cNvPr id="12" name="Picture 1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948508" y="1363662"/>
            <a:ext cx="5120212" cy="5232108"/>
          </a:xfrm>
          <a:prstGeom prst="rect">
            <a:avLst/>
          </a:prstGeom>
        </p:spPr>
      </p:pic>
    </p:spTree>
    <p:extLst>
      <p:ext uri="{BB962C8B-B14F-4D97-AF65-F5344CB8AC3E}">
        <p14:creationId xmlns:p14="http://schemas.microsoft.com/office/powerpoint/2010/main" val="424641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PIM role activation history</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533749" y="1668462"/>
            <a:ext cx="7901050" cy="5326063"/>
          </a:xfrm>
          <a:prstGeom prst="rect">
            <a:avLst/>
          </a:prstGeom>
        </p:spPr>
      </p:pic>
      <p:sp>
        <p:nvSpPr>
          <p:cNvPr id="9" name="Text Placeholder 2"/>
          <p:cNvSpPr txBox="1">
            <a:spLocks/>
          </p:cNvSpPr>
          <p:nvPr/>
        </p:nvSpPr>
        <p:spPr>
          <a:xfrm>
            <a:off x="366169" y="3131165"/>
            <a:ext cx="4022475" cy="2400657"/>
          </a:xfrm>
          <a:prstGeom prst="rect">
            <a:avLst/>
          </a:prstGeom>
        </p:spPr>
        <p:txBody>
          <a:bodyPr vert="horz" wrap="square" lIns="146304" tIns="91440" rIns="146304" bIns="91440" rtlCol="0" anchor="ctr" anchorCtr="0">
            <a:no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AU" dirty="0">
                <a:solidFill>
                  <a:schemeClr val="tx2"/>
                </a:solidFill>
              </a:rPr>
              <a:t>Track changes in privileged role assignments and      role activation history</a:t>
            </a:r>
          </a:p>
        </p:txBody>
      </p:sp>
    </p:spTree>
    <p:extLst>
      <p:ext uri="{BB962C8B-B14F-4D97-AF65-F5344CB8AC3E}">
        <p14:creationId xmlns:p14="http://schemas.microsoft.com/office/powerpoint/2010/main" val="50581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D3B8383-726A-42A3-A84B-5EF20664CCB8}"/>
              </a:ext>
            </a:extLst>
          </p:cNvPr>
          <p:cNvSpPr>
            <a:spLocks noGrp="1"/>
          </p:cNvSpPr>
          <p:nvPr>
            <p:ph type="title"/>
          </p:nvPr>
        </p:nvSpPr>
        <p:spPr>
          <a:xfrm>
            <a:off x="269240" y="289511"/>
            <a:ext cx="11655840" cy="899665"/>
          </a:xfrm>
        </p:spPr>
        <p:txBody>
          <a:bodyPr/>
          <a:lstStyle/>
          <a:p>
            <a:r>
              <a:rPr lang="en-US" dirty="0"/>
              <a:t>PIM for Azure Resources (preview)</a:t>
            </a:r>
          </a:p>
        </p:txBody>
      </p:sp>
      <p:sp>
        <p:nvSpPr>
          <p:cNvPr id="8" name="Rectangle 7">
            <a:extLst>
              <a:ext uri="{FF2B5EF4-FFF2-40B4-BE49-F238E27FC236}">
                <a16:creationId xmlns:a16="http://schemas.microsoft.com/office/drawing/2014/main" id="{8705311F-AF95-4C61-AE3F-82EF41E597D4}"/>
              </a:ext>
            </a:extLst>
          </p:cNvPr>
          <p:cNvSpPr/>
          <p:nvPr/>
        </p:nvSpPr>
        <p:spPr>
          <a:xfrm>
            <a:off x="348923" y="1668462"/>
            <a:ext cx="5222669" cy="2369880"/>
          </a:xfrm>
          <a:prstGeom prst="rect">
            <a:avLst/>
          </a:prstGeom>
        </p:spPr>
        <p:txBody>
          <a:bodyPr wrap="square">
            <a:spAutoFit/>
          </a:bodyPr>
          <a:lstStyle/>
          <a:p>
            <a:pPr marL="0" marR="0" lvl="0" indent="0" defTabSz="896091" eaLnBrk="1" fontAlgn="auto" latinLnBrk="0" hangingPunct="1">
              <a:lnSpc>
                <a:spcPct val="100000"/>
              </a:lnSpc>
              <a:spcBef>
                <a:spcPts val="588"/>
              </a:spcBef>
              <a:spcAft>
                <a:spcPts val="600"/>
              </a:spcAft>
              <a:buClrTx/>
              <a:buSzTx/>
              <a:buFontTx/>
              <a:buNone/>
              <a:tabLst/>
              <a:defRPr/>
            </a:pPr>
            <a:r>
              <a:rPr kumimoji="0" lang="en-US" sz="2400" b="0" i="0" u="none" strike="noStrike" kern="0" cap="none" normalizeH="0" noProof="0" dirty="0">
                <a:ln>
                  <a:noFill/>
                </a:ln>
                <a:solidFill>
                  <a:srgbClr val="505050"/>
                </a:solidFill>
                <a:effectLst/>
                <a:uLnTx/>
                <a:uFillTx/>
              </a:rPr>
              <a:t>Manage Built</a:t>
            </a:r>
            <a:r>
              <a:rPr lang="en-US" sz="2400" kern="0" dirty="0">
                <a:solidFill>
                  <a:srgbClr val="505050"/>
                </a:solidFill>
              </a:rPr>
              <a:t>-In Azure RBAC Roles</a:t>
            </a:r>
          </a:p>
          <a:p>
            <a:pPr marL="285750" indent="-285750">
              <a:buFont typeface="Arial" panose="020B0604020202020204" pitchFamily="34" charset="0"/>
              <a:buChar char="•"/>
            </a:pPr>
            <a:r>
              <a:rPr lang="en-US" dirty="0"/>
              <a:t>Owner</a:t>
            </a:r>
          </a:p>
          <a:p>
            <a:pPr marL="285750" indent="-285750">
              <a:buFont typeface="Arial" panose="020B0604020202020204" pitchFamily="34" charset="0"/>
              <a:buChar char="•"/>
            </a:pPr>
            <a:r>
              <a:rPr lang="en-US" dirty="0"/>
              <a:t>User Access Administrator</a:t>
            </a:r>
          </a:p>
          <a:p>
            <a:pPr marL="285750" indent="-285750">
              <a:buFont typeface="Arial" panose="020B0604020202020204" pitchFamily="34" charset="0"/>
              <a:buChar char="•"/>
            </a:pPr>
            <a:r>
              <a:rPr lang="en-US" dirty="0"/>
              <a:t>Contributor</a:t>
            </a:r>
          </a:p>
          <a:p>
            <a:pPr marL="285750" indent="-285750">
              <a:buFont typeface="Arial" panose="020B0604020202020204" pitchFamily="34" charset="0"/>
              <a:buChar char="•"/>
            </a:pPr>
            <a:r>
              <a:rPr lang="en-US" dirty="0"/>
              <a:t>Security Admin</a:t>
            </a:r>
          </a:p>
          <a:p>
            <a:pPr marL="285750" indent="-285750">
              <a:buFont typeface="Arial" panose="020B0604020202020204" pitchFamily="34" charset="0"/>
              <a:buChar char="•"/>
            </a:pPr>
            <a:r>
              <a:rPr lang="en-US" dirty="0"/>
              <a:t>Security Manager, and more</a:t>
            </a:r>
          </a:p>
          <a:p>
            <a:pPr marL="0" marR="0" lvl="0" indent="0" defTabSz="896091" eaLnBrk="1" fontAlgn="auto" latinLnBrk="0" hangingPunct="1">
              <a:lnSpc>
                <a:spcPct val="100000"/>
              </a:lnSpc>
              <a:spcBef>
                <a:spcPts val="588"/>
              </a:spcBef>
              <a:spcAft>
                <a:spcPts val="600"/>
              </a:spcAft>
              <a:buClrTx/>
              <a:buSzTx/>
              <a:buFontTx/>
              <a:buNone/>
              <a:tabLst/>
              <a:defRPr/>
            </a:pPr>
            <a:endParaRPr lang="en-US" sz="2400" kern="0" dirty="0">
              <a:solidFill>
                <a:srgbClr val="505050"/>
              </a:solidFill>
            </a:endParaRPr>
          </a:p>
        </p:txBody>
      </p:sp>
      <p:sp>
        <p:nvSpPr>
          <p:cNvPr id="38" name="Rectangle 37">
            <a:extLst>
              <a:ext uri="{FF2B5EF4-FFF2-40B4-BE49-F238E27FC236}">
                <a16:creationId xmlns:a16="http://schemas.microsoft.com/office/drawing/2014/main" id="{24660A59-2E08-4E44-A27B-803DEF6AD262}"/>
              </a:ext>
            </a:extLst>
          </p:cNvPr>
          <p:cNvSpPr/>
          <p:nvPr/>
        </p:nvSpPr>
        <p:spPr>
          <a:xfrm>
            <a:off x="348923" y="1103549"/>
            <a:ext cx="7679980" cy="369332"/>
          </a:xfrm>
          <a:prstGeom prst="rect">
            <a:avLst/>
          </a:prstGeom>
        </p:spPr>
        <p:txBody>
          <a:bodyPr wrap="square">
            <a:spAutoFit/>
          </a:bodyPr>
          <a:lstStyle/>
          <a:p>
            <a:pPr defTabSz="913505" fontAlgn="base">
              <a:lnSpc>
                <a:spcPct val="90000"/>
              </a:lnSpc>
              <a:spcBef>
                <a:spcPct val="20000"/>
              </a:spcBef>
              <a:spcAft>
                <a:spcPct val="0"/>
              </a:spcAft>
              <a:buSzPct val="90000"/>
            </a:pPr>
            <a:r>
              <a:rPr lang="en-US" sz="2000" dirty="0">
                <a:latin typeface="Segoe UI" panose="020B0502040204020203" pitchFamily="34" charset="0"/>
                <a:ea typeface="ＭＳ Ｐゴシック" charset="0"/>
                <a:cs typeface="Segoe UI" panose="020B0502040204020203" pitchFamily="34" charset="0"/>
              </a:rPr>
              <a:t>Discover, restrict, and monitor privileged Azure Roles</a:t>
            </a:r>
          </a:p>
        </p:txBody>
      </p:sp>
      <p:pic>
        <p:nvPicPr>
          <p:cNvPr id="2" name="Picture 1">
            <a:extLst>
              <a:ext uri="{FF2B5EF4-FFF2-40B4-BE49-F238E27FC236}">
                <a16:creationId xmlns:a16="http://schemas.microsoft.com/office/drawing/2014/main" id="{E5780344-3495-4AAA-98DF-25628762ED26}"/>
              </a:ext>
            </a:extLst>
          </p:cNvPr>
          <p:cNvPicPr>
            <a:picLocks noChangeAspect="1"/>
          </p:cNvPicPr>
          <p:nvPr/>
        </p:nvPicPr>
        <p:blipFill>
          <a:blip r:embed="rId3"/>
          <a:stretch>
            <a:fillRect/>
          </a:stretch>
        </p:blipFill>
        <p:spPr>
          <a:xfrm>
            <a:off x="4619047" y="2256245"/>
            <a:ext cx="7679980" cy="444877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500614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1668462"/>
            <a:ext cx="12434888" cy="2400657"/>
          </a:xfrm>
        </p:spPr>
        <p:txBody>
          <a:bodyPr/>
          <a:lstStyle/>
          <a:p>
            <a:r>
              <a:rPr lang="en-US" dirty="0"/>
              <a:t>Azure AD Identity Protection</a:t>
            </a:r>
          </a:p>
        </p:txBody>
      </p:sp>
      <p:pic>
        <p:nvPicPr>
          <p:cNvPr id="3" name="Picture 2">
            <a:extLst>
              <a:ext uri="{FF2B5EF4-FFF2-40B4-BE49-F238E27FC236}">
                <a16:creationId xmlns:a16="http://schemas.microsoft.com/office/drawing/2014/main" id="{F40233B8-4BB5-4212-B7AD-D9BDC9559F70}"/>
              </a:ext>
            </a:extLst>
          </p:cNvPr>
          <p:cNvPicPr>
            <a:picLocks noChangeAspect="1"/>
          </p:cNvPicPr>
          <p:nvPr/>
        </p:nvPicPr>
        <p:blipFill>
          <a:blip r:embed="rId3"/>
          <a:stretch>
            <a:fillRect/>
          </a:stretch>
        </p:blipFill>
        <p:spPr>
          <a:xfrm>
            <a:off x="5684044" y="4640262"/>
            <a:ext cx="1860974" cy="2133600"/>
          </a:xfrm>
          <a:prstGeom prst="rect">
            <a:avLst/>
          </a:prstGeom>
        </p:spPr>
      </p:pic>
    </p:spTree>
    <p:extLst>
      <p:ext uri="{BB962C8B-B14F-4D97-AF65-F5344CB8AC3E}">
        <p14:creationId xmlns:p14="http://schemas.microsoft.com/office/powerpoint/2010/main" val="99416628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275533" y="686647"/>
            <a:ext cx="11885414"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endParaRPr lang="en-US" sz="4799" dirty="0">
              <a:solidFill>
                <a:schemeClr val="tx1">
                  <a:lumMod val="75000"/>
                </a:schemeClr>
              </a:solidFill>
            </a:endParaRPr>
          </a:p>
        </p:txBody>
      </p:sp>
      <p:sp>
        <p:nvSpPr>
          <p:cNvPr id="24" name="Rectangle 23"/>
          <p:cNvSpPr/>
          <p:nvPr/>
        </p:nvSpPr>
        <p:spPr>
          <a:xfrm>
            <a:off x="366169" y="2374016"/>
            <a:ext cx="5527784" cy="3328568"/>
          </a:xfrm>
          <a:prstGeom prst="rect">
            <a:avLst/>
          </a:prstGeom>
        </p:spPr>
        <p:txBody>
          <a:bodyPr wrap="square" lIns="146304" tIns="9144" rIns="146304" bIns="9144">
            <a:noAutofit/>
          </a:bodyPr>
          <a:lstStyle/>
          <a:p>
            <a:pPr marL="285750" lvl="1" indent="-285750" defTabSz="932594">
              <a:lnSpc>
                <a:spcPct val="114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Gain insights from a consolidated view of machine learning based threat detection</a:t>
            </a:r>
          </a:p>
          <a:p>
            <a:pPr marL="285750" lvl="1" indent="-285750" defTabSz="932594">
              <a:lnSpc>
                <a:spcPct val="114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Remediation recommendations</a:t>
            </a:r>
          </a:p>
          <a:p>
            <a:pPr marL="285750" lvl="1" indent="-285750" defTabSz="932594">
              <a:lnSpc>
                <a:spcPct val="114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Risk severity calculation</a:t>
            </a:r>
          </a:p>
          <a:p>
            <a:pPr marL="285750" lvl="1" indent="-285750" defTabSz="932594">
              <a:lnSpc>
                <a:spcPct val="114000"/>
              </a:lnSpc>
              <a:spcBef>
                <a:spcPct val="20000"/>
              </a:spcBef>
              <a:buSzPct val="90000"/>
              <a:buFont typeface="Arial" pitchFamily="34" charset="0"/>
              <a:buChar char="•"/>
              <a:defRPr/>
            </a:pPr>
            <a:r>
              <a:rPr lang="en-US" sz="2000" dirty="0">
                <a:gradFill>
                  <a:gsLst>
                    <a:gs pos="1250">
                      <a:schemeClr val="tx1"/>
                    </a:gs>
                    <a:gs pos="100000">
                      <a:schemeClr val="tx1"/>
                    </a:gs>
                  </a:gsLst>
                  <a:lin ang="5400000" scaled="0"/>
                </a:gradFill>
              </a:rPr>
              <a:t>Risk-based conditional access automatically protects against suspicious logins and compromised credentials</a:t>
            </a:r>
          </a:p>
          <a:p>
            <a:pPr defTabSz="913748" fontAlgn="base">
              <a:lnSpc>
                <a:spcPct val="90000"/>
              </a:lnSpc>
              <a:spcBef>
                <a:spcPts val="600"/>
              </a:spcBef>
              <a:spcAft>
                <a:spcPct val="0"/>
              </a:spcAft>
              <a:defRPr/>
            </a:pPr>
            <a:endParaRPr lang="en-US" sz="1836" kern="0" dirty="0">
              <a:solidFill>
                <a:schemeClr val="tx1">
                  <a:lumMod val="75000"/>
                </a:schemeClr>
              </a:solidFill>
              <a:latin typeface="+mj-lt"/>
            </a:endParaRPr>
          </a:p>
        </p:txBody>
      </p:sp>
      <p:grpSp>
        <p:nvGrpSpPr>
          <p:cNvPr id="91" name="Group 90"/>
          <p:cNvGrpSpPr/>
          <p:nvPr/>
        </p:nvGrpSpPr>
        <p:grpSpPr>
          <a:xfrm>
            <a:off x="5942109" y="2351889"/>
            <a:ext cx="6466972" cy="6936573"/>
            <a:chOff x="6031378" y="2655705"/>
            <a:chExt cx="6467889" cy="6937557"/>
          </a:xfrm>
        </p:grpSpPr>
        <p:grpSp>
          <p:nvGrpSpPr>
            <p:cNvPr id="29" name="Group 28"/>
            <p:cNvGrpSpPr/>
            <p:nvPr/>
          </p:nvGrpSpPr>
          <p:grpSpPr>
            <a:xfrm>
              <a:off x="10997544" y="3673937"/>
              <a:ext cx="1501723" cy="1413608"/>
              <a:chOff x="5232951" y="1497297"/>
              <a:chExt cx="1768941" cy="1154331"/>
            </a:xfrm>
          </p:grpSpPr>
          <p:sp>
            <p:nvSpPr>
              <p:cNvPr id="30" name="Rectangle 29"/>
              <p:cNvSpPr/>
              <p:nvPr/>
            </p:nvSpPr>
            <p:spPr>
              <a:xfrm>
                <a:off x="5232951" y="1497297"/>
                <a:ext cx="1768941" cy="359288"/>
              </a:xfrm>
              <a:prstGeom prst="rect">
                <a:avLst/>
              </a:prstGeom>
              <a:ln>
                <a:noFill/>
              </a:ln>
            </p:spPr>
            <p:txBody>
              <a:bodyPr wrap="square">
                <a:spAutoFit/>
              </a:bodyPr>
              <a:lstStyle/>
              <a:p>
                <a:pPr defTabSz="1242560">
                  <a:lnSpc>
                    <a:spcPct val="90000"/>
                  </a:lnSpc>
                  <a:spcBef>
                    <a:spcPct val="20000"/>
                  </a:spcBef>
                  <a:buSzPct val="80000"/>
                  <a:defRPr/>
                </a:pPr>
                <a:r>
                  <a:rPr lang="en-US" sz="1224" kern="0" dirty="0">
                    <a:solidFill>
                      <a:schemeClr val="tx1">
                        <a:lumMod val="75000"/>
                      </a:schemeClr>
                    </a:solidFill>
                    <a:cs typeface="Segoe UI Light" panose="020B0502040204020203" pitchFamily="34" charset="0"/>
                  </a:rPr>
                  <a:t>MFA challenge </a:t>
                </a:r>
                <a:br>
                  <a:rPr lang="en-US" sz="1224" kern="0" dirty="0">
                    <a:solidFill>
                      <a:schemeClr val="tx1">
                        <a:lumMod val="75000"/>
                      </a:schemeClr>
                    </a:solidFill>
                    <a:cs typeface="Segoe UI Light" panose="020B0502040204020203" pitchFamily="34" charset="0"/>
                  </a:rPr>
                </a:br>
                <a:r>
                  <a:rPr lang="en-US" sz="1224" kern="0" dirty="0">
                    <a:solidFill>
                      <a:schemeClr val="tx1">
                        <a:lumMod val="75000"/>
                      </a:schemeClr>
                    </a:solidFill>
                    <a:cs typeface="Segoe UI Light" panose="020B0502040204020203" pitchFamily="34" charset="0"/>
                  </a:rPr>
                  <a:t>risky logins</a:t>
                </a:r>
              </a:p>
            </p:txBody>
          </p:sp>
          <p:sp>
            <p:nvSpPr>
              <p:cNvPr id="31" name="Rectangle 30"/>
              <p:cNvSpPr/>
              <p:nvPr/>
            </p:nvSpPr>
            <p:spPr>
              <a:xfrm>
                <a:off x="5263025" y="2433534"/>
                <a:ext cx="1530402" cy="218094"/>
              </a:xfrm>
              <a:prstGeom prst="rect">
                <a:avLst/>
              </a:prstGeom>
              <a:ln>
                <a:noFill/>
              </a:ln>
            </p:spPr>
            <p:txBody>
              <a:bodyPr wrap="square">
                <a:spAutoFit/>
              </a:bodyPr>
              <a:lstStyle/>
              <a:p>
                <a:pPr defTabSz="1242560">
                  <a:lnSpc>
                    <a:spcPct val="90000"/>
                  </a:lnSpc>
                  <a:spcBef>
                    <a:spcPct val="20000"/>
                  </a:spcBef>
                  <a:buSzPct val="80000"/>
                  <a:defRPr/>
                </a:pPr>
                <a:r>
                  <a:rPr lang="en-US" sz="1224" kern="0" dirty="0">
                    <a:solidFill>
                      <a:schemeClr val="tx1">
                        <a:lumMod val="75000"/>
                      </a:schemeClr>
                    </a:solidFill>
                    <a:cs typeface="Segoe UI Light" panose="020B0502040204020203" pitchFamily="34" charset="0"/>
                  </a:rPr>
                  <a:t>Block attacks</a:t>
                </a:r>
              </a:p>
            </p:txBody>
          </p:sp>
          <p:sp>
            <p:nvSpPr>
              <p:cNvPr id="32" name="Rectangle 31"/>
              <p:cNvSpPr/>
              <p:nvPr/>
            </p:nvSpPr>
            <p:spPr>
              <a:xfrm>
                <a:off x="5254763" y="1968354"/>
                <a:ext cx="1728530" cy="359288"/>
              </a:xfrm>
              <a:prstGeom prst="rect">
                <a:avLst/>
              </a:prstGeom>
              <a:ln>
                <a:noFill/>
              </a:ln>
            </p:spPr>
            <p:txBody>
              <a:bodyPr wrap="square">
                <a:spAutoFit/>
              </a:bodyPr>
              <a:lstStyle/>
              <a:p>
                <a:pPr defTabSz="1242560">
                  <a:lnSpc>
                    <a:spcPct val="90000"/>
                  </a:lnSpc>
                  <a:spcBef>
                    <a:spcPct val="20000"/>
                  </a:spcBef>
                  <a:buSzPct val="80000"/>
                  <a:defRPr/>
                </a:pPr>
                <a:r>
                  <a:rPr lang="en-US" sz="1224" kern="0" dirty="0">
                    <a:solidFill>
                      <a:schemeClr val="tx1">
                        <a:lumMod val="75000"/>
                      </a:schemeClr>
                    </a:solidFill>
                    <a:cs typeface="Segoe UI Light" panose="020B0502040204020203" pitchFamily="34" charset="0"/>
                  </a:rPr>
                  <a:t>Change bad credentials</a:t>
                </a:r>
              </a:p>
            </p:txBody>
          </p:sp>
        </p:grpSp>
        <p:grpSp>
          <p:nvGrpSpPr>
            <p:cNvPr id="90" name="Group 89"/>
            <p:cNvGrpSpPr/>
            <p:nvPr/>
          </p:nvGrpSpPr>
          <p:grpSpPr>
            <a:xfrm>
              <a:off x="6031378" y="2655705"/>
              <a:ext cx="6277829" cy="6937557"/>
              <a:chOff x="6031378" y="2613523"/>
              <a:chExt cx="6277829" cy="6937557"/>
            </a:xfrm>
          </p:grpSpPr>
          <p:sp>
            <p:nvSpPr>
              <p:cNvPr id="5" name="Pie 4"/>
              <p:cNvSpPr/>
              <p:nvPr/>
            </p:nvSpPr>
            <p:spPr bwMode="auto">
              <a:xfrm>
                <a:off x="6218237" y="4464001"/>
                <a:ext cx="5134924" cy="5087079"/>
              </a:xfrm>
              <a:prstGeom prst="pie">
                <a:avLst>
                  <a:gd name="adj1" fmla="val 10779824"/>
                  <a:gd name="adj2" fmla="val 1969"/>
                </a:avLst>
              </a:prstGeom>
              <a:solidFill>
                <a:schemeClr val="bg1">
                  <a:lumMod val="95000"/>
                </a:schemeClr>
              </a:solidFill>
              <a:ln w="19050" cap="flat" cmpd="sng" algn="ctr">
                <a:solidFill>
                  <a:schemeClr val="bg1">
                    <a:lumMod val="65000"/>
                  </a:schemeClr>
                </a:solidFill>
                <a:prstDash val="sysDash"/>
                <a:headEnd type="none" w="med" len="med"/>
                <a:tailEnd type="none" w="med" len="med"/>
              </a:ln>
              <a:effectLst/>
            </p:spPr>
            <p:txBody>
              <a:bodyPr rot="0" spcFirstLastPara="0" vert="horz" wrap="square" lIns="190180" tIns="152145" rIns="190180" bIns="152145" numCol="1" spcCol="0" rtlCol="0" fromWordArt="0" anchor="t" anchorCtr="0" forceAA="0" compatLnSpc="1">
                <a:prstTxWarp prst="textNoShape">
                  <a:avLst/>
                </a:prstTxWarp>
                <a:noAutofit/>
              </a:bodyPr>
              <a:lstStyle/>
              <a:p>
                <a:pPr algn="ctr" defTabSz="969581" fontAlgn="base">
                  <a:lnSpc>
                    <a:spcPct val="90000"/>
                  </a:lnSpc>
                  <a:spcBef>
                    <a:spcPct val="0"/>
                  </a:spcBef>
                  <a:spcAft>
                    <a:spcPct val="0"/>
                  </a:spcAft>
                  <a:defRPr/>
                </a:pPr>
                <a:endParaRPr lang="en-US" sz="2497" kern="0" dirty="0" err="1">
                  <a:solidFill>
                    <a:schemeClr val="tx1">
                      <a:lumMod val="75000"/>
                    </a:schemeClr>
                  </a:solidFill>
                  <a:latin typeface="Segoe UI"/>
                  <a:ea typeface="Segoe UI" pitchFamily="34" charset="0"/>
                  <a:cs typeface="Segoe UI" pitchFamily="34" charset="0"/>
                </a:endParaRPr>
              </a:p>
            </p:txBody>
          </p:sp>
          <p:grpSp>
            <p:nvGrpSpPr>
              <p:cNvPr id="89" name="Group 88"/>
              <p:cNvGrpSpPr/>
              <p:nvPr/>
            </p:nvGrpSpPr>
            <p:grpSpPr>
              <a:xfrm>
                <a:off x="6031378" y="2613523"/>
                <a:ext cx="6277829" cy="4202577"/>
                <a:chOff x="6031378" y="2613523"/>
                <a:chExt cx="6277829" cy="4202577"/>
              </a:xfrm>
            </p:grpSpPr>
            <p:sp>
              <p:nvSpPr>
                <p:cNvPr id="25" name="Rectangle 24"/>
                <p:cNvSpPr/>
                <p:nvPr/>
              </p:nvSpPr>
              <p:spPr>
                <a:xfrm>
                  <a:off x="8603335" y="2613523"/>
                  <a:ext cx="1305139" cy="439988"/>
                </a:xfrm>
                <a:prstGeom prst="rect">
                  <a:avLst/>
                </a:prstGeom>
              </p:spPr>
              <p:txBody>
                <a:bodyPr wrap="square">
                  <a:spAutoFit/>
                </a:bodyPr>
                <a:lstStyle/>
                <a:p>
                  <a:pPr algn="ctr" defTabSz="1242560">
                    <a:lnSpc>
                      <a:spcPct val="90000"/>
                    </a:lnSpc>
                    <a:spcBef>
                      <a:spcPct val="20000"/>
                    </a:spcBef>
                    <a:buSzPct val="80000"/>
                    <a:defRPr/>
                  </a:pPr>
                  <a:r>
                    <a:rPr lang="en-US" sz="1224" b="1" kern="0" dirty="0">
                      <a:solidFill>
                        <a:schemeClr val="accent1"/>
                      </a:solidFill>
                      <a:cs typeface="Segoe UI Light" panose="020B0502040204020203" pitchFamily="34" charset="0"/>
                    </a:rPr>
                    <a:t>Leaked credentials</a:t>
                  </a:r>
                </a:p>
              </p:txBody>
            </p:sp>
            <p:sp>
              <p:nvSpPr>
                <p:cNvPr id="26" name="Rectangle 25"/>
                <p:cNvSpPr/>
                <p:nvPr/>
              </p:nvSpPr>
              <p:spPr>
                <a:xfrm>
                  <a:off x="6277725" y="2800357"/>
                  <a:ext cx="1208083" cy="439988"/>
                </a:xfrm>
                <a:prstGeom prst="rect">
                  <a:avLst/>
                </a:prstGeom>
              </p:spPr>
              <p:txBody>
                <a:bodyPr wrap="square">
                  <a:spAutoFit/>
                </a:bodyPr>
                <a:lstStyle/>
                <a:p>
                  <a:pPr algn="ctr" defTabSz="1242560">
                    <a:lnSpc>
                      <a:spcPct val="90000"/>
                    </a:lnSpc>
                    <a:spcBef>
                      <a:spcPct val="20000"/>
                    </a:spcBef>
                    <a:buSzPct val="80000"/>
                    <a:defRPr/>
                  </a:pPr>
                  <a:r>
                    <a:rPr lang="en-US" sz="1224" b="1" kern="0" dirty="0">
                      <a:solidFill>
                        <a:schemeClr val="accent1"/>
                      </a:solidFill>
                      <a:cs typeface="Segoe UI Light" panose="020B0502040204020203" pitchFamily="34" charset="0"/>
                    </a:rPr>
                    <a:t>Infected devices</a:t>
                  </a:r>
                </a:p>
              </p:txBody>
            </p:sp>
            <p:sp>
              <p:nvSpPr>
                <p:cNvPr id="27" name="Rectangle 26"/>
                <p:cNvSpPr/>
                <p:nvPr/>
              </p:nvSpPr>
              <p:spPr>
                <a:xfrm>
                  <a:off x="7207869" y="2635652"/>
                  <a:ext cx="1612669" cy="439988"/>
                </a:xfrm>
                <a:prstGeom prst="rect">
                  <a:avLst/>
                </a:prstGeom>
              </p:spPr>
              <p:txBody>
                <a:bodyPr wrap="square">
                  <a:spAutoFit/>
                </a:bodyPr>
                <a:lstStyle/>
                <a:p>
                  <a:pPr algn="ctr" defTabSz="1242560">
                    <a:lnSpc>
                      <a:spcPct val="90000"/>
                    </a:lnSpc>
                    <a:spcBef>
                      <a:spcPct val="20000"/>
                    </a:spcBef>
                    <a:buSzPct val="80000"/>
                    <a:defRPr/>
                  </a:pPr>
                  <a:r>
                    <a:rPr lang="en-US" sz="1224" b="1" kern="0" dirty="0">
                      <a:solidFill>
                        <a:schemeClr val="accent1"/>
                      </a:solidFill>
                      <a:cs typeface="Segoe UI Light" panose="020B0502040204020203" pitchFamily="34" charset="0"/>
                    </a:rPr>
                    <a:t>Configuration vulnerabilities </a:t>
                  </a:r>
                </a:p>
              </p:txBody>
            </p:sp>
            <p:sp>
              <p:nvSpPr>
                <p:cNvPr id="28" name="Rectangle 27"/>
                <p:cNvSpPr/>
                <p:nvPr/>
              </p:nvSpPr>
              <p:spPr>
                <a:xfrm>
                  <a:off x="10941754" y="2783311"/>
                  <a:ext cx="1367453" cy="720299"/>
                </a:xfrm>
                <a:prstGeom prst="rect">
                  <a:avLst/>
                </a:prstGeom>
                <a:ln>
                  <a:noFill/>
                </a:ln>
              </p:spPr>
              <p:txBody>
                <a:bodyPr wrap="square">
                  <a:spAutoFit/>
                </a:bodyPr>
                <a:lstStyle/>
                <a:p>
                  <a:pPr defTabSz="950663" fontAlgn="base">
                    <a:spcBef>
                      <a:spcPct val="0"/>
                    </a:spcBef>
                    <a:spcAft>
                      <a:spcPct val="0"/>
                    </a:spcAft>
                    <a:defRPr/>
                  </a:pPr>
                  <a:r>
                    <a:rPr lang="en-US" sz="2040" kern="0" dirty="0">
                      <a:solidFill>
                        <a:schemeClr val="tx1">
                          <a:lumMod val="75000"/>
                        </a:schemeClr>
                      </a:solidFill>
                      <a:latin typeface="Segoe UI Light"/>
                      <a:cs typeface="Segoe UI Light"/>
                    </a:rPr>
                    <a:t>Risk-based policies</a:t>
                  </a:r>
                </a:p>
              </p:txBody>
            </p:sp>
            <p:cxnSp>
              <p:nvCxnSpPr>
                <p:cNvPr id="33" name="Straight Connector 32"/>
                <p:cNvCxnSpPr/>
                <p:nvPr/>
              </p:nvCxnSpPr>
              <p:spPr>
                <a:xfrm>
                  <a:off x="9870933" y="3750017"/>
                  <a:ext cx="0" cy="623377"/>
                </a:xfrm>
                <a:prstGeom prst="line">
                  <a:avLst/>
                </a:prstGeom>
                <a:ln w="19050" cmpd="sng">
                  <a:solidFill>
                    <a:schemeClr val="accent3"/>
                  </a:solidFill>
                  <a:prstDash val="solid"/>
                  <a:headEnd type="none" w="sm" len="sm"/>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9870933" y="3755970"/>
                  <a:ext cx="946497" cy="0"/>
                </a:xfrm>
                <a:prstGeom prst="line">
                  <a:avLst/>
                </a:prstGeom>
                <a:ln w="19050" cmpd="sng">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7" idx="2"/>
                </p:cNvCxnSpPr>
                <p:nvPr/>
              </p:nvCxnSpPr>
              <p:spPr>
                <a:xfrm>
                  <a:off x="8014204" y="3075640"/>
                  <a:ext cx="307794" cy="1043357"/>
                </a:xfrm>
                <a:prstGeom prst="straightConnector1">
                  <a:avLst/>
                </a:prstGeom>
                <a:ln w="28575" cap="rnd">
                  <a:solidFill>
                    <a:srgbClr val="FF0000"/>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6916437" y="4230013"/>
                  <a:ext cx="3070287" cy="267080"/>
                </a:xfrm>
                <a:prstGeom prst="rect">
                  <a:avLst/>
                </a:prstGeom>
              </p:spPr>
              <p:txBody>
                <a:bodyPr wrap="square">
                  <a:spAutoFit/>
                </a:bodyPr>
                <a:lstStyle/>
                <a:p>
                  <a:pPr algn="ctr" defTabSz="914224">
                    <a:lnSpc>
                      <a:spcPct val="90000"/>
                    </a:lnSpc>
                    <a:defRPr/>
                  </a:pPr>
                  <a:r>
                    <a:rPr lang="en-US" sz="1224" kern="0" spc="-50" dirty="0">
                      <a:solidFill>
                        <a:schemeClr val="tx1">
                          <a:lumMod val="75000"/>
                        </a:schemeClr>
                      </a:solidFill>
                      <a:latin typeface="Segoe UI"/>
                    </a:rPr>
                    <a:t>Machine-Learning Engine</a:t>
                  </a:r>
                </a:p>
              </p:txBody>
            </p:sp>
            <p:cxnSp>
              <p:nvCxnSpPr>
                <p:cNvPr id="37" name="Straight Arrow Connector 36"/>
                <p:cNvCxnSpPr/>
                <p:nvPr/>
              </p:nvCxnSpPr>
              <p:spPr>
                <a:xfrm>
                  <a:off x="7274032" y="3221641"/>
                  <a:ext cx="790544" cy="895471"/>
                </a:xfrm>
                <a:prstGeom prst="straightConnector1">
                  <a:avLst/>
                </a:prstGeom>
                <a:ln w="28575" cap="rnd">
                  <a:solidFill>
                    <a:srgbClr val="FF0000"/>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a:off x="8613573" y="3143409"/>
                  <a:ext cx="323268" cy="973703"/>
                </a:xfrm>
                <a:prstGeom prst="straightConnector1">
                  <a:avLst/>
                </a:prstGeom>
                <a:ln w="28575" cap="rnd">
                  <a:solidFill>
                    <a:srgbClr val="FF0000"/>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6031378" y="3267517"/>
                  <a:ext cx="1411303" cy="440050"/>
                </a:xfrm>
                <a:prstGeom prst="rect">
                  <a:avLst/>
                </a:prstGeom>
              </p:spPr>
              <p:txBody>
                <a:bodyPr wrap="square">
                  <a:spAutoFit/>
                </a:bodyPr>
                <a:lstStyle/>
                <a:p>
                  <a:pPr algn="ctr" defTabSz="1242560">
                    <a:lnSpc>
                      <a:spcPct val="90000"/>
                    </a:lnSpc>
                    <a:spcBef>
                      <a:spcPct val="20000"/>
                    </a:spcBef>
                    <a:buSzPct val="80000"/>
                    <a:defRPr/>
                  </a:pPr>
                  <a:r>
                    <a:rPr lang="en-US" sz="1224" b="1" kern="0" dirty="0">
                      <a:solidFill>
                        <a:schemeClr val="accent1"/>
                      </a:solidFill>
                      <a:cs typeface="Segoe UI Light" panose="020B0502040204020203" pitchFamily="34" charset="0"/>
                    </a:rPr>
                    <a:t>Brute force attacks</a:t>
                  </a:r>
                </a:p>
              </p:txBody>
            </p:sp>
            <p:cxnSp>
              <p:nvCxnSpPr>
                <p:cNvPr id="40" name="Straight Arrow Connector 39"/>
                <p:cNvCxnSpPr/>
                <p:nvPr/>
              </p:nvCxnSpPr>
              <p:spPr>
                <a:xfrm>
                  <a:off x="7140495" y="3581248"/>
                  <a:ext cx="579199" cy="537749"/>
                </a:xfrm>
                <a:prstGeom prst="straightConnector1">
                  <a:avLst/>
                </a:prstGeom>
                <a:ln w="28575" cap="rnd">
                  <a:solidFill>
                    <a:srgbClr val="FF0000"/>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9207446" y="3136872"/>
                  <a:ext cx="1491270" cy="439988"/>
                </a:xfrm>
                <a:prstGeom prst="rect">
                  <a:avLst/>
                </a:prstGeom>
              </p:spPr>
              <p:txBody>
                <a:bodyPr wrap="square">
                  <a:spAutoFit/>
                </a:bodyPr>
                <a:lstStyle/>
                <a:p>
                  <a:pPr algn="ctr" defTabSz="1242560">
                    <a:lnSpc>
                      <a:spcPct val="90000"/>
                    </a:lnSpc>
                    <a:spcBef>
                      <a:spcPct val="20000"/>
                    </a:spcBef>
                    <a:buSzPct val="80000"/>
                    <a:defRPr/>
                  </a:pPr>
                  <a:r>
                    <a:rPr lang="en-US" sz="1224" b="1" kern="0" dirty="0">
                      <a:solidFill>
                        <a:schemeClr val="accent1"/>
                      </a:solidFill>
                      <a:cs typeface="Segoe UI Light" panose="020B0502040204020203" pitchFamily="34" charset="0"/>
                    </a:rPr>
                    <a:t>Suspicious sign-in activities </a:t>
                  </a:r>
                </a:p>
              </p:txBody>
            </p:sp>
            <p:cxnSp>
              <p:nvCxnSpPr>
                <p:cNvPr id="42" name="Straight Arrow Connector 41"/>
                <p:cNvCxnSpPr/>
                <p:nvPr/>
              </p:nvCxnSpPr>
              <p:spPr>
                <a:xfrm flipH="1">
                  <a:off x="8936842" y="3559133"/>
                  <a:ext cx="682502" cy="557979"/>
                </a:xfrm>
                <a:prstGeom prst="straightConnector1">
                  <a:avLst/>
                </a:prstGeom>
                <a:ln w="28575" cap="rnd">
                  <a:solidFill>
                    <a:srgbClr val="FF0000"/>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43" name="Group 42"/>
                <p:cNvGrpSpPr>
                  <a:grpSpLocks noChangeAspect="1"/>
                </p:cNvGrpSpPr>
                <p:nvPr/>
              </p:nvGrpSpPr>
              <p:grpSpPr>
                <a:xfrm>
                  <a:off x="7539426" y="4040374"/>
                  <a:ext cx="3097994" cy="2332415"/>
                  <a:chOff x="9018350" y="5051823"/>
                  <a:chExt cx="1757311" cy="1323042"/>
                </a:xfrm>
              </p:grpSpPr>
              <p:grpSp>
                <p:nvGrpSpPr>
                  <p:cNvPr id="44" name="Group 43"/>
                  <p:cNvGrpSpPr/>
                  <p:nvPr/>
                </p:nvGrpSpPr>
                <p:grpSpPr>
                  <a:xfrm>
                    <a:off x="9018350" y="5403243"/>
                    <a:ext cx="1453722" cy="971622"/>
                    <a:chOff x="9992964" y="3433087"/>
                    <a:chExt cx="1362906" cy="1155729"/>
                  </a:xfrm>
                  <a:solidFill>
                    <a:schemeClr val="accent4"/>
                  </a:solidFill>
                  <a:effectLst>
                    <a:outerShdw blurRad="38100" dir="18900000" sy="23000" kx="-1200000" algn="bl" rotWithShape="0">
                      <a:prstClr val="black">
                        <a:alpha val="20000"/>
                      </a:prstClr>
                    </a:outerShdw>
                  </a:effectLst>
                </p:grpSpPr>
                <p:grpSp>
                  <p:nvGrpSpPr>
                    <p:cNvPr id="55" name="Group 54"/>
                    <p:cNvGrpSpPr/>
                    <p:nvPr/>
                  </p:nvGrpSpPr>
                  <p:grpSpPr>
                    <a:xfrm>
                      <a:off x="9992964" y="3433087"/>
                      <a:ext cx="1362906" cy="1155729"/>
                      <a:chOff x="9992964" y="3433087"/>
                      <a:chExt cx="1362906" cy="1155729"/>
                    </a:xfrm>
                    <a:grpFill/>
                  </p:grpSpPr>
                  <p:sp>
                    <p:nvSpPr>
                      <p:cNvPr id="74" name="Rectangle 73"/>
                      <p:cNvSpPr/>
                      <p:nvPr/>
                    </p:nvSpPr>
                    <p:spPr bwMode="auto">
                      <a:xfrm>
                        <a:off x="10046425" y="3468005"/>
                        <a:ext cx="1248025" cy="9370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solidFill>
                            <a:schemeClr val="tx1">
                              <a:lumMod val="75000"/>
                            </a:schemeClr>
                          </a:solidFill>
                          <a:latin typeface="Segoe UI"/>
                        </a:endParaRPr>
                      </a:p>
                    </p:txBody>
                  </p:sp>
                  <p:sp>
                    <p:nvSpPr>
                      <p:cNvPr id="75" name="Freeform 88"/>
                      <p:cNvSpPr>
                        <a:spLocks noEditPoints="1"/>
                      </p:cNvSpPr>
                      <p:nvPr/>
                    </p:nvSpPr>
                    <p:spPr bwMode="black">
                      <a:xfrm>
                        <a:off x="9992964" y="3433087"/>
                        <a:ext cx="1362906" cy="115572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3F5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grpSp>
                <p:grpSp>
                  <p:nvGrpSpPr>
                    <p:cNvPr id="56" name="Group 55"/>
                    <p:cNvGrpSpPr/>
                    <p:nvPr/>
                  </p:nvGrpSpPr>
                  <p:grpSpPr>
                    <a:xfrm>
                      <a:off x="10176274" y="3555592"/>
                      <a:ext cx="994831" cy="753658"/>
                      <a:chOff x="-1748541" y="1986635"/>
                      <a:chExt cx="1206735" cy="914192"/>
                    </a:xfrm>
                    <a:grpFill/>
                  </p:grpSpPr>
                  <p:sp>
                    <p:nvSpPr>
                      <p:cNvPr id="57" name="Rectangle 35"/>
                      <p:cNvSpPr>
                        <a:spLocks noChangeArrowheads="1"/>
                      </p:cNvSpPr>
                      <p:nvPr/>
                    </p:nvSpPr>
                    <p:spPr bwMode="auto">
                      <a:xfrm>
                        <a:off x="-1318870" y="2263178"/>
                        <a:ext cx="50281" cy="2148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58" name="Rectangle 36"/>
                      <p:cNvSpPr>
                        <a:spLocks noChangeArrowheads="1"/>
                      </p:cNvSpPr>
                      <p:nvPr/>
                    </p:nvSpPr>
                    <p:spPr bwMode="auto">
                      <a:xfrm>
                        <a:off x="-1538277" y="2564861"/>
                        <a:ext cx="253689"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59" name="Rectangle 37"/>
                      <p:cNvSpPr>
                        <a:spLocks noChangeArrowheads="1"/>
                      </p:cNvSpPr>
                      <p:nvPr/>
                    </p:nvSpPr>
                    <p:spPr bwMode="auto">
                      <a:xfrm>
                        <a:off x="-1602270" y="2564861"/>
                        <a:ext cx="41139"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60" name="Rectangle 38"/>
                      <p:cNvSpPr>
                        <a:spLocks noChangeArrowheads="1"/>
                      </p:cNvSpPr>
                      <p:nvPr/>
                    </p:nvSpPr>
                    <p:spPr bwMode="auto">
                      <a:xfrm>
                        <a:off x="-1538277" y="2647139"/>
                        <a:ext cx="274258"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61" name="Rectangle 39"/>
                      <p:cNvSpPr>
                        <a:spLocks noChangeArrowheads="1"/>
                      </p:cNvSpPr>
                      <p:nvPr/>
                    </p:nvSpPr>
                    <p:spPr bwMode="auto">
                      <a:xfrm>
                        <a:off x="-1602270" y="2647139"/>
                        <a:ext cx="41139"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62" name="Rectangle 40"/>
                      <p:cNvSpPr>
                        <a:spLocks noChangeArrowheads="1"/>
                      </p:cNvSpPr>
                      <p:nvPr/>
                    </p:nvSpPr>
                    <p:spPr bwMode="auto">
                      <a:xfrm>
                        <a:off x="-1538277" y="2724845"/>
                        <a:ext cx="203408"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63" name="Rectangle 41"/>
                      <p:cNvSpPr>
                        <a:spLocks noChangeArrowheads="1"/>
                      </p:cNvSpPr>
                      <p:nvPr/>
                    </p:nvSpPr>
                    <p:spPr bwMode="auto">
                      <a:xfrm>
                        <a:off x="-1602270" y="2724845"/>
                        <a:ext cx="41139"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64" name="Rectangle 42"/>
                      <p:cNvSpPr>
                        <a:spLocks noChangeArrowheads="1"/>
                      </p:cNvSpPr>
                      <p:nvPr/>
                    </p:nvSpPr>
                    <p:spPr bwMode="auto">
                      <a:xfrm>
                        <a:off x="-1389720" y="2423162"/>
                        <a:ext cx="50281" cy="548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65" name="Rectangle 43"/>
                      <p:cNvSpPr>
                        <a:spLocks noChangeArrowheads="1"/>
                      </p:cNvSpPr>
                      <p:nvPr/>
                    </p:nvSpPr>
                    <p:spPr bwMode="auto">
                      <a:xfrm>
                        <a:off x="-1460570" y="2329457"/>
                        <a:ext cx="50281" cy="14855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66" name="Rectangle 44"/>
                      <p:cNvSpPr>
                        <a:spLocks noChangeArrowheads="1"/>
                      </p:cNvSpPr>
                      <p:nvPr/>
                    </p:nvSpPr>
                    <p:spPr bwMode="auto">
                      <a:xfrm>
                        <a:off x="-1533706" y="2290604"/>
                        <a:ext cx="50281" cy="1874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67" name="Rectangle 45"/>
                      <p:cNvSpPr>
                        <a:spLocks noChangeArrowheads="1"/>
                      </p:cNvSpPr>
                      <p:nvPr/>
                    </p:nvSpPr>
                    <p:spPr bwMode="auto">
                      <a:xfrm>
                        <a:off x="-1604556" y="2361454"/>
                        <a:ext cx="50281" cy="11655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68"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69"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70"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71" name="Rectangle 49"/>
                      <p:cNvSpPr>
                        <a:spLocks noChangeArrowheads="1"/>
                      </p:cNvSpPr>
                      <p:nvPr/>
                    </p:nvSpPr>
                    <p:spPr bwMode="auto">
                      <a:xfrm>
                        <a:off x="-715598" y="2036820"/>
                        <a:ext cx="38853"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72"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sp>
                    <p:nvSpPr>
                      <p:cNvPr id="73"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836" kern="0" dirty="0">
                          <a:solidFill>
                            <a:schemeClr val="tx1">
                              <a:lumMod val="75000"/>
                            </a:schemeClr>
                          </a:solidFill>
                          <a:latin typeface="Segoe UI"/>
                        </a:endParaRPr>
                      </a:p>
                    </p:txBody>
                  </p:sp>
                </p:grpSp>
              </p:grpSp>
              <p:pic>
                <p:nvPicPr>
                  <p:cNvPr id="45" name="Picture 4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082109" y="5451249"/>
                    <a:ext cx="1344211" cy="756558"/>
                  </a:xfrm>
                  <a:prstGeom prst="rect">
                    <a:avLst/>
                  </a:prstGeom>
                  <a:ln>
                    <a:noFill/>
                  </a:ln>
                </p:spPr>
              </p:pic>
              <p:sp>
                <p:nvSpPr>
                  <p:cNvPr id="46" name="Oval 31"/>
                  <p:cNvSpPr>
                    <a:spLocks noChangeArrowheads="1"/>
                  </p:cNvSpPr>
                  <p:nvPr/>
                </p:nvSpPr>
                <p:spPr bwMode="auto">
                  <a:xfrm rot="3268358">
                    <a:off x="9991957" y="5065598"/>
                    <a:ext cx="688139" cy="687056"/>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a:solidFill>
                        <a:schemeClr val="tx1">
                          <a:lumMod val="75000"/>
                        </a:schemeClr>
                      </a:solidFill>
                      <a:latin typeface="Segoe UI"/>
                    </a:endParaRPr>
                  </a:p>
                </p:txBody>
              </p:sp>
              <p:sp>
                <p:nvSpPr>
                  <p:cNvPr id="47" name="Oval 32"/>
                  <p:cNvSpPr>
                    <a:spLocks noChangeArrowheads="1"/>
                  </p:cNvSpPr>
                  <p:nvPr/>
                </p:nvSpPr>
                <p:spPr bwMode="auto">
                  <a:xfrm rot="3268358">
                    <a:off x="10024423" y="5098089"/>
                    <a:ext cx="623710" cy="623710"/>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a:solidFill>
                        <a:schemeClr val="tx1">
                          <a:lumMod val="75000"/>
                        </a:schemeClr>
                      </a:solidFill>
                      <a:latin typeface="Segoe UI"/>
                    </a:endParaRPr>
                  </a:p>
                </p:txBody>
              </p:sp>
              <p:grpSp>
                <p:nvGrpSpPr>
                  <p:cNvPr id="48" name="Group 47"/>
                  <p:cNvGrpSpPr/>
                  <p:nvPr/>
                </p:nvGrpSpPr>
                <p:grpSpPr>
                  <a:xfrm>
                    <a:off x="10026914" y="5051823"/>
                    <a:ext cx="748747" cy="903475"/>
                    <a:chOff x="10905200" y="5051823"/>
                    <a:chExt cx="748747" cy="903475"/>
                  </a:xfrm>
                </p:grpSpPr>
                <p:sp>
                  <p:nvSpPr>
                    <p:cNvPr id="49" name="Rectangle 29"/>
                    <p:cNvSpPr>
                      <a:spLocks noChangeArrowheads="1"/>
                    </p:cNvSpPr>
                    <p:nvPr/>
                  </p:nvSpPr>
                  <p:spPr bwMode="auto">
                    <a:xfrm rot="3268358">
                      <a:off x="11377083" y="5660945"/>
                      <a:ext cx="65511" cy="9528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a:solidFill>
                          <a:schemeClr val="tx1">
                            <a:lumMod val="75000"/>
                          </a:schemeClr>
                        </a:solidFill>
                        <a:latin typeface="Segoe UI"/>
                      </a:endParaRPr>
                    </a:p>
                  </p:txBody>
                </p:sp>
                <p:sp>
                  <p:nvSpPr>
                    <p:cNvPr id="50" name="Rectangle 30"/>
                    <p:cNvSpPr>
                      <a:spLocks noChangeArrowheads="1"/>
                    </p:cNvSpPr>
                    <p:nvPr/>
                  </p:nvSpPr>
                  <p:spPr bwMode="auto">
                    <a:xfrm rot="3268358">
                      <a:off x="11407514" y="5800623"/>
                      <a:ext cx="204113" cy="9528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a:solidFill>
                          <a:schemeClr val="tx1">
                            <a:lumMod val="75000"/>
                          </a:schemeClr>
                        </a:solidFill>
                        <a:latin typeface="Segoe UI"/>
                      </a:endParaRPr>
                    </a:p>
                  </p:txBody>
                </p:sp>
                <p:sp>
                  <p:nvSpPr>
                    <p:cNvPr id="51" name="Freeform 33"/>
                    <p:cNvSpPr>
                      <a:spLocks/>
                    </p:cNvSpPr>
                    <p:nvPr/>
                  </p:nvSpPr>
                  <p:spPr bwMode="auto">
                    <a:xfrm rot="3268358">
                      <a:off x="11418667" y="5669532"/>
                      <a:ext cx="48727" cy="171087"/>
                    </a:xfrm>
                    <a:custGeom>
                      <a:avLst/>
                      <a:gdLst>
                        <a:gd name="T0" fmla="*/ 0 w 45"/>
                        <a:gd name="T1" fmla="*/ 23 h 157"/>
                        <a:gd name="T2" fmla="*/ 0 w 45"/>
                        <a:gd name="T3" fmla="*/ 134 h 157"/>
                        <a:gd name="T4" fmla="*/ 22 w 45"/>
                        <a:gd name="T5" fmla="*/ 157 h 157"/>
                        <a:gd name="T6" fmla="*/ 45 w 45"/>
                        <a:gd name="T7" fmla="*/ 134 h 157"/>
                        <a:gd name="T8" fmla="*/ 45 w 45"/>
                        <a:gd name="T9" fmla="*/ 23 h 157"/>
                        <a:gd name="T10" fmla="*/ 22 w 45"/>
                        <a:gd name="T11" fmla="*/ 0 h 157"/>
                        <a:gd name="T12" fmla="*/ 0 w 45"/>
                        <a:gd name="T13" fmla="*/ 23 h 157"/>
                      </a:gdLst>
                      <a:ahLst/>
                      <a:cxnLst>
                        <a:cxn ang="0">
                          <a:pos x="T0" y="T1"/>
                        </a:cxn>
                        <a:cxn ang="0">
                          <a:pos x="T2" y="T3"/>
                        </a:cxn>
                        <a:cxn ang="0">
                          <a:pos x="T4" y="T5"/>
                        </a:cxn>
                        <a:cxn ang="0">
                          <a:pos x="T6" y="T7"/>
                        </a:cxn>
                        <a:cxn ang="0">
                          <a:pos x="T8" y="T9"/>
                        </a:cxn>
                        <a:cxn ang="0">
                          <a:pos x="T10" y="T11"/>
                        </a:cxn>
                        <a:cxn ang="0">
                          <a:pos x="T12" y="T13"/>
                        </a:cxn>
                      </a:cxnLst>
                      <a:rect l="0" t="0" r="r" b="b"/>
                      <a:pathLst>
                        <a:path w="45" h="157">
                          <a:moveTo>
                            <a:pt x="0" y="23"/>
                          </a:moveTo>
                          <a:cubicBezTo>
                            <a:pt x="0" y="134"/>
                            <a:pt x="0" y="134"/>
                            <a:pt x="0" y="134"/>
                          </a:cubicBezTo>
                          <a:cubicBezTo>
                            <a:pt x="0" y="146"/>
                            <a:pt x="10" y="157"/>
                            <a:pt x="22" y="157"/>
                          </a:cubicBezTo>
                          <a:cubicBezTo>
                            <a:pt x="35" y="157"/>
                            <a:pt x="45" y="146"/>
                            <a:pt x="45" y="134"/>
                          </a:cubicBezTo>
                          <a:cubicBezTo>
                            <a:pt x="45" y="23"/>
                            <a:pt x="45" y="23"/>
                            <a:pt x="45" y="23"/>
                          </a:cubicBezTo>
                          <a:cubicBezTo>
                            <a:pt x="45" y="10"/>
                            <a:pt x="35" y="0"/>
                            <a:pt x="22" y="0"/>
                          </a:cubicBezTo>
                          <a:cubicBezTo>
                            <a:pt x="10" y="0"/>
                            <a:pt x="0" y="10"/>
                            <a:pt x="0" y="2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a:solidFill>
                          <a:schemeClr val="tx1">
                            <a:lumMod val="75000"/>
                          </a:schemeClr>
                        </a:solidFill>
                        <a:latin typeface="Segoe UI"/>
                      </a:endParaRPr>
                    </a:p>
                  </p:txBody>
                </p:sp>
                <p:sp>
                  <p:nvSpPr>
                    <p:cNvPr id="52" name="Freeform 34"/>
                    <p:cNvSpPr>
                      <a:spLocks/>
                    </p:cNvSpPr>
                    <p:nvPr/>
                  </p:nvSpPr>
                  <p:spPr bwMode="auto">
                    <a:xfrm rot="3268358">
                      <a:off x="11543769" y="5845120"/>
                      <a:ext cx="49269" cy="171087"/>
                    </a:xfrm>
                    <a:custGeom>
                      <a:avLst/>
                      <a:gdLst>
                        <a:gd name="T0" fmla="*/ 0 w 45"/>
                        <a:gd name="T1" fmla="*/ 23 h 157"/>
                        <a:gd name="T2" fmla="*/ 0 w 45"/>
                        <a:gd name="T3" fmla="*/ 134 h 157"/>
                        <a:gd name="T4" fmla="*/ 23 w 45"/>
                        <a:gd name="T5" fmla="*/ 157 h 157"/>
                        <a:gd name="T6" fmla="*/ 45 w 45"/>
                        <a:gd name="T7" fmla="*/ 134 h 157"/>
                        <a:gd name="T8" fmla="*/ 45 w 45"/>
                        <a:gd name="T9" fmla="*/ 23 h 157"/>
                        <a:gd name="T10" fmla="*/ 23 w 45"/>
                        <a:gd name="T11" fmla="*/ 0 h 157"/>
                        <a:gd name="T12" fmla="*/ 0 w 45"/>
                        <a:gd name="T13" fmla="*/ 23 h 157"/>
                      </a:gdLst>
                      <a:ahLst/>
                      <a:cxnLst>
                        <a:cxn ang="0">
                          <a:pos x="T0" y="T1"/>
                        </a:cxn>
                        <a:cxn ang="0">
                          <a:pos x="T2" y="T3"/>
                        </a:cxn>
                        <a:cxn ang="0">
                          <a:pos x="T4" y="T5"/>
                        </a:cxn>
                        <a:cxn ang="0">
                          <a:pos x="T6" y="T7"/>
                        </a:cxn>
                        <a:cxn ang="0">
                          <a:pos x="T8" y="T9"/>
                        </a:cxn>
                        <a:cxn ang="0">
                          <a:pos x="T10" y="T11"/>
                        </a:cxn>
                        <a:cxn ang="0">
                          <a:pos x="T12" y="T13"/>
                        </a:cxn>
                      </a:cxnLst>
                      <a:rect l="0" t="0" r="r" b="b"/>
                      <a:pathLst>
                        <a:path w="45" h="157">
                          <a:moveTo>
                            <a:pt x="0" y="23"/>
                          </a:moveTo>
                          <a:cubicBezTo>
                            <a:pt x="0" y="134"/>
                            <a:pt x="0" y="134"/>
                            <a:pt x="0" y="134"/>
                          </a:cubicBezTo>
                          <a:cubicBezTo>
                            <a:pt x="0" y="146"/>
                            <a:pt x="10" y="157"/>
                            <a:pt x="23" y="157"/>
                          </a:cubicBezTo>
                          <a:cubicBezTo>
                            <a:pt x="35" y="157"/>
                            <a:pt x="45" y="146"/>
                            <a:pt x="45" y="134"/>
                          </a:cubicBezTo>
                          <a:cubicBezTo>
                            <a:pt x="45" y="23"/>
                            <a:pt x="45" y="23"/>
                            <a:pt x="45" y="23"/>
                          </a:cubicBezTo>
                          <a:cubicBezTo>
                            <a:pt x="45" y="10"/>
                            <a:pt x="35" y="0"/>
                            <a:pt x="23" y="0"/>
                          </a:cubicBezTo>
                          <a:cubicBezTo>
                            <a:pt x="10" y="0"/>
                            <a:pt x="0" y="10"/>
                            <a:pt x="0" y="2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a:solidFill>
                          <a:schemeClr val="tx1">
                            <a:lumMod val="75000"/>
                          </a:schemeClr>
                        </a:solidFill>
                        <a:latin typeface="Segoe UI"/>
                      </a:endParaRPr>
                    </a:p>
                  </p:txBody>
                </p:sp>
                <p:pic>
                  <p:nvPicPr>
                    <p:cNvPr id="53" name="Picture 52"/>
                    <p:cNvPicPr>
                      <a:picLocks noChangeAspect="1"/>
                    </p:cNvPicPr>
                    <p:nvPr/>
                  </p:nvPicPr>
                  <p:blipFill rotWithShape="1">
                    <a:blip r:embed="rId4" cstate="screen">
                      <a:extLst>
                        <a:ext uri="{28A0092B-C50C-407E-A947-70E740481C1C}">
                          <a14:useLocalDpi xmlns:a14="http://schemas.microsoft.com/office/drawing/2010/main"/>
                        </a:ext>
                      </a:extLst>
                    </a:blip>
                    <a:srcRect t="-297"/>
                    <a:stretch/>
                  </p:blipFill>
                  <p:spPr>
                    <a:xfrm>
                      <a:off x="10905200" y="5092844"/>
                      <a:ext cx="623708" cy="623708"/>
                    </a:xfrm>
                    <a:prstGeom prst="ellipse">
                      <a:avLst/>
                    </a:prstGeom>
                    <a:ln>
                      <a:noFill/>
                    </a:ln>
                  </p:spPr>
                </p:pic>
                <p:sp>
                  <p:nvSpPr>
                    <p:cNvPr id="54" name="Freeform 53"/>
                    <p:cNvSpPr>
                      <a:spLocks/>
                    </p:cNvSpPr>
                    <p:nvPr/>
                  </p:nvSpPr>
                  <p:spPr bwMode="auto">
                    <a:xfrm rot="3268358">
                      <a:off x="11088363" y="5209375"/>
                      <a:ext cx="520300" cy="205195"/>
                    </a:xfrm>
                    <a:custGeom>
                      <a:avLst/>
                      <a:gdLst>
                        <a:gd name="connsiteX0" fmla="*/ 45336 w 520300"/>
                        <a:gd name="connsiteY0" fmla="*/ 108738 h 205195"/>
                        <a:gd name="connsiteX1" fmla="*/ 80805 w 520300"/>
                        <a:gd name="connsiteY1" fmla="*/ 69705 h 205195"/>
                        <a:gd name="connsiteX2" fmla="*/ 123442 w 520300"/>
                        <a:gd name="connsiteY2" fmla="*/ 38439 h 205195"/>
                        <a:gd name="connsiteX3" fmla="*/ 123442 w 520300"/>
                        <a:gd name="connsiteY3" fmla="*/ 38208 h 205195"/>
                        <a:gd name="connsiteX4" fmla="*/ 174003 w 520300"/>
                        <a:gd name="connsiteY4" fmla="*/ 13912 h 205195"/>
                        <a:gd name="connsiteX5" fmla="*/ 230101 w 520300"/>
                        <a:gd name="connsiteY5" fmla="*/ 1124 h 205195"/>
                        <a:gd name="connsiteX6" fmla="*/ 230102 w 520300"/>
                        <a:gd name="connsiteY6" fmla="*/ 1095 h 205195"/>
                        <a:gd name="connsiteX7" fmla="*/ 230251 w 520300"/>
                        <a:gd name="connsiteY7" fmla="*/ 1090 h 205195"/>
                        <a:gd name="connsiteX8" fmla="*/ 230289 w 520300"/>
                        <a:gd name="connsiteY8" fmla="*/ 1081 h 205195"/>
                        <a:gd name="connsiteX9" fmla="*/ 230289 w 520300"/>
                        <a:gd name="connsiteY9" fmla="*/ 1088 h 205195"/>
                        <a:gd name="connsiteX10" fmla="*/ 261723 w 520300"/>
                        <a:gd name="connsiteY10" fmla="*/ 0 h 205195"/>
                        <a:gd name="connsiteX11" fmla="*/ 423492 w 520300"/>
                        <a:gd name="connsiteY11" fmla="*/ 54537 h 205195"/>
                        <a:gd name="connsiteX12" fmla="*/ 464198 w 520300"/>
                        <a:gd name="connsiteY12" fmla="*/ 92806 h 205195"/>
                        <a:gd name="connsiteX13" fmla="*/ 464696 w 520300"/>
                        <a:gd name="connsiteY13" fmla="*/ 92806 h 205195"/>
                        <a:gd name="connsiteX14" fmla="*/ 520300 w 520300"/>
                        <a:gd name="connsiteY14" fmla="*/ 195449 h 205195"/>
                        <a:gd name="connsiteX15" fmla="*/ 507216 w 520300"/>
                        <a:gd name="connsiteY15" fmla="*/ 195450 h 205195"/>
                        <a:gd name="connsiteX16" fmla="*/ 261906 w 520300"/>
                        <a:gd name="connsiteY16" fmla="*/ 128840 h 205195"/>
                        <a:gd name="connsiteX17" fmla="*/ 190221 w 520300"/>
                        <a:gd name="connsiteY17" fmla="*/ 133617 h 205195"/>
                        <a:gd name="connsiteX18" fmla="*/ 123443 w 520300"/>
                        <a:gd name="connsiteY18" fmla="*/ 147404 h 205195"/>
                        <a:gd name="connsiteX19" fmla="*/ 123443 w 520300"/>
                        <a:gd name="connsiteY19" fmla="*/ 147429 h 205195"/>
                        <a:gd name="connsiteX20" fmla="*/ 0 w 520300"/>
                        <a:gd name="connsiteY20" fmla="*/ 205195 h 205195"/>
                        <a:gd name="connsiteX21" fmla="*/ 45336 w 520300"/>
                        <a:gd name="connsiteY21" fmla="*/ 108738 h 20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0300" h="205195">
                          <a:moveTo>
                            <a:pt x="45336" y="108738"/>
                          </a:moveTo>
                          <a:cubicBezTo>
                            <a:pt x="55850" y="94569"/>
                            <a:pt x="67730" y="81491"/>
                            <a:pt x="80805" y="69705"/>
                          </a:cubicBezTo>
                          <a:lnTo>
                            <a:pt x="123442" y="38439"/>
                          </a:lnTo>
                          <a:lnTo>
                            <a:pt x="123442" y="38208"/>
                          </a:lnTo>
                          <a:cubicBezTo>
                            <a:pt x="139252" y="28380"/>
                            <a:pt x="156150" y="20191"/>
                            <a:pt x="174003" y="13912"/>
                          </a:cubicBezTo>
                          <a:lnTo>
                            <a:pt x="230101" y="1124"/>
                          </a:lnTo>
                          <a:lnTo>
                            <a:pt x="230102" y="1095"/>
                          </a:lnTo>
                          <a:lnTo>
                            <a:pt x="230251" y="1090"/>
                          </a:lnTo>
                          <a:lnTo>
                            <a:pt x="230289" y="1081"/>
                          </a:lnTo>
                          <a:lnTo>
                            <a:pt x="230289" y="1088"/>
                          </a:lnTo>
                          <a:lnTo>
                            <a:pt x="261723" y="0"/>
                          </a:lnTo>
                          <a:cubicBezTo>
                            <a:pt x="322239" y="-1"/>
                            <a:pt x="378462" y="20336"/>
                            <a:pt x="423492" y="54537"/>
                          </a:cubicBezTo>
                          <a:lnTo>
                            <a:pt x="464198" y="92806"/>
                          </a:lnTo>
                          <a:lnTo>
                            <a:pt x="464696" y="92806"/>
                          </a:lnTo>
                          <a:cubicBezTo>
                            <a:pt x="489773" y="122288"/>
                            <a:pt x="509397" y="157231"/>
                            <a:pt x="520300" y="195449"/>
                          </a:cubicBezTo>
                          <a:cubicBezTo>
                            <a:pt x="520300" y="195449"/>
                            <a:pt x="520300" y="195449"/>
                            <a:pt x="507216" y="195450"/>
                          </a:cubicBezTo>
                          <a:cubicBezTo>
                            <a:pt x="442891" y="153955"/>
                            <a:pt x="356760" y="128840"/>
                            <a:pt x="261906" y="128840"/>
                          </a:cubicBezTo>
                          <a:cubicBezTo>
                            <a:pt x="237376" y="128840"/>
                            <a:pt x="213390" y="130478"/>
                            <a:pt x="190221" y="133617"/>
                          </a:cubicBezTo>
                          <a:lnTo>
                            <a:pt x="123443" y="147404"/>
                          </a:lnTo>
                          <a:lnTo>
                            <a:pt x="123443" y="147429"/>
                          </a:lnTo>
                          <a:cubicBezTo>
                            <a:pt x="76469" y="160509"/>
                            <a:pt x="34957" y="180127"/>
                            <a:pt x="0" y="205195"/>
                          </a:cubicBezTo>
                          <a:cubicBezTo>
                            <a:pt x="8740" y="169773"/>
                            <a:pt x="24307" y="137076"/>
                            <a:pt x="45336" y="108738"/>
                          </a:cubicBezTo>
                          <a:close/>
                        </a:path>
                      </a:pathLst>
                    </a:custGeom>
                    <a:solidFill>
                      <a:srgbClr val="FAFAFA">
                        <a:alpha val="51000"/>
                      </a:srgbClr>
                    </a:solidFill>
                    <a:ln>
                      <a:noFill/>
                    </a:ln>
                    <a:extLst/>
                  </p:spPr>
                  <p:txBody>
                    <a:bodyPr vert="horz" wrap="square" lIns="91414" tIns="45706" rIns="91414" bIns="45706" numCol="1" anchor="t" anchorCtr="0" compatLnSpc="1">
                      <a:prstTxWarp prst="textNoShape">
                        <a:avLst/>
                      </a:prstTxWarp>
                      <a:noAutofit/>
                    </a:bodyPr>
                    <a:lstStyle/>
                    <a:p>
                      <a:pPr defTabSz="932384">
                        <a:defRPr/>
                      </a:pPr>
                      <a:endParaRPr lang="en-US" kern="0">
                        <a:solidFill>
                          <a:schemeClr val="tx1">
                            <a:lumMod val="75000"/>
                          </a:schemeClr>
                        </a:solidFill>
                        <a:latin typeface="Segoe UI"/>
                      </a:endParaRPr>
                    </a:p>
                  </p:txBody>
                </p:sp>
              </p:grpSp>
            </p:grpSp>
            <p:grpSp>
              <p:nvGrpSpPr>
                <p:cNvPr id="76" name="Group 75"/>
                <p:cNvGrpSpPr/>
                <p:nvPr/>
              </p:nvGrpSpPr>
              <p:grpSpPr>
                <a:xfrm>
                  <a:off x="7035467" y="5743428"/>
                  <a:ext cx="785799" cy="1072672"/>
                  <a:chOff x="4760555" y="1572882"/>
                  <a:chExt cx="982021" cy="1386883"/>
                </a:xfrm>
              </p:grpSpPr>
              <p:grpSp>
                <p:nvGrpSpPr>
                  <p:cNvPr id="77" name="Group 76"/>
                  <p:cNvGrpSpPr/>
                  <p:nvPr/>
                </p:nvGrpSpPr>
                <p:grpSpPr>
                  <a:xfrm>
                    <a:off x="4870242" y="1761650"/>
                    <a:ext cx="762645" cy="1126394"/>
                    <a:chOff x="4870242" y="1761650"/>
                    <a:chExt cx="762645" cy="1126394"/>
                  </a:xfrm>
                </p:grpSpPr>
                <p:sp>
                  <p:nvSpPr>
                    <p:cNvPr id="86" name="Rounded Rectangle 85"/>
                    <p:cNvSpPr/>
                    <p:nvPr/>
                  </p:nvSpPr>
                  <p:spPr bwMode="auto">
                    <a:xfrm rot="5400000">
                      <a:off x="4688368" y="1943524"/>
                      <a:ext cx="1126394" cy="762645"/>
                    </a:xfrm>
                    <a:prstGeom prst="roundRect">
                      <a:avLst>
                        <a:gd name="adj"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solidFill>
                          <a:schemeClr val="tx1">
                            <a:lumMod val="75000"/>
                          </a:schemeClr>
                        </a:solidFill>
                        <a:latin typeface="Segoe UI"/>
                        <a:ea typeface="Segoe UI" pitchFamily="34" charset="0"/>
                        <a:cs typeface="Segoe UI" pitchFamily="34" charset="0"/>
                      </a:endParaRPr>
                    </a:p>
                  </p:txBody>
                </p:sp>
                <p:sp>
                  <p:nvSpPr>
                    <p:cNvPr id="87" name="Rounded Rectangle 86"/>
                    <p:cNvSpPr/>
                    <p:nvPr/>
                  </p:nvSpPr>
                  <p:spPr bwMode="auto">
                    <a:xfrm rot="5400000">
                      <a:off x="4828427" y="2101804"/>
                      <a:ext cx="846277" cy="473542"/>
                    </a:xfrm>
                    <a:prstGeom prst="roundRect">
                      <a:avLst>
                        <a:gd name="adj" fmla="val 500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solidFill>
                          <a:schemeClr val="tx1">
                            <a:lumMod val="75000"/>
                          </a:schemeClr>
                        </a:solidFill>
                        <a:latin typeface="Segoe UI"/>
                        <a:ea typeface="Segoe UI" pitchFamily="34" charset="0"/>
                        <a:cs typeface="Segoe UI" pitchFamily="34" charset="0"/>
                      </a:endParaRPr>
                    </a:p>
                  </p:txBody>
                </p:sp>
              </p:grpSp>
              <p:sp>
                <p:nvSpPr>
                  <p:cNvPr id="78" name="Rectangle 77"/>
                  <p:cNvSpPr/>
                  <p:nvPr/>
                </p:nvSpPr>
                <p:spPr bwMode="auto">
                  <a:xfrm>
                    <a:off x="4760555" y="2314234"/>
                    <a:ext cx="982021" cy="64476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solidFill>
                        <a:schemeClr val="tx1">
                          <a:lumMod val="75000"/>
                        </a:schemeClr>
                      </a:solidFill>
                      <a:latin typeface="Segoe UI"/>
                      <a:ea typeface="Segoe UI" pitchFamily="34" charset="0"/>
                      <a:cs typeface="Segoe UI" pitchFamily="34" charset="0"/>
                    </a:endParaRPr>
                  </a:p>
                </p:txBody>
              </p:sp>
              <p:grpSp>
                <p:nvGrpSpPr>
                  <p:cNvPr id="79" name="Group 78"/>
                  <p:cNvGrpSpPr/>
                  <p:nvPr/>
                </p:nvGrpSpPr>
                <p:grpSpPr>
                  <a:xfrm>
                    <a:off x="4760555" y="2314234"/>
                    <a:ext cx="982021" cy="644766"/>
                    <a:chOff x="5013702" y="1968649"/>
                    <a:chExt cx="982021" cy="1280618"/>
                  </a:xfrm>
                  <a:solidFill>
                    <a:schemeClr val="accent2"/>
                  </a:solidFill>
                </p:grpSpPr>
                <p:sp>
                  <p:nvSpPr>
                    <p:cNvPr id="82" name="Rectangle 81"/>
                    <p:cNvSpPr/>
                    <p:nvPr/>
                  </p:nvSpPr>
                  <p:spPr bwMode="auto">
                    <a:xfrm>
                      <a:off x="5013702" y="1968649"/>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solidFill>
                          <a:schemeClr val="tx1">
                            <a:lumMod val="75000"/>
                          </a:schemeClr>
                        </a:solidFill>
                        <a:latin typeface="Segoe UI"/>
                        <a:ea typeface="Segoe UI" pitchFamily="34" charset="0"/>
                        <a:cs typeface="Segoe UI" pitchFamily="34" charset="0"/>
                      </a:endParaRPr>
                    </a:p>
                  </p:txBody>
                </p:sp>
                <p:sp>
                  <p:nvSpPr>
                    <p:cNvPr id="83" name="Rectangle 82"/>
                    <p:cNvSpPr/>
                    <p:nvPr/>
                  </p:nvSpPr>
                  <p:spPr bwMode="auto">
                    <a:xfrm>
                      <a:off x="5013702" y="2295117"/>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solidFill>
                          <a:schemeClr val="tx1">
                            <a:lumMod val="75000"/>
                          </a:schemeClr>
                        </a:solidFill>
                        <a:latin typeface="Segoe UI"/>
                        <a:ea typeface="Segoe UI" pitchFamily="34" charset="0"/>
                        <a:cs typeface="Segoe UI" pitchFamily="34" charset="0"/>
                      </a:endParaRPr>
                    </a:p>
                  </p:txBody>
                </p:sp>
                <p:sp>
                  <p:nvSpPr>
                    <p:cNvPr id="84" name="Rectangle 83"/>
                    <p:cNvSpPr/>
                    <p:nvPr/>
                  </p:nvSpPr>
                  <p:spPr bwMode="auto">
                    <a:xfrm>
                      <a:off x="5013702" y="2621585"/>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solidFill>
                          <a:schemeClr val="tx1">
                            <a:lumMod val="75000"/>
                          </a:schemeClr>
                        </a:solidFill>
                        <a:latin typeface="Segoe UI"/>
                        <a:ea typeface="Segoe UI" pitchFamily="34" charset="0"/>
                        <a:cs typeface="Segoe UI" pitchFamily="34" charset="0"/>
                      </a:endParaRPr>
                    </a:p>
                  </p:txBody>
                </p:sp>
                <p:sp>
                  <p:nvSpPr>
                    <p:cNvPr id="85" name="Rectangle 84"/>
                    <p:cNvSpPr/>
                    <p:nvPr/>
                  </p:nvSpPr>
                  <p:spPr bwMode="auto">
                    <a:xfrm>
                      <a:off x="5013702" y="2948052"/>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solidFill>
                          <a:schemeClr val="tx1">
                            <a:lumMod val="75000"/>
                          </a:schemeClr>
                        </a:solidFill>
                        <a:latin typeface="Segoe UI"/>
                        <a:ea typeface="Segoe UI" pitchFamily="34" charset="0"/>
                        <a:cs typeface="Segoe UI" pitchFamily="34" charset="0"/>
                      </a:endParaRPr>
                    </a:p>
                  </p:txBody>
                </p:sp>
              </p:grpSp>
              <p:sp>
                <p:nvSpPr>
                  <p:cNvPr id="80" name="Isosceles Triangle 79"/>
                  <p:cNvSpPr/>
                  <p:nvPr/>
                </p:nvSpPr>
                <p:spPr bwMode="auto">
                  <a:xfrm flipV="1">
                    <a:off x="4760555" y="2314398"/>
                    <a:ext cx="798425" cy="645367"/>
                  </a:xfrm>
                  <a:prstGeom prst="triangle">
                    <a:avLst>
                      <a:gd name="adj" fmla="val 0"/>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solidFill>
                        <a:schemeClr val="tx1">
                          <a:lumMod val="75000"/>
                        </a:schemeClr>
                      </a:solidFill>
                      <a:latin typeface="Segoe UI"/>
                      <a:ea typeface="Segoe UI" pitchFamily="34" charset="0"/>
                      <a:cs typeface="Segoe UI" pitchFamily="34" charset="0"/>
                    </a:endParaRPr>
                  </a:p>
                </p:txBody>
              </p:sp>
              <p:sp>
                <p:nvSpPr>
                  <p:cNvPr id="81" name="Isosceles Triangle 80"/>
                  <p:cNvSpPr/>
                  <p:nvPr/>
                </p:nvSpPr>
                <p:spPr bwMode="auto">
                  <a:xfrm flipV="1">
                    <a:off x="4870242" y="1572882"/>
                    <a:ext cx="798425" cy="645367"/>
                  </a:xfrm>
                  <a:prstGeom prst="triangle">
                    <a:avLst>
                      <a:gd name="adj" fmla="val 0"/>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solidFill>
                        <a:schemeClr val="tx1">
                          <a:lumMod val="75000"/>
                        </a:schemeClr>
                      </a:solidFill>
                      <a:latin typeface="Segoe UI"/>
                      <a:ea typeface="Segoe UI" pitchFamily="34" charset="0"/>
                      <a:cs typeface="Segoe UI" pitchFamily="34" charset="0"/>
                    </a:endParaRPr>
                  </a:p>
                </p:txBody>
              </p:sp>
            </p:grpSp>
            <p:sp>
              <p:nvSpPr>
                <p:cNvPr id="88" name="Rectangle 87"/>
                <p:cNvSpPr/>
                <p:nvPr/>
              </p:nvSpPr>
              <p:spPr bwMode="auto">
                <a:xfrm>
                  <a:off x="10947833" y="3513773"/>
                  <a:ext cx="1334731" cy="1682641"/>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dirty="0">
                    <a:solidFill>
                      <a:schemeClr val="tx1">
                        <a:lumMod val="75000"/>
                      </a:schemeClr>
                    </a:solidFill>
                  </a:endParaRPr>
                </a:p>
              </p:txBody>
            </p:sp>
          </p:grpSp>
        </p:grpSp>
      </p:grpSp>
      <p:sp>
        <p:nvSpPr>
          <p:cNvPr id="92" name="Title 2"/>
          <p:cNvSpPr>
            <a:spLocks noGrp="1"/>
          </p:cNvSpPr>
          <p:nvPr>
            <p:ph type="title"/>
          </p:nvPr>
        </p:nvSpPr>
        <p:spPr>
          <a:xfrm>
            <a:off x="366169" y="295278"/>
            <a:ext cx="11702551" cy="917575"/>
          </a:xfrm>
        </p:spPr>
        <p:txBody>
          <a:bodyPr/>
          <a:lstStyle/>
          <a:p>
            <a:pPr lvl="0"/>
            <a:r>
              <a:rPr lang="en-US" dirty="0">
                <a:solidFill>
                  <a:schemeClr val="tx1"/>
                </a:solidFill>
              </a:rPr>
              <a:t>Azure Active Directory Identity Protection</a:t>
            </a:r>
          </a:p>
        </p:txBody>
      </p:sp>
      <p:sp>
        <p:nvSpPr>
          <p:cNvPr id="2" name="Rectangle 1"/>
          <p:cNvSpPr/>
          <p:nvPr/>
        </p:nvSpPr>
        <p:spPr>
          <a:xfrm>
            <a:off x="435725" y="1075935"/>
            <a:ext cx="11796407" cy="1015663"/>
          </a:xfrm>
          <a:prstGeom prst="rect">
            <a:avLst/>
          </a:prstGeom>
        </p:spPr>
        <p:txBody>
          <a:bodyPr wrap="square">
            <a:spAutoFit/>
          </a:bodyPr>
          <a:lstStyle/>
          <a:p>
            <a:pPr defTabSz="932597">
              <a:defRPr/>
            </a:pPr>
            <a:r>
              <a:rPr lang="en-US" sz="2000" kern="0" dirty="0">
                <a:solidFill>
                  <a:schemeClr val="tx2"/>
                </a:solidFill>
                <a:latin typeface="+mj-lt"/>
                <a:cs typeface="Segoe UI Light" panose="020B0502040204020203" pitchFamily="34" charset="0"/>
              </a:rPr>
              <a:t>Security service that provides a consolidated view into risk events and potential vulnerabilities affecting your organization’s identities. This service is based on an </a:t>
            </a:r>
            <a:r>
              <a:rPr lang="en-AU" sz="2000" kern="0" dirty="0">
                <a:solidFill>
                  <a:schemeClr val="tx2"/>
                </a:solidFill>
                <a:latin typeface="+mj-lt"/>
                <a:cs typeface="Segoe UI Light" panose="020B0502040204020203" pitchFamily="34" charset="0"/>
              </a:rPr>
              <a:t>adaptive machine learning algorithms and heuristics to detect anomalies and risk events that may indicate that an identity has been compromised</a:t>
            </a:r>
          </a:p>
        </p:txBody>
      </p:sp>
      <p:sp>
        <p:nvSpPr>
          <p:cNvPr id="3" name="Rectangle 2"/>
          <p:cNvSpPr/>
          <p:nvPr/>
        </p:nvSpPr>
        <p:spPr>
          <a:xfrm>
            <a:off x="335307" y="6524248"/>
            <a:ext cx="2233497" cy="369332"/>
          </a:xfrm>
          <a:prstGeom prst="rect">
            <a:avLst/>
          </a:prstGeom>
        </p:spPr>
        <p:txBody>
          <a:bodyPr wrap="none">
            <a:spAutoFit/>
          </a:bodyPr>
          <a:lstStyle/>
          <a:p>
            <a:r>
              <a:rPr lang="en-US" dirty="0">
                <a:hlinkClick r:id="rId5"/>
              </a:rPr>
              <a:t>aka.ms/azure/</a:t>
            </a:r>
            <a:r>
              <a:rPr lang="en-US" dirty="0" err="1">
                <a:hlinkClick r:id="rId5"/>
              </a:rPr>
              <a:t>aadip</a:t>
            </a:r>
            <a:r>
              <a:rPr lang="en-US" dirty="0"/>
              <a:t> </a:t>
            </a:r>
          </a:p>
        </p:txBody>
      </p:sp>
    </p:spTree>
    <p:extLst>
      <p:ext uri="{BB962C8B-B14F-4D97-AF65-F5344CB8AC3E}">
        <p14:creationId xmlns:p14="http://schemas.microsoft.com/office/powerpoint/2010/main" val="395672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66169" y="1212850"/>
            <a:ext cx="4502484" cy="5854920"/>
          </a:xfrm>
          <a:prstGeom prst="rect">
            <a:avLst/>
          </a:prstGeom>
          <a:noFill/>
        </p:spPr>
        <p:txBody>
          <a:bodyPr wrap="square" lIns="186521" tIns="149217" rIns="186521" bIns="149217" rtlCol="0">
            <a:spAutoFit/>
          </a:bodyPr>
          <a:lstStyle/>
          <a:p>
            <a:pPr defTabSz="951304">
              <a:lnSpc>
                <a:spcPct val="90000"/>
              </a:lnSpc>
              <a:spcAft>
                <a:spcPts val="612"/>
              </a:spcAft>
              <a:defRPr/>
            </a:pPr>
            <a:r>
              <a:rPr lang="en-US" sz="2000" kern="0" dirty="0">
                <a:solidFill>
                  <a:schemeClr val="tx2"/>
                </a:solidFill>
                <a:latin typeface="+mj-lt"/>
                <a:cs typeface="Segoe UI" panose="020B0502040204020203" pitchFamily="34" charset="0"/>
              </a:rPr>
              <a:t>Starting point for investigation</a:t>
            </a:r>
          </a:p>
          <a:p>
            <a:pPr defTabSz="951304">
              <a:lnSpc>
                <a:spcPct val="90000"/>
              </a:lnSpc>
              <a:spcAft>
                <a:spcPts val="612"/>
              </a:spcAft>
              <a:defRPr/>
            </a:pPr>
            <a:r>
              <a:rPr lang="en-US" sz="1600" kern="0" dirty="0">
                <a:solidFill>
                  <a:srgbClr val="504852"/>
                </a:solidFill>
                <a:latin typeface="Segoe UI" panose="020B0502040204020203" pitchFamily="34" charset="0"/>
                <a:cs typeface="Segoe UI" panose="020B0502040204020203" pitchFamily="34" charset="0"/>
              </a:rPr>
              <a:t>The process of reviewing the activities, logs, and other relevant information related to a risk event to decide whether remediation or mitigation steps are necessary.</a:t>
            </a:r>
          </a:p>
          <a:p>
            <a:pPr defTabSz="951304">
              <a:lnSpc>
                <a:spcPct val="90000"/>
              </a:lnSpc>
              <a:spcAft>
                <a:spcPts val="612"/>
              </a:spcAft>
              <a:defRPr/>
            </a:pPr>
            <a:endParaRPr lang="en-US" sz="1600" kern="0" dirty="0">
              <a:solidFill>
                <a:srgbClr val="504852"/>
              </a:solidFill>
              <a:latin typeface="Segoe UI" panose="020B0502040204020203" pitchFamily="34" charset="0"/>
              <a:cs typeface="Segoe UI" panose="020B0502040204020203" pitchFamily="34" charset="0"/>
            </a:endParaRPr>
          </a:p>
          <a:p>
            <a:pPr defTabSz="951304">
              <a:lnSpc>
                <a:spcPct val="90000"/>
              </a:lnSpc>
              <a:spcAft>
                <a:spcPts val="612"/>
              </a:spcAft>
              <a:defRPr/>
            </a:pPr>
            <a:r>
              <a:rPr lang="en-US" sz="2000" kern="0" dirty="0">
                <a:solidFill>
                  <a:schemeClr val="tx2"/>
                </a:solidFill>
                <a:cs typeface="Segoe UI" panose="020B0502040204020203" pitchFamily="34" charset="0"/>
              </a:rPr>
              <a:t>Gives access to:</a:t>
            </a:r>
          </a:p>
          <a:p>
            <a:pPr defTabSz="951304">
              <a:lnSpc>
                <a:spcPct val="90000"/>
              </a:lnSpc>
              <a:spcAft>
                <a:spcPts val="612"/>
              </a:spcAft>
              <a:defRPr/>
            </a:pPr>
            <a:r>
              <a:rPr lang="en-US" sz="1600" kern="0" dirty="0">
                <a:solidFill>
                  <a:schemeClr val="tx2"/>
                </a:solidFill>
                <a:cs typeface="Segoe UI" panose="020B0502040204020203" pitchFamily="34" charset="0"/>
              </a:rPr>
              <a:t>Reports</a:t>
            </a:r>
            <a:endParaRPr lang="en-US" b="1" kern="0" dirty="0">
              <a:solidFill>
                <a:schemeClr val="tx2"/>
              </a:solidFill>
              <a:cs typeface="Segoe UI" panose="020B0502040204020203" pitchFamily="34" charset="0"/>
            </a:endParaRPr>
          </a:p>
          <a:p>
            <a:pPr marL="285750" lvl="1" indent="-285750" defTabSz="932594">
              <a:lnSpc>
                <a:spcPct val="114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Users flagged for risk</a:t>
            </a:r>
          </a:p>
          <a:p>
            <a:pPr marL="285750" lvl="1" indent="-285750" defTabSz="932594">
              <a:lnSpc>
                <a:spcPct val="114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hlinkClick r:id="rId3"/>
              </a:rPr>
              <a:t>Risk events</a:t>
            </a:r>
            <a:endParaRPr lang="en-US" sz="1600" dirty="0">
              <a:gradFill>
                <a:gsLst>
                  <a:gs pos="1250">
                    <a:schemeClr val="tx1"/>
                  </a:gs>
                  <a:gs pos="100000">
                    <a:schemeClr val="tx1"/>
                  </a:gs>
                </a:gsLst>
                <a:lin ang="5400000" scaled="0"/>
              </a:gradFill>
            </a:endParaRPr>
          </a:p>
          <a:p>
            <a:pPr marL="285750" lvl="1" indent="-285750" defTabSz="932594">
              <a:lnSpc>
                <a:spcPct val="114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hlinkClick r:id="rId4"/>
              </a:rPr>
              <a:t>Vulnerabilities</a:t>
            </a:r>
            <a:endParaRPr lang="en-US" sz="1600" dirty="0">
              <a:gradFill>
                <a:gsLst>
                  <a:gs pos="1250">
                    <a:schemeClr val="tx1"/>
                  </a:gs>
                  <a:gs pos="100000">
                    <a:schemeClr val="tx1"/>
                  </a:gs>
                </a:gsLst>
                <a:lin ang="5400000" scaled="0"/>
              </a:gradFill>
            </a:endParaRPr>
          </a:p>
          <a:p>
            <a:pPr defTabSz="951304">
              <a:lnSpc>
                <a:spcPct val="90000"/>
              </a:lnSpc>
              <a:spcAft>
                <a:spcPts val="612"/>
              </a:spcAft>
              <a:defRPr/>
            </a:pPr>
            <a:r>
              <a:rPr lang="en-US" sz="1600" kern="0" dirty="0">
                <a:solidFill>
                  <a:schemeClr val="tx2"/>
                </a:solidFill>
                <a:cs typeface="Segoe UI" panose="020B0502040204020203" pitchFamily="34" charset="0"/>
              </a:rPr>
              <a:t>Settings, such as the configuration of: </a:t>
            </a:r>
          </a:p>
          <a:p>
            <a:pPr marL="130491" indent="-242475" defTabSz="932563">
              <a:lnSpc>
                <a:spcPct val="90000"/>
              </a:lnSpc>
              <a:spcAft>
                <a:spcPts val="612"/>
              </a:spcAft>
              <a:buClr>
                <a:schemeClr val="tx1"/>
              </a:buClr>
              <a:buSzPct val="90000"/>
              <a:buFont typeface="Arial" panose="020B0604020202020204" pitchFamily="34" charset="0"/>
              <a:buChar char="•"/>
              <a:defRPr/>
            </a:pPr>
            <a:r>
              <a:rPr lang="en-US" sz="1600" dirty="0">
                <a:gradFill>
                  <a:gsLst>
                    <a:gs pos="1250">
                      <a:schemeClr val="tx1"/>
                    </a:gs>
                    <a:gs pos="100000">
                      <a:schemeClr val="tx1"/>
                    </a:gs>
                  </a:gsLst>
                  <a:lin ang="5400000" scaled="0"/>
                </a:gradFill>
              </a:rPr>
              <a:t>Security policies</a:t>
            </a:r>
          </a:p>
          <a:p>
            <a:pPr marL="596789" lvl="1" indent="-242475" defTabSz="932563">
              <a:lnSpc>
                <a:spcPct val="90000"/>
              </a:lnSpc>
              <a:spcAft>
                <a:spcPts val="612"/>
              </a:spcAft>
              <a:buClr>
                <a:schemeClr val="tx1"/>
              </a:buClr>
              <a:buSzPct val="90000"/>
              <a:buFont typeface="Arial" panose="020B0604020202020204" pitchFamily="34" charset="0"/>
              <a:buChar char="•"/>
              <a:defRPr/>
            </a:pPr>
            <a:r>
              <a:rPr lang="en-US" sz="1600" dirty="0">
                <a:gradFill>
                  <a:gsLst>
                    <a:gs pos="1250">
                      <a:schemeClr val="tx1"/>
                    </a:gs>
                    <a:gs pos="100000">
                      <a:schemeClr val="tx1"/>
                    </a:gs>
                  </a:gsLst>
                  <a:lin ang="5400000" scaled="0"/>
                </a:gradFill>
                <a:hlinkClick r:id="rId5"/>
              </a:rPr>
              <a:t>User Risk Policy</a:t>
            </a:r>
            <a:endParaRPr lang="en-US" sz="1600" dirty="0">
              <a:gradFill>
                <a:gsLst>
                  <a:gs pos="1250">
                    <a:schemeClr val="tx1"/>
                  </a:gs>
                  <a:gs pos="100000">
                    <a:schemeClr val="tx1"/>
                  </a:gs>
                </a:gsLst>
                <a:lin ang="5400000" scaled="0"/>
              </a:gradFill>
            </a:endParaRPr>
          </a:p>
          <a:p>
            <a:pPr marL="596789" lvl="1" indent="-242475" defTabSz="932563">
              <a:lnSpc>
                <a:spcPct val="90000"/>
              </a:lnSpc>
              <a:spcAft>
                <a:spcPts val="612"/>
              </a:spcAft>
              <a:buClr>
                <a:schemeClr val="tx1"/>
              </a:buClr>
              <a:buSzPct val="90000"/>
              <a:buFont typeface="Arial" panose="020B0604020202020204" pitchFamily="34" charset="0"/>
              <a:buChar char="•"/>
              <a:defRPr/>
            </a:pPr>
            <a:r>
              <a:rPr lang="en-US" sz="1600" dirty="0">
                <a:gradFill>
                  <a:gsLst>
                    <a:gs pos="1250">
                      <a:schemeClr val="tx1"/>
                    </a:gs>
                    <a:gs pos="100000">
                      <a:schemeClr val="tx1"/>
                    </a:gs>
                  </a:gsLst>
                  <a:lin ang="5400000" scaled="0"/>
                </a:gradFill>
                <a:hlinkClick r:id="rId6"/>
              </a:rPr>
              <a:t>Sign-in Risk Policy</a:t>
            </a:r>
            <a:endParaRPr lang="en-US" sz="1600" dirty="0">
              <a:gradFill>
                <a:gsLst>
                  <a:gs pos="1250">
                    <a:schemeClr val="tx1"/>
                  </a:gs>
                  <a:gs pos="100000">
                    <a:schemeClr val="tx1"/>
                  </a:gs>
                </a:gsLst>
                <a:lin ang="5400000" scaled="0"/>
              </a:gradFill>
            </a:endParaRPr>
          </a:p>
          <a:p>
            <a:pPr marL="596789" lvl="1" indent="-242475" defTabSz="932563">
              <a:lnSpc>
                <a:spcPct val="90000"/>
              </a:lnSpc>
              <a:spcAft>
                <a:spcPts val="612"/>
              </a:spcAft>
              <a:buClr>
                <a:schemeClr val="tx1"/>
              </a:buClr>
              <a:buSzPct val="90000"/>
              <a:buFont typeface="Arial" panose="020B0604020202020204" pitchFamily="34" charset="0"/>
              <a:buChar char="•"/>
              <a:defRPr/>
            </a:pPr>
            <a:r>
              <a:rPr lang="en-US" sz="1600" dirty="0">
                <a:gradFill>
                  <a:gsLst>
                    <a:gs pos="1250">
                      <a:schemeClr val="tx1"/>
                    </a:gs>
                    <a:gs pos="100000">
                      <a:schemeClr val="tx1"/>
                    </a:gs>
                  </a:gsLst>
                  <a:lin ang="5400000" scaled="0"/>
                </a:gradFill>
                <a:hlinkClick r:id="rId7"/>
              </a:rPr>
              <a:t>Multi-factor Authentication Registration Policy</a:t>
            </a:r>
            <a:endParaRPr lang="en-US" sz="1600" dirty="0">
              <a:gradFill>
                <a:gsLst>
                  <a:gs pos="1250">
                    <a:schemeClr val="tx1"/>
                  </a:gs>
                  <a:gs pos="100000">
                    <a:schemeClr val="tx1"/>
                  </a:gs>
                </a:gsLst>
                <a:lin ang="5400000" scaled="0"/>
              </a:gradFill>
            </a:endParaRPr>
          </a:p>
          <a:p>
            <a:pPr marL="130491" indent="-242475" defTabSz="932563">
              <a:lnSpc>
                <a:spcPct val="90000"/>
              </a:lnSpc>
              <a:spcAft>
                <a:spcPts val="612"/>
              </a:spcAft>
              <a:buClr>
                <a:schemeClr val="tx1"/>
              </a:buClr>
              <a:buSzPct val="90000"/>
              <a:buFont typeface="Arial" panose="020B0604020202020204" pitchFamily="34" charset="0"/>
              <a:buChar char="•"/>
              <a:defRPr/>
            </a:pPr>
            <a:r>
              <a:rPr lang="en-US" sz="1600" dirty="0">
                <a:gradFill>
                  <a:gsLst>
                    <a:gs pos="1250">
                      <a:schemeClr val="tx1"/>
                    </a:gs>
                    <a:gs pos="100000">
                      <a:schemeClr val="tx1"/>
                    </a:gs>
                  </a:gsLst>
                  <a:lin ang="5400000" scaled="0"/>
                </a:gradFill>
                <a:hlinkClick r:id="rId8"/>
              </a:rPr>
              <a:t>Notifications</a:t>
            </a:r>
            <a:endParaRPr lang="en-US" sz="1600" dirty="0">
              <a:gradFill>
                <a:gsLst>
                  <a:gs pos="1250">
                    <a:schemeClr val="tx1"/>
                  </a:gs>
                  <a:gs pos="100000">
                    <a:schemeClr val="tx1"/>
                  </a:gs>
                </a:gsLst>
                <a:lin ang="5400000" scaled="0"/>
              </a:gradFill>
            </a:endParaRPr>
          </a:p>
          <a:p>
            <a:pPr defTabSz="951304">
              <a:lnSpc>
                <a:spcPct val="90000"/>
              </a:lnSpc>
              <a:spcAft>
                <a:spcPts val="612"/>
              </a:spcAft>
              <a:defRPr/>
            </a:pPr>
            <a:endParaRPr lang="en-US" sz="2040" kern="0" dirty="0">
              <a:solidFill>
                <a:schemeClr val="accent6">
                  <a:lumMod val="50000"/>
                </a:schemeClr>
              </a:solidFill>
              <a:latin typeface="Segoe UI" panose="020B0502040204020203" pitchFamily="34" charset="0"/>
              <a:cs typeface="Segoe UI" panose="020B0502040204020203" pitchFamily="34" charset="0"/>
            </a:endParaRPr>
          </a:p>
        </p:txBody>
      </p:sp>
      <p:pic>
        <p:nvPicPr>
          <p:cNvPr id="2" name="Picture 1"/>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4868652" y="-7938"/>
            <a:ext cx="7566236" cy="6994525"/>
          </a:xfrm>
          <a:prstGeom prst="rect">
            <a:avLst/>
          </a:prstGeom>
        </p:spPr>
      </p:pic>
      <p:sp>
        <p:nvSpPr>
          <p:cNvPr id="8" name="Title 5"/>
          <p:cNvSpPr>
            <a:spLocks noGrp="1"/>
          </p:cNvSpPr>
          <p:nvPr>
            <p:ph type="title"/>
          </p:nvPr>
        </p:nvSpPr>
        <p:spPr>
          <a:xfrm>
            <a:off x="366169" y="295278"/>
            <a:ext cx="11702551" cy="917575"/>
          </a:xfrm>
        </p:spPr>
        <p:txBody>
          <a:bodyPr/>
          <a:lstStyle/>
          <a:p>
            <a:r>
              <a:rPr lang="en-US" dirty="0"/>
              <a:t>Dashboard</a:t>
            </a:r>
          </a:p>
        </p:txBody>
      </p:sp>
    </p:spTree>
    <p:extLst>
      <p:ext uri="{BB962C8B-B14F-4D97-AF65-F5344CB8AC3E}">
        <p14:creationId xmlns:p14="http://schemas.microsoft.com/office/powerpoint/2010/main" val="164552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239604" y="1363662"/>
            <a:ext cx="7625530" cy="465454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703834" y="4794925"/>
            <a:ext cx="3730966" cy="2199600"/>
          </a:xfrm>
          <a:prstGeom prst="rect">
            <a:avLst/>
          </a:prstGeom>
        </p:spPr>
      </p:pic>
      <p:sp>
        <p:nvSpPr>
          <p:cNvPr id="5" name="Title 4"/>
          <p:cNvSpPr>
            <a:spLocks noGrp="1"/>
          </p:cNvSpPr>
          <p:nvPr>
            <p:ph type="title"/>
          </p:nvPr>
        </p:nvSpPr>
        <p:spPr/>
        <p:txBody>
          <a:bodyPr/>
          <a:lstStyle/>
          <a:p>
            <a:r>
              <a:rPr lang="en-US" dirty="0"/>
              <a:t>User risks</a:t>
            </a:r>
            <a:br>
              <a:rPr lang="en-US" dirty="0"/>
            </a:br>
            <a:endParaRPr lang="en-US" dirty="0"/>
          </a:p>
        </p:txBody>
      </p:sp>
      <p:sp>
        <p:nvSpPr>
          <p:cNvPr id="7" name="Text Placeholder 6"/>
          <p:cNvSpPr>
            <a:spLocks noGrp="1"/>
          </p:cNvSpPr>
          <p:nvPr>
            <p:ph type="body" sz="quarter" idx="10"/>
          </p:nvPr>
        </p:nvSpPr>
        <p:spPr>
          <a:xfrm>
            <a:off x="366168" y="1212851"/>
            <a:ext cx="3873436" cy="4235006"/>
          </a:xfrm>
        </p:spPr>
        <p:txBody>
          <a:bodyPr/>
          <a:lstStyle/>
          <a:p>
            <a:pPr marL="0" indent="0" defTabSz="932597">
              <a:buNone/>
              <a:defRPr/>
            </a:pPr>
            <a:r>
              <a:rPr lang="en-AU" sz="2400" kern="0" dirty="0">
                <a:solidFill>
                  <a:schemeClr val="tx2"/>
                </a:solidFill>
                <a:latin typeface="Segoe UI Light" panose="020B0502040204020203" pitchFamily="34" charset="0"/>
                <a:cs typeface="Segoe UI Light" panose="020B0502040204020203" pitchFamily="34" charset="0"/>
              </a:rPr>
              <a:t>The likelihood that the user’s identity has been compromised is calculated using the following inputs:</a:t>
            </a:r>
          </a:p>
          <a:p>
            <a:pPr marL="0" indent="0" defTabSz="932597">
              <a:buNone/>
              <a:defRPr/>
            </a:pPr>
            <a:endParaRPr lang="en-AU" sz="3200" kern="0" dirty="0">
              <a:solidFill>
                <a:sysClr val="windowText" lastClr="000000"/>
              </a:solidFill>
              <a:latin typeface="Segoe UI Light" panose="020B0502040204020203" pitchFamily="34" charset="0"/>
              <a:cs typeface="Segoe UI Light" panose="020B0502040204020203" pitchFamily="34" charset="0"/>
            </a:endParaRPr>
          </a:p>
          <a:p>
            <a:pPr marL="291436" indent="-291436" defTabSz="932597">
              <a:defRPr/>
            </a:pPr>
            <a:r>
              <a:rPr lang="en-AU" sz="2000" dirty="0">
                <a:latin typeface="+mn-lt"/>
              </a:rPr>
              <a:t>Active risk events        impacting the user</a:t>
            </a:r>
          </a:p>
          <a:p>
            <a:pPr marL="291436" indent="-291436" defTabSz="932597">
              <a:defRPr/>
            </a:pPr>
            <a:r>
              <a:rPr lang="en-AU" sz="2000" dirty="0">
                <a:latin typeface="+mn-lt"/>
              </a:rPr>
              <a:t>Risk level of these events </a:t>
            </a:r>
          </a:p>
          <a:p>
            <a:pPr marL="291436" indent="-291436" defTabSz="932597">
              <a:defRPr/>
            </a:pPr>
            <a:r>
              <a:rPr lang="en-AU" sz="2000" dirty="0">
                <a:latin typeface="+mn-lt"/>
              </a:rPr>
              <a:t>Whether any remediation actions have been taken </a:t>
            </a:r>
          </a:p>
          <a:p>
            <a:endParaRPr lang="en-US" dirty="0"/>
          </a:p>
        </p:txBody>
      </p:sp>
    </p:spTree>
    <p:extLst>
      <p:ext uri="{BB962C8B-B14F-4D97-AF65-F5344CB8AC3E}">
        <p14:creationId xmlns:p14="http://schemas.microsoft.com/office/powerpoint/2010/main" val="116998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25FF741C-AED4-4EEC-8D92-DF30F73D0C8F}"/>
              </a:ext>
            </a:extLst>
          </p:cNvPr>
          <p:cNvSpPr txBox="1"/>
          <p:nvPr/>
        </p:nvSpPr>
        <p:spPr>
          <a:xfrm>
            <a:off x="6918531" y="6137363"/>
            <a:ext cx="987692" cy="669826"/>
          </a:xfrm>
          <a:prstGeom prst="rect">
            <a:avLst/>
          </a:prstGeom>
          <a:noFill/>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2745" b="0" i="0" u="none" strike="noStrike" kern="0" cap="none" spc="-78" normalizeH="0" baseline="0" noProof="0">
                <a:ln>
                  <a:noFill/>
                </a:ln>
                <a:gradFill>
                  <a:gsLst>
                    <a:gs pos="20000">
                      <a:srgbClr val="353535"/>
                    </a:gs>
                    <a:gs pos="68000">
                      <a:srgbClr val="353535"/>
                    </a:gs>
                  </a:gsLst>
                  <a:path path="circle">
                    <a:fillToRect l="50000" t="50000" r="50000" b="50000"/>
                  </a:path>
                </a:gradFill>
                <a:effectLst/>
                <a:uLnTx/>
                <a:uFillTx/>
                <a:latin typeface="Segoe UI Semilight" panose="020B0402040204020203" pitchFamily="34" charset="0"/>
                <a:ea typeface="+mn-ea"/>
                <a:cs typeface="Segoe UI Semilight" panose="020B0402040204020203" pitchFamily="34" charset="0"/>
              </a:rPr>
              <a:t>BYO</a:t>
            </a:r>
          </a:p>
        </p:txBody>
      </p:sp>
      <p:sp>
        <p:nvSpPr>
          <p:cNvPr id="15" name="Freeform 280">
            <a:extLst>
              <a:ext uri="{FF2B5EF4-FFF2-40B4-BE49-F238E27FC236}">
                <a16:creationId xmlns:a16="http://schemas.microsoft.com/office/drawing/2014/main" id="{228CB065-3EDC-4E79-80E5-0FCC660F08DA}"/>
              </a:ext>
            </a:extLst>
          </p:cNvPr>
          <p:cNvSpPr/>
          <p:nvPr/>
        </p:nvSpPr>
        <p:spPr bwMode="auto">
          <a:xfrm>
            <a:off x="850647" y="4133062"/>
            <a:ext cx="3549596" cy="2033582"/>
          </a:xfrm>
          <a:prstGeom prs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6" name="Rectangle 15">
            <a:extLst>
              <a:ext uri="{FF2B5EF4-FFF2-40B4-BE49-F238E27FC236}">
                <a16:creationId xmlns:a16="http://schemas.microsoft.com/office/drawing/2014/main" id="{ADF72723-D3DC-457C-8CA3-24C0BD13CBB4}"/>
              </a:ext>
            </a:extLst>
          </p:cNvPr>
          <p:cNvSpPr/>
          <p:nvPr/>
        </p:nvSpPr>
        <p:spPr>
          <a:xfrm>
            <a:off x="1940136" y="4714777"/>
            <a:ext cx="2036850" cy="9848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indows Server</a:t>
            </a:r>
          </a:p>
          <a:p>
            <a:pPr marL="0" marR="0" lvl="0" indent="0" algn="l" defTabSz="914102"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ctive Directory</a:t>
            </a:r>
          </a:p>
        </p:txBody>
      </p:sp>
      <p:pic>
        <p:nvPicPr>
          <p:cNvPr id="17" name="Picture 16">
            <a:extLst>
              <a:ext uri="{FF2B5EF4-FFF2-40B4-BE49-F238E27FC236}">
                <a16:creationId xmlns:a16="http://schemas.microsoft.com/office/drawing/2014/main" id="{D33E9B5A-4099-435A-8547-7D46114D18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38757" y="4228830"/>
            <a:ext cx="986067" cy="652749"/>
          </a:xfrm>
          <a:prstGeom prst="rect">
            <a:avLst/>
          </a:prstGeom>
        </p:spPr>
      </p:pic>
      <p:sp>
        <p:nvSpPr>
          <p:cNvPr id="18" name="Rectangle 17">
            <a:extLst>
              <a:ext uri="{FF2B5EF4-FFF2-40B4-BE49-F238E27FC236}">
                <a16:creationId xmlns:a16="http://schemas.microsoft.com/office/drawing/2014/main" id="{36058654-430A-48F4-A3CE-EDA955486AA1}"/>
              </a:ext>
            </a:extLst>
          </p:cNvPr>
          <p:cNvSpPr/>
          <p:nvPr/>
        </p:nvSpPr>
        <p:spPr bwMode="auto">
          <a:xfrm>
            <a:off x="2318874" y="4787385"/>
            <a:ext cx="1625366" cy="1430162"/>
          </a:xfrm>
          <a:prstGeom prst="rect">
            <a:avLst/>
          </a:prstGeom>
          <a:noFill/>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br>
              <a:rPr kumimoji="0" lang="en-US" sz="2745" b="0" i="0" u="none" strike="noStrike" kern="0" cap="none" spc="-78" normalizeH="0" baseline="0" noProof="0">
                <a:ln>
                  <a:noFill/>
                </a:ln>
                <a:gradFill>
                  <a:gsLst>
                    <a:gs pos="20000">
                      <a:srgbClr val="353535"/>
                    </a:gs>
                    <a:gs pos="68000">
                      <a:srgbClr val="353535"/>
                    </a:gs>
                  </a:gsLst>
                  <a:path path="circle">
                    <a:fillToRect l="50000" t="50000" r="50000" b="50000"/>
                  </a:path>
                </a:gradFill>
                <a:effectLst/>
                <a:uLnTx/>
                <a:uFillTx/>
                <a:latin typeface="Segoe UI Semilight" panose="020B0402040204020203" pitchFamily="34" charset="0"/>
                <a:ea typeface="+mn-ea"/>
                <a:cs typeface="Segoe UI Semilight" panose="020B0402040204020203" pitchFamily="34" charset="0"/>
              </a:rPr>
            </a:br>
            <a:r>
              <a:rPr kumimoji="0" lang="en-US" sz="2745" b="0" i="0" u="none" strike="noStrike" kern="0" cap="none" spc="-78" normalizeH="0" baseline="0" noProof="0">
                <a:ln>
                  <a:noFill/>
                </a:ln>
                <a:gradFill>
                  <a:gsLst>
                    <a:gs pos="20000">
                      <a:srgbClr val="353535"/>
                    </a:gs>
                    <a:gs pos="68000">
                      <a:srgbClr val="353535"/>
                    </a:gs>
                  </a:gsLst>
                  <a:path path="circle">
                    <a:fillToRect l="50000" t="50000" r="50000" b="50000"/>
                  </a:path>
                </a:gradFill>
                <a:effectLst/>
                <a:uLnTx/>
                <a:uFillTx/>
                <a:latin typeface="Segoe UI Semilight" panose="020B0402040204020203" pitchFamily="34" charset="0"/>
                <a:ea typeface="+mn-ea"/>
                <a:cs typeface="Segoe UI Semilight" panose="020B0402040204020203" pitchFamily="34" charset="0"/>
              </a:rPr>
              <a:t>On-</a:t>
            </a:r>
            <a:br>
              <a:rPr kumimoji="0" lang="en-US" sz="2745" b="0" i="0" u="none" strike="noStrike" kern="0" cap="none" spc="-78" normalizeH="0" baseline="0" noProof="0">
                <a:ln>
                  <a:noFill/>
                </a:ln>
                <a:gradFill>
                  <a:gsLst>
                    <a:gs pos="20000">
                      <a:srgbClr val="353535"/>
                    </a:gs>
                    <a:gs pos="68000">
                      <a:srgbClr val="353535"/>
                    </a:gs>
                  </a:gsLst>
                  <a:path path="circle">
                    <a:fillToRect l="50000" t="50000" r="50000" b="50000"/>
                  </a:path>
                </a:gradFill>
                <a:effectLst/>
                <a:uLnTx/>
                <a:uFillTx/>
                <a:latin typeface="Segoe UI Semilight" panose="020B0402040204020203" pitchFamily="34" charset="0"/>
                <a:ea typeface="+mn-ea"/>
                <a:cs typeface="Segoe UI Semilight" panose="020B0402040204020203" pitchFamily="34" charset="0"/>
              </a:rPr>
            </a:br>
            <a:r>
              <a:rPr kumimoji="0" lang="en-US" sz="2745" b="0" i="0" u="none" strike="noStrike" kern="0" cap="none" spc="-78" normalizeH="0" baseline="0" noProof="0">
                <a:ln>
                  <a:noFill/>
                </a:ln>
                <a:gradFill>
                  <a:gsLst>
                    <a:gs pos="20000">
                      <a:srgbClr val="353535"/>
                    </a:gs>
                    <a:gs pos="68000">
                      <a:srgbClr val="353535"/>
                    </a:gs>
                  </a:gsLst>
                  <a:path path="circle">
                    <a:fillToRect l="50000" t="50000" r="50000" b="50000"/>
                  </a:path>
                </a:gradFill>
                <a:effectLst/>
                <a:uLnTx/>
                <a:uFillTx/>
                <a:latin typeface="Segoe UI Semilight" panose="020B0402040204020203" pitchFamily="34" charset="0"/>
                <a:ea typeface="+mn-ea"/>
                <a:cs typeface="Segoe UI Semilight" panose="020B0402040204020203" pitchFamily="34" charset="0"/>
              </a:rPr>
              <a:t>premises</a:t>
            </a:r>
          </a:p>
        </p:txBody>
      </p:sp>
      <p:sp>
        <p:nvSpPr>
          <p:cNvPr id="19" name="Title 5">
            <a:extLst>
              <a:ext uri="{FF2B5EF4-FFF2-40B4-BE49-F238E27FC236}">
                <a16:creationId xmlns:a16="http://schemas.microsoft.com/office/drawing/2014/main" id="{CAD060A4-3DFB-4F67-B7D2-C2AD128C0783}"/>
              </a:ext>
            </a:extLst>
          </p:cNvPr>
          <p:cNvSpPr>
            <a:spLocks noGrp="1"/>
          </p:cNvSpPr>
          <p:nvPr>
            <p:ph type="title"/>
          </p:nvPr>
        </p:nvSpPr>
        <p:spPr>
          <a:xfrm>
            <a:off x="269240" y="289511"/>
            <a:ext cx="11655840" cy="899665"/>
          </a:xfrm>
        </p:spPr>
        <p:txBody>
          <a:bodyPr/>
          <a:lstStyle/>
          <a:p>
            <a:pPr algn="ctr"/>
            <a:r>
              <a:rPr lang="en-US" dirty="0"/>
              <a:t>Identity as </a:t>
            </a:r>
            <a:r>
              <a:rPr lang="en-US" u="sng" dirty="0"/>
              <a:t>the Control Plane</a:t>
            </a:r>
          </a:p>
        </p:txBody>
      </p:sp>
      <p:cxnSp>
        <p:nvCxnSpPr>
          <p:cNvPr id="20" name="Straight Arrow Connector 19">
            <a:extLst>
              <a:ext uri="{FF2B5EF4-FFF2-40B4-BE49-F238E27FC236}">
                <a16:creationId xmlns:a16="http://schemas.microsoft.com/office/drawing/2014/main" id="{7C0A8431-02D0-4518-B871-4F97D7D36905}"/>
              </a:ext>
            </a:extLst>
          </p:cNvPr>
          <p:cNvCxnSpPr>
            <a:cxnSpLocks/>
          </p:cNvCxnSpPr>
          <p:nvPr/>
        </p:nvCxnSpPr>
        <p:spPr>
          <a:xfrm flipH="1" flipV="1">
            <a:off x="8004880" y="3386885"/>
            <a:ext cx="858815" cy="287315"/>
          </a:xfrm>
          <a:prstGeom prst="straightConnector1">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Arrow Connector 20">
            <a:extLst>
              <a:ext uri="{FF2B5EF4-FFF2-40B4-BE49-F238E27FC236}">
                <a16:creationId xmlns:a16="http://schemas.microsoft.com/office/drawing/2014/main" id="{A16BE9C8-C8C3-42C2-B15D-CA46854587B0}"/>
              </a:ext>
            </a:extLst>
          </p:cNvPr>
          <p:cNvCxnSpPr>
            <a:cxnSpLocks/>
            <a:stCxn id="43" idx="5"/>
          </p:cNvCxnSpPr>
          <p:nvPr/>
        </p:nvCxnSpPr>
        <p:spPr>
          <a:xfrm flipV="1">
            <a:off x="8097994" y="2996005"/>
            <a:ext cx="614532" cy="86842"/>
          </a:xfrm>
          <a:prstGeom prst="straightConnector1">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59C2895C-DA21-4460-81C3-07E047BE7788}"/>
              </a:ext>
            </a:extLst>
          </p:cNvPr>
          <p:cNvCxnSpPr>
            <a:cxnSpLocks/>
            <a:endCxn id="15" idx="5"/>
          </p:cNvCxnSpPr>
          <p:nvPr/>
        </p:nvCxnSpPr>
        <p:spPr>
          <a:xfrm flipH="1">
            <a:off x="3512844" y="3761098"/>
            <a:ext cx="2611731" cy="1388755"/>
          </a:xfrm>
          <a:prstGeom prst="line">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grpSp>
        <p:nvGrpSpPr>
          <p:cNvPr id="23" name="Group 22">
            <a:extLst>
              <a:ext uri="{FF2B5EF4-FFF2-40B4-BE49-F238E27FC236}">
                <a16:creationId xmlns:a16="http://schemas.microsoft.com/office/drawing/2014/main" id="{01B125F1-8D63-46CA-BE1B-058A6D188E5A}"/>
              </a:ext>
            </a:extLst>
          </p:cNvPr>
          <p:cNvGrpSpPr/>
          <p:nvPr/>
        </p:nvGrpSpPr>
        <p:grpSpPr>
          <a:xfrm>
            <a:off x="8839161" y="1684684"/>
            <a:ext cx="2727316" cy="1551188"/>
            <a:chOff x="8839161" y="1241998"/>
            <a:chExt cx="2727316" cy="1551188"/>
          </a:xfrm>
        </p:grpSpPr>
        <p:pic>
          <p:nvPicPr>
            <p:cNvPr id="24" name="Picture 23">
              <a:extLst>
                <a:ext uri="{FF2B5EF4-FFF2-40B4-BE49-F238E27FC236}">
                  <a16:creationId xmlns:a16="http://schemas.microsoft.com/office/drawing/2014/main" id="{AFF88C9F-0596-4D0C-B341-7ECC92B888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96025" y="1468310"/>
              <a:ext cx="715534" cy="233432"/>
            </a:xfrm>
            <a:prstGeom prst="rect">
              <a:avLst/>
            </a:prstGeom>
          </p:spPr>
        </p:pic>
        <p:grpSp>
          <p:nvGrpSpPr>
            <p:cNvPr id="25" name="Group 24">
              <a:extLst>
                <a:ext uri="{FF2B5EF4-FFF2-40B4-BE49-F238E27FC236}">
                  <a16:creationId xmlns:a16="http://schemas.microsoft.com/office/drawing/2014/main" id="{2AE40D47-E140-44EA-B276-B3A473E4E2EB}"/>
                </a:ext>
              </a:extLst>
            </p:cNvPr>
            <p:cNvGrpSpPr/>
            <p:nvPr/>
          </p:nvGrpSpPr>
          <p:grpSpPr>
            <a:xfrm>
              <a:off x="8839161" y="2515054"/>
              <a:ext cx="551963" cy="278132"/>
              <a:chOff x="10788478" y="2276711"/>
              <a:chExt cx="452150" cy="227837"/>
            </a:xfrm>
          </p:grpSpPr>
          <p:sp>
            <p:nvSpPr>
              <p:cNvPr id="33" name="Freeform 299">
                <a:extLst>
                  <a:ext uri="{FF2B5EF4-FFF2-40B4-BE49-F238E27FC236}">
                    <a16:creationId xmlns:a16="http://schemas.microsoft.com/office/drawing/2014/main" id="{90364D47-C818-4C0D-9DD2-0E387951CD6E}"/>
                  </a:ext>
                </a:extLst>
              </p:cNvPr>
              <p:cNvSpPr/>
              <p:nvPr/>
            </p:nvSpPr>
            <p:spPr bwMode="auto">
              <a:xfrm>
                <a:off x="10788478" y="2289155"/>
                <a:ext cx="374248" cy="197582"/>
              </a:xfrm>
              <a:custGeom>
                <a:avLst/>
                <a:gdLst>
                  <a:gd name="connsiteX0" fmla="*/ 0 w 374248"/>
                  <a:gd name="connsiteY0" fmla="*/ 0 h 197582"/>
                  <a:gd name="connsiteX1" fmla="*/ 374248 w 374248"/>
                  <a:gd name="connsiteY1" fmla="*/ 0 h 197582"/>
                  <a:gd name="connsiteX2" fmla="*/ 374248 w 374248"/>
                  <a:gd name="connsiteY2" fmla="*/ 56976 h 197582"/>
                  <a:gd name="connsiteX3" fmla="*/ 233820 w 374248"/>
                  <a:gd name="connsiteY3" fmla="*/ 197582 h 197582"/>
                  <a:gd name="connsiteX4" fmla="*/ 0 w 374248"/>
                  <a:gd name="connsiteY4" fmla="*/ 197582 h 19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48" h="197582">
                    <a:moveTo>
                      <a:pt x="0" y="0"/>
                    </a:moveTo>
                    <a:lnTo>
                      <a:pt x="374248" y="0"/>
                    </a:lnTo>
                    <a:lnTo>
                      <a:pt x="374248" y="56976"/>
                    </a:lnTo>
                    <a:lnTo>
                      <a:pt x="233820" y="197582"/>
                    </a:lnTo>
                    <a:lnTo>
                      <a:pt x="0" y="19758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4" name="Picture 33">
                <a:extLst>
                  <a:ext uri="{FF2B5EF4-FFF2-40B4-BE49-F238E27FC236}">
                    <a16:creationId xmlns:a16="http://schemas.microsoft.com/office/drawing/2014/main" id="{FA0BC1B3-43C9-4C0A-8DDB-DC417C13AD40}"/>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788739" y="2276711"/>
                <a:ext cx="451889" cy="227837"/>
              </a:xfrm>
              <a:prstGeom prst="rect">
                <a:avLst/>
              </a:prstGeom>
            </p:spPr>
          </p:pic>
        </p:grpSp>
        <p:pic>
          <p:nvPicPr>
            <p:cNvPr id="26" name="Picture 25">
              <a:extLst>
                <a:ext uri="{FF2B5EF4-FFF2-40B4-BE49-F238E27FC236}">
                  <a16:creationId xmlns:a16="http://schemas.microsoft.com/office/drawing/2014/main" id="{1A49AFB8-35E1-4716-8BC2-22D5EA385C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73058" y="2305805"/>
              <a:ext cx="393419" cy="393419"/>
            </a:xfrm>
            <a:prstGeom prst="rect">
              <a:avLst/>
            </a:prstGeom>
          </p:spPr>
        </p:pic>
        <p:pic>
          <p:nvPicPr>
            <p:cNvPr id="27" name="Picture 26">
              <a:extLst>
                <a:ext uri="{FF2B5EF4-FFF2-40B4-BE49-F238E27FC236}">
                  <a16:creationId xmlns:a16="http://schemas.microsoft.com/office/drawing/2014/main" id="{CDD2A87A-73CE-41D3-BB0F-0BAD81517F8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05108" y="1766797"/>
              <a:ext cx="772261" cy="206794"/>
            </a:xfrm>
            <a:prstGeom prst="rect">
              <a:avLst/>
            </a:prstGeom>
          </p:spPr>
        </p:pic>
        <p:pic>
          <p:nvPicPr>
            <p:cNvPr id="28" name="Picture 27">
              <a:extLst>
                <a:ext uri="{FF2B5EF4-FFF2-40B4-BE49-F238E27FC236}">
                  <a16:creationId xmlns:a16="http://schemas.microsoft.com/office/drawing/2014/main" id="{6BD5153A-549E-44B5-9808-152961B0FFF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52948" y="1241998"/>
              <a:ext cx="732270" cy="167077"/>
            </a:xfrm>
            <a:prstGeom prst="rect">
              <a:avLst/>
            </a:prstGeom>
            <a:noFill/>
          </p:spPr>
        </p:pic>
        <p:pic>
          <p:nvPicPr>
            <p:cNvPr id="29" name="Picture 28">
              <a:extLst>
                <a:ext uri="{FF2B5EF4-FFF2-40B4-BE49-F238E27FC236}">
                  <a16:creationId xmlns:a16="http://schemas.microsoft.com/office/drawing/2014/main" id="{E7E8C796-3012-4C41-81F4-CD671BD0B1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38220" y="2065380"/>
              <a:ext cx="652959" cy="220854"/>
            </a:xfrm>
            <a:prstGeom prst="rect">
              <a:avLst/>
            </a:prstGeom>
          </p:spPr>
        </p:pic>
        <p:sp>
          <p:nvSpPr>
            <p:cNvPr id="30" name="TextBox 29">
              <a:extLst>
                <a:ext uri="{FF2B5EF4-FFF2-40B4-BE49-F238E27FC236}">
                  <a16:creationId xmlns:a16="http://schemas.microsoft.com/office/drawing/2014/main" id="{967754F2-99E3-4E0B-845A-F0C01B6AF120}"/>
                </a:ext>
              </a:extLst>
            </p:cNvPr>
            <p:cNvSpPr txBox="1"/>
            <p:nvPr/>
          </p:nvSpPr>
          <p:spPr>
            <a:xfrm>
              <a:off x="8889803" y="2106437"/>
              <a:ext cx="641008" cy="221600"/>
            </a:xfrm>
            <a:prstGeom prst="rect">
              <a:avLst/>
            </a:prstGeom>
          </p:spPr>
          <p:txBody>
            <a:bodyPr wrap="square" lIns="0" tIns="0" rIns="0" bIns="0" rtlCol="0">
              <a:spAutoFit/>
            </a:bodyPr>
            <a:lstStyle/>
            <a:p>
              <a:pPr marL="0" marR="0" lvl="0" indent="0" algn="l" defTabSz="914102" rtl="0" eaLnBrk="1" fontAlgn="base" latinLnBrk="0" hangingPunct="1">
                <a:lnSpc>
                  <a:spcPct val="90000"/>
                </a:lnSpc>
                <a:spcBef>
                  <a:spcPct val="0"/>
                </a:spcBef>
                <a:spcAft>
                  <a:spcPct val="0"/>
                </a:spcAft>
                <a:buClrTx/>
                <a:buSzPct val="80000"/>
                <a:buFontTx/>
                <a:buNone/>
                <a:tabLst/>
                <a:defRPr/>
              </a:pPr>
              <a:r>
                <a:rPr kumimoji="0" lang="en-US" sz="16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a:t>
              </a:r>
            </a:p>
          </p:txBody>
        </p:sp>
        <p:sp>
          <p:nvSpPr>
            <p:cNvPr id="31" name="Freeform 5">
              <a:extLst>
                <a:ext uri="{FF2B5EF4-FFF2-40B4-BE49-F238E27FC236}">
                  <a16:creationId xmlns:a16="http://schemas.microsoft.com/office/drawing/2014/main" id="{CBDBFA89-D71F-4A44-976C-82A895E79F12}"/>
                </a:ext>
              </a:extLst>
            </p:cNvPr>
            <p:cNvSpPr>
              <a:spLocks noChangeAspect="1" noEditPoints="1"/>
            </p:cNvSpPr>
            <p:nvPr/>
          </p:nvSpPr>
          <p:spPr bwMode="black">
            <a:xfrm>
              <a:off x="10269335" y="1501970"/>
              <a:ext cx="782564" cy="173038"/>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8793782F-0BD6-4C4F-9279-A00BB35E71DD}"/>
                </a:ext>
              </a:extLst>
            </p:cNvPr>
            <p:cNvSpPr txBox="1"/>
            <p:nvPr/>
          </p:nvSpPr>
          <p:spPr>
            <a:xfrm>
              <a:off x="9007702" y="1778921"/>
              <a:ext cx="1315794" cy="221599"/>
            </a:xfrm>
            <a:prstGeom prst="rect">
              <a:avLst/>
            </a:prstGeom>
          </p:spPr>
          <p:txBody>
            <a:bodyPr wrap="square" lIns="0" tIns="0" rIns="0" bIns="0" rtlCol="0">
              <a:spAutoFit/>
            </a:bodyPr>
            <a:lstStyle/>
            <a:p>
              <a:pPr marL="0" marR="0" lvl="0" indent="0" algn="l" defTabSz="914102" rtl="0" eaLnBrk="1" fontAlgn="base" latinLnBrk="0" hangingPunct="1">
                <a:lnSpc>
                  <a:spcPct val="90000"/>
                </a:lnSpc>
                <a:spcBef>
                  <a:spcPct val="0"/>
                </a:spcBef>
                <a:spcAft>
                  <a:spcPct val="0"/>
                </a:spcAft>
                <a:buClrTx/>
                <a:buSzPct val="80000"/>
                <a:buFontTx/>
                <a:buNone/>
                <a:tabLst/>
                <a:defRPr/>
              </a:pPr>
              <a:r>
                <a:rPr kumimoji="0" lang="en-US" sz="16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Public cloud</a:t>
              </a:r>
            </a:p>
          </p:txBody>
        </p:sp>
      </p:grpSp>
      <p:cxnSp>
        <p:nvCxnSpPr>
          <p:cNvPr id="35" name="Straight Arrow Connector 34">
            <a:extLst>
              <a:ext uri="{FF2B5EF4-FFF2-40B4-BE49-F238E27FC236}">
                <a16:creationId xmlns:a16="http://schemas.microsoft.com/office/drawing/2014/main" id="{41A7CD78-4CD0-4AC9-BCE1-67392EF8D4BD}"/>
              </a:ext>
            </a:extLst>
          </p:cNvPr>
          <p:cNvCxnSpPr>
            <a:cxnSpLocks/>
          </p:cNvCxnSpPr>
          <p:nvPr/>
        </p:nvCxnSpPr>
        <p:spPr>
          <a:xfrm flipV="1">
            <a:off x="7920066" y="2296048"/>
            <a:ext cx="967930" cy="367153"/>
          </a:xfrm>
          <a:prstGeom prst="straightConnector1">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Connector 35">
            <a:extLst>
              <a:ext uri="{FF2B5EF4-FFF2-40B4-BE49-F238E27FC236}">
                <a16:creationId xmlns:a16="http://schemas.microsoft.com/office/drawing/2014/main" id="{1E392561-A1A4-4B22-A9BA-FC7595AF9CF5}"/>
              </a:ext>
            </a:extLst>
          </p:cNvPr>
          <p:cNvCxnSpPr>
            <a:cxnSpLocks/>
            <a:endCxn id="45" idx="0"/>
          </p:cNvCxnSpPr>
          <p:nvPr/>
        </p:nvCxnSpPr>
        <p:spPr>
          <a:xfrm flipH="1">
            <a:off x="7346351" y="3674200"/>
            <a:ext cx="12638" cy="495288"/>
          </a:xfrm>
          <a:prstGeom prst="line">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Arrow Connector 36">
            <a:extLst>
              <a:ext uri="{FF2B5EF4-FFF2-40B4-BE49-F238E27FC236}">
                <a16:creationId xmlns:a16="http://schemas.microsoft.com/office/drawing/2014/main" id="{BF1D8435-4866-437C-B30B-785C88A12EB7}"/>
              </a:ext>
            </a:extLst>
          </p:cNvPr>
          <p:cNvCxnSpPr>
            <a:cxnSpLocks/>
          </p:cNvCxnSpPr>
          <p:nvPr/>
        </p:nvCxnSpPr>
        <p:spPr>
          <a:xfrm>
            <a:off x="3512844" y="3082847"/>
            <a:ext cx="1759244" cy="284241"/>
          </a:xfrm>
          <a:prstGeom prst="straightConnector1">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sp>
        <p:nvSpPr>
          <p:cNvPr id="38" name="Freeform 20">
            <a:extLst>
              <a:ext uri="{FF2B5EF4-FFF2-40B4-BE49-F238E27FC236}">
                <a16:creationId xmlns:a16="http://schemas.microsoft.com/office/drawing/2014/main" id="{529F6574-60BE-4972-A702-FFBF870C92DB}"/>
              </a:ext>
            </a:extLst>
          </p:cNvPr>
          <p:cNvSpPr>
            <a:spLocks noEditPoints="1"/>
          </p:cNvSpPr>
          <p:nvPr/>
        </p:nvSpPr>
        <p:spPr bwMode="auto">
          <a:xfrm>
            <a:off x="7031632" y="6464574"/>
            <a:ext cx="409479" cy="405797"/>
          </a:xfrm>
          <a:custGeom>
            <a:avLst/>
            <a:gdLst>
              <a:gd name="T0" fmla="*/ 0 w 235"/>
              <a:gd name="T1" fmla="*/ 0 h 231"/>
              <a:gd name="T2" fmla="*/ 0 w 235"/>
              <a:gd name="T3" fmla="*/ 0 h 231"/>
              <a:gd name="T4" fmla="*/ 0 w 235"/>
              <a:gd name="T5" fmla="*/ 231 h 231"/>
              <a:gd name="T6" fmla="*/ 0 w 235"/>
              <a:gd name="T7" fmla="*/ 0 h 231"/>
              <a:gd name="T8" fmla="*/ 0 w 235"/>
              <a:gd name="T9" fmla="*/ 0 h 231"/>
              <a:gd name="T10" fmla="*/ 0 w 235"/>
              <a:gd name="T11" fmla="*/ 0 h 231"/>
              <a:gd name="T12" fmla="*/ 235 w 235"/>
              <a:gd name="T13" fmla="*/ 0 h 231"/>
              <a:gd name="T14" fmla="*/ 205 w 235"/>
              <a:gd name="T15" fmla="*/ 0 h 231"/>
              <a:gd name="T16" fmla="*/ 0 w 235"/>
              <a:gd name="T17" fmla="*/ 0 h 231"/>
              <a:gd name="T18" fmla="*/ 0 w 235"/>
              <a:gd name="T19" fmla="*/ 0 h 231"/>
              <a:gd name="T20" fmla="*/ 235 w 235"/>
              <a:gd name="T21" fmla="*/ 0 h 231"/>
              <a:gd name="T22" fmla="*/ 235 w 235"/>
              <a:gd name="T23"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1">
                <a:moveTo>
                  <a:pt x="0" y="0"/>
                </a:moveTo>
                <a:cubicBezTo>
                  <a:pt x="0" y="0"/>
                  <a:pt x="0" y="0"/>
                  <a:pt x="0" y="0"/>
                </a:cubicBezTo>
                <a:cubicBezTo>
                  <a:pt x="0" y="231"/>
                  <a:pt x="0" y="231"/>
                  <a:pt x="0" y="231"/>
                </a:cubicBezTo>
                <a:cubicBezTo>
                  <a:pt x="0" y="20"/>
                  <a:pt x="0" y="1"/>
                  <a:pt x="0" y="0"/>
                </a:cubicBezTo>
                <a:cubicBezTo>
                  <a:pt x="0" y="0"/>
                  <a:pt x="0" y="0"/>
                  <a:pt x="0" y="0"/>
                </a:cubicBezTo>
                <a:cubicBezTo>
                  <a:pt x="0" y="0"/>
                  <a:pt x="0" y="0"/>
                  <a:pt x="0" y="0"/>
                </a:cubicBezTo>
                <a:moveTo>
                  <a:pt x="235" y="0"/>
                </a:moveTo>
                <a:cubicBezTo>
                  <a:pt x="205" y="0"/>
                  <a:pt x="205" y="0"/>
                  <a:pt x="205" y="0"/>
                </a:cubicBezTo>
                <a:cubicBezTo>
                  <a:pt x="0" y="0"/>
                  <a:pt x="0" y="0"/>
                  <a:pt x="0" y="0"/>
                </a:cubicBezTo>
                <a:cubicBezTo>
                  <a:pt x="0" y="0"/>
                  <a:pt x="0" y="0"/>
                  <a:pt x="0" y="0"/>
                </a:cubicBezTo>
                <a:cubicBezTo>
                  <a:pt x="102" y="0"/>
                  <a:pt x="179" y="0"/>
                  <a:pt x="235" y="0"/>
                </a:cubicBezTo>
                <a:cubicBezTo>
                  <a:pt x="235" y="0"/>
                  <a:pt x="235" y="0"/>
                  <a:pt x="235" y="0"/>
                </a:cubicBezTo>
              </a:path>
            </a:pathLst>
          </a:custGeom>
          <a:solidFill>
            <a:srgbClr val="5C476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330"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nvGrpSpPr>
          <p:cNvPr id="39" name="Group 38">
            <a:extLst>
              <a:ext uri="{FF2B5EF4-FFF2-40B4-BE49-F238E27FC236}">
                <a16:creationId xmlns:a16="http://schemas.microsoft.com/office/drawing/2014/main" id="{DB211D6F-5F69-402A-B3E5-B2BCC48156DD}"/>
              </a:ext>
            </a:extLst>
          </p:cNvPr>
          <p:cNvGrpSpPr/>
          <p:nvPr/>
        </p:nvGrpSpPr>
        <p:grpSpPr>
          <a:xfrm>
            <a:off x="6683767" y="5260887"/>
            <a:ext cx="1597788" cy="406192"/>
            <a:chOff x="9485283" y="4970832"/>
            <a:chExt cx="1597788" cy="406192"/>
          </a:xfrm>
        </p:grpSpPr>
        <p:pic>
          <p:nvPicPr>
            <p:cNvPr id="40" name="Picture 39">
              <a:extLst>
                <a:ext uri="{FF2B5EF4-FFF2-40B4-BE49-F238E27FC236}">
                  <a16:creationId xmlns:a16="http://schemas.microsoft.com/office/drawing/2014/main" id="{45C1E277-B04B-4C2C-885E-FE8925EEF10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99405" y="5193358"/>
              <a:ext cx="183666" cy="183666"/>
            </a:xfrm>
            <a:prstGeom prst="rect">
              <a:avLst/>
            </a:prstGeom>
          </p:spPr>
        </p:pic>
        <p:pic>
          <p:nvPicPr>
            <p:cNvPr id="41" name="Picture 40">
              <a:extLst>
                <a:ext uri="{FF2B5EF4-FFF2-40B4-BE49-F238E27FC236}">
                  <a16:creationId xmlns:a16="http://schemas.microsoft.com/office/drawing/2014/main" id="{9C1F3872-FAAE-43C8-87F7-CE17EDE9C57C}"/>
                </a:ext>
              </a:extLst>
            </p:cNvPr>
            <p:cNvPicPr>
              <a:picLocks noChangeAspect="1"/>
            </p:cNvPicPr>
            <p:nvPr/>
          </p:nvPicPr>
          <p:blipFill>
            <a:blip r:embed="rId11">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485283" y="5148990"/>
              <a:ext cx="185763" cy="215949"/>
            </a:xfrm>
            <a:prstGeom prst="rect">
              <a:avLst/>
            </a:prstGeom>
          </p:spPr>
        </p:pic>
        <p:sp>
          <p:nvSpPr>
            <p:cNvPr id="42" name="Freeform 505">
              <a:extLst>
                <a:ext uri="{FF2B5EF4-FFF2-40B4-BE49-F238E27FC236}">
                  <a16:creationId xmlns:a16="http://schemas.microsoft.com/office/drawing/2014/main" id="{76C741B6-AEDC-4120-BE96-2DC7091F4AEF}"/>
                </a:ext>
              </a:extLst>
            </p:cNvPr>
            <p:cNvSpPr>
              <a:spLocks noChangeAspect="1" noEditPoints="1"/>
            </p:cNvSpPr>
            <p:nvPr/>
          </p:nvSpPr>
          <p:spPr bwMode="black">
            <a:xfrm>
              <a:off x="10216140" y="4970832"/>
              <a:ext cx="278743" cy="27761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4"/>
            </a:solidFill>
            <a:ln>
              <a:noFill/>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43" name="Freeform: Shape 42">
            <a:extLst>
              <a:ext uri="{FF2B5EF4-FFF2-40B4-BE49-F238E27FC236}">
                <a16:creationId xmlns:a16="http://schemas.microsoft.com/office/drawing/2014/main" id="{054B11D4-8D79-435D-B537-F69E92D139BC}"/>
              </a:ext>
            </a:extLst>
          </p:cNvPr>
          <p:cNvSpPr/>
          <p:nvPr/>
        </p:nvSpPr>
        <p:spPr bwMode="auto">
          <a:xfrm>
            <a:off x="5372850" y="2144209"/>
            <a:ext cx="2725144" cy="150407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MS cloud text">
            <a:extLst>
              <a:ext uri="{FF2B5EF4-FFF2-40B4-BE49-F238E27FC236}">
                <a16:creationId xmlns:a16="http://schemas.microsoft.com/office/drawing/2014/main" id="{69BC65D4-06C5-43FD-BD06-66C871160617}"/>
              </a:ext>
            </a:extLst>
          </p:cNvPr>
          <p:cNvSpPr txBox="1">
            <a:spLocks/>
          </p:cNvSpPr>
          <p:nvPr/>
        </p:nvSpPr>
        <p:spPr>
          <a:xfrm>
            <a:off x="5597360" y="2750247"/>
            <a:ext cx="2391863" cy="407826"/>
          </a:xfrm>
          <a:prstGeom prst="rect">
            <a:avLst/>
          </a:prstGeom>
        </p:spPr>
        <p:txBody>
          <a:bodyPr vert="horz" wrap="square" lIns="146304" tIns="91440" rIns="146304" bIns="9144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Microsoft Azure </a:t>
            </a:r>
            <a:br>
              <a:rPr kumimoji="0" lang="en-US" sz="2000"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Active Directory</a:t>
            </a:r>
          </a:p>
        </p:txBody>
      </p:sp>
      <p:sp>
        <p:nvSpPr>
          <p:cNvPr id="45" name="Oval 44">
            <a:extLst>
              <a:ext uri="{FF2B5EF4-FFF2-40B4-BE49-F238E27FC236}">
                <a16:creationId xmlns:a16="http://schemas.microsoft.com/office/drawing/2014/main" id="{7D432539-1886-43C4-909F-90F34852EAD4}"/>
              </a:ext>
            </a:extLst>
          </p:cNvPr>
          <p:cNvSpPr/>
          <p:nvPr/>
        </p:nvSpPr>
        <p:spPr bwMode="auto">
          <a:xfrm>
            <a:off x="6036857" y="4169488"/>
            <a:ext cx="2618987" cy="2637701"/>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 name="Oval 47">
            <a:extLst>
              <a:ext uri="{FF2B5EF4-FFF2-40B4-BE49-F238E27FC236}">
                <a16:creationId xmlns:a16="http://schemas.microsoft.com/office/drawing/2014/main" id="{5F554F58-6F2A-4471-B5C0-51A27EF12E01}"/>
              </a:ext>
            </a:extLst>
          </p:cNvPr>
          <p:cNvSpPr/>
          <p:nvPr/>
        </p:nvSpPr>
        <p:spPr bwMode="auto">
          <a:xfrm>
            <a:off x="8705133" y="1506828"/>
            <a:ext cx="3017520" cy="301752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 name="Freeform: Shape 48">
            <a:extLst>
              <a:ext uri="{FF2B5EF4-FFF2-40B4-BE49-F238E27FC236}">
                <a16:creationId xmlns:a16="http://schemas.microsoft.com/office/drawing/2014/main" id="{2E4241CE-C6A3-4C7E-8BD4-60D0686D1D69}"/>
              </a:ext>
            </a:extLst>
          </p:cNvPr>
          <p:cNvSpPr/>
          <p:nvPr/>
        </p:nvSpPr>
        <p:spPr bwMode="auto">
          <a:xfrm flipV="1">
            <a:off x="9496941" y="2521045"/>
            <a:ext cx="1480789" cy="81628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 name="TextBox 49">
            <a:extLst>
              <a:ext uri="{FF2B5EF4-FFF2-40B4-BE49-F238E27FC236}">
                <a16:creationId xmlns:a16="http://schemas.microsoft.com/office/drawing/2014/main" id="{35816F0E-791C-4787-9524-1ABFDC309ED1}"/>
              </a:ext>
            </a:extLst>
          </p:cNvPr>
          <p:cNvSpPr txBox="1"/>
          <p:nvPr/>
        </p:nvSpPr>
        <p:spPr>
          <a:xfrm>
            <a:off x="9634068" y="3474703"/>
            <a:ext cx="1206534" cy="669826"/>
          </a:xfrm>
          <a:prstGeom prst="rect">
            <a:avLst/>
          </a:prstGeom>
          <a:noFill/>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2745" b="0" i="0" u="none" strike="noStrike" kern="0" cap="none" spc="-78" normalizeH="0" baseline="0" noProof="0">
                <a:ln>
                  <a:noFill/>
                </a:ln>
                <a:gradFill>
                  <a:gsLst>
                    <a:gs pos="20000">
                      <a:srgbClr val="353535"/>
                    </a:gs>
                    <a:gs pos="68000">
                      <a:srgbClr val="353535"/>
                    </a:gs>
                  </a:gsLst>
                  <a:path path="circle">
                    <a:fillToRect l="50000" t="50000" r="50000" b="50000"/>
                  </a:path>
                </a:gradFill>
                <a:effectLst/>
                <a:uLnTx/>
                <a:uFillTx/>
                <a:latin typeface="Segoe UI Semilight" panose="020B0402040204020203" pitchFamily="34" charset="0"/>
                <a:ea typeface="+mn-ea"/>
                <a:cs typeface="Segoe UI Semilight" panose="020B0402040204020203" pitchFamily="34" charset="0"/>
              </a:rPr>
              <a:t>Cloud</a:t>
            </a:r>
          </a:p>
        </p:txBody>
      </p:sp>
      <p:grpSp>
        <p:nvGrpSpPr>
          <p:cNvPr id="51" name="Group 50">
            <a:extLst>
              <a:ext uri="{FF2B5EF4-FFF2-40B4-BE49-F238E27FC236}">
                <a16:creationId xmlns:a16="http://schemas.microsoft.com/office/drawing/2014/main" id="{07352820-ED06-4763-B890-A9173435F2F9}"/>
              </a:ext>
            </a:extLst>
          </p:cNvPr>
          <p:cNvGrpSpPr/>
          <p:nvPr/>
        </p:nvGrpSpPr>
        <p:grpSpPr>
          <a:xfrm>
            <a:off x="6524590" y="5393007"/>
            <a:ext cx="504116" cy="369759"/>
            <a:chOff x="4036202" y="3031654"/>
            <a:chExt cx="514225" cy="377173"/>
          </a:xfrm>
        </p:grpSpPr>
        <p:sp>
          <p:nvSpPr>
            <p:cNvPr id="52" name="Freeform 9">
              <a:extLst>
                <a:ext uri="{FF2B5EF4-FFF2-40B4-BE49-F238E27FC236}">
                  <a16:creationId xmlns:a16="http://schemas.microsoft.com/office/drawing/2014/main" id="{D7ADA565-E74E-44BC-B9C9-DB22F30A9D42}"/>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22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3" name="Rectangle 52">
              <a:extLst>
                <a:ext uri="{FF2B5EF4-FFF2-40B4-BE49-F238E27FC236}">
                  <a16:creationId xmlns:a16="http://schemas.microsoft.com/office/drawing/2014/main" id="{C17B2160-02BB-4B21-870C-40722F9E3E10}"/>
                </a:ext>
              </a:extLst>
            </p:cNvPr>
            <p:cNvSpPr/>
            <p:nvPr/>
          </p:nvSpPr>
          <p:spPr bwMode="auto">
            <a:xfrm>
              <a:off x="4203700" y="3117850"/>
              <a:ext cx="95250" cy="952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 name="Group 53">
            <a:extLst>
              <a:ext uri="{FF2B5EF4-FFF2-40B4-BE49-F238E27FC236}">
                <a16:creationId xmlns:a16="http://schemas.microsoft.com/office/drawing/2014/main" id="{53AACD14-319E-40F9-A31F-AA250B15632A}"/>
              </a:ext>
            </a:extLst>
          </p:cNvPr>
          <p:cNvGrpSpPr/>
          <p:nvPr/>
        </p:nvGrpSpPr>
        <p:grpSpPr>
          <a:xfrm>
            <a:off x="7135044" y="5204061"/>
            <a:ext cx="837905" cy="558704"/>
            <a:chOff x="4658896" y="2838920"/>
            <a:chExt cx="854707" cy="569907"/>
          </a:xfrm>
        </p:grpSpPr>
        <p:sp>
          <p:nvSpPr>
            <p:cNvPr id="55" name="Freeform 5">
              <a:extLst>
                <a:ext uri="{FF2B5EF4-FFF2-40B4-BE49-F238E27FC236}">
                  <a16:creationId xmlns:a16="http://schemas.microsoft.com/office/drawing/2014/main" id="{2738A467-4391-45C0-BC79-84248ED150C7}"/>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6" name="Isosceles Triangle 55">
              <a:extLst>
                <a:ext uri="{FF2B5EF4-FFF2-40B4-BE49-F238E27FC236}">
                  <a16:creationId xmlns:a16="http://schemas.microsoft.com/office/drawing/2014/main" id="{54581058-FF0D-4D91-B552-44BA4CFFCF55}"/>
                </a:ext>
              </a:extLst>
            </p:cNvPr>
            <p:cNvSpPr/>
            <p:nvPr/>
          </p:nvSpPr>
          <p:spPr bwMode="auto">
            <a:xfrm>
              <a:off x="4921250" y="2965450"/>
              <a:ext cx="169418" cy="146050"/>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7" name="Group 56">
            <a:extLst>
              <a:ext uri="{FF2B5EF4-FFF2-40B4-BE49-F238E27FC236}">
                <a16:creationId xmlns:a16="http://schemas.microsoft.com/office/drawing/2014/main" id="{0CE97B93-54B9-4DBD-BBFA-03C234BE189E}"/>
              </a:ext>
            </a:extLst>
          </p:cNvPr>
          <p:cNvGrpSpPr/>
          <p:nvPr/>
        </p:nvGrpSpPr>
        <p:grpSpPr>
          <a:xfrm>
            <a:off x="8079285" y="5395411"/>
            <a:ext cx="220877" cy="367354"/>
            <a:chOff x="5622072" y="3034107"/>
            <a:chExt cx="225306" cy="374720"/>
          </a:xfrm>
        </p:grpSpPr>
        <p:sp>
          <p:nvSpPr>
            <p:cNvPr id="58" name="Freeform 5">
              <a:extLst>
                <a:ext uri="{FF2B5EF4-FFF2-40B4-BE49-F238E27FC236}">
                  <a16:creationId xmlns:a16="http://schemas.microsoft.com/office/drawing/2014/main" id="{BA7684AD-783B-46D9-AAAC-D0B666865C5F}"/>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222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9" name="Oval 58">
              <a:extLst>
                <a:ext uri="{FF2B5EF4-FFF2-40B4-BE49-F238E27FC236}">
                  <a16:creationId xmlns:a16="http://schemas.microsoft.com/office/drawing/2014/main" id="{EFC71F96-A674-4B80-B39F-9C5D2A3B30A8}"/>
                </a:ext>
              </a:extLst>
            </p:cNvPr>
            <p:cNvSpPr/>
            <p:nvPr/>
          </p:nvSpPr>
          <p:spPr bwMode="auto">
            <a:xfrm>
              <a:off x="5670550" y="3124200"/>
              <a:ext cx="107950" cy="10795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60" name="Group 207">
            <a:extLst>
              <a:ext uri="{FF2B5EF4-FFF2-40B4-BE49-F238E27FC236}">
                <a16:creationId xmlns:a16="http://schemas.microsoft.com/office/drawing/2014/main" id="{C17E6BD9-09E8-4BFC-B253-42D67B061BE5}"/>
              </a:ext>
            </a:extLst>
          </p:cNvPr>
          <p:cNvGrpSpPr>
            <a:grpSpLocks noChangeAspect="1"/>
          </p:cNvGrpSpPr>
          <p:nvPr/>
        </p:nvGrpSpPr>
        <p:grpSpPr bwMode="auto">
          <a:xfrm>
            <a:off x="1734743" y="5376169"/>
            <a:ext cx="672524" cy="654403"/>
            <a:chOff x="3750" y="2040"/>
            <a:chExt cx="334" cy="325"/>
          </a:xfrm>
          <a:solidFill>
            <a:schemeClr val="accent4"/>
          </a:solidFill>
        </p:grpSpPr>
        <p:sp>
          <p:nvSpPr>
            <p:cNvPr id="61" name="Rectangle 208">
              <a:extLst>
                <a:ext uri="{FF2B5EF4-FFF2-40B4-BE49-F238E27FC236}">
                  <a16:creationId xmlns:a16="http://schemas.microsoft.com/office/drawing/2014/main" id="{E1135F33-E80A-4056-AD94-629CF8D5CCCD}"/>
                </a:ext>
              </a:extLst>
            </p:cNvPr>
            <p:cNvSpPr>
              <a:spLocks noChangeArrowheads="1"/>
            </p:cNvSpPr>
            <p:nvPr/>
          </p:nvSpPr>
          <p:spPr bwMode="auto">
            <a:xfrm>
              <a:off x="3860" y="2071"/>
              <a:ext cx="150" cy="294"/>
            </a:xfrm>
            <a:prstGeom prst="rect">
              <a:avLst/>
            </a:prstGeom>
            <a:solidFill>
              <a:srgbClr val="FFFFFF"/>
            </a:solidFill>
            <a:ln w="15875"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2" name="Freeform 209">
              <a:extLst>
                <a:ext uri="{FF2B5EF4-FFF2-40B4-BE49-F238E27FC236}">
                  <a16:creationId xmlns:a16="http://schemas.microsoft.com/office/drawing/2014/main" id="{1E3B5205-835D-4E4F-B85E-361D130D5B9D}"/>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solidFill>
              <a:srgbClr val="FFFFFF"/>
            </a:solidFill>
            <a:ln w="15875"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3" name="Freeform 210">
              <a:extLst>
                <a:ext uri="{FF2B5EF4-FFF2-40B4-BE49-F238E27FC236}">
                  <a16:creationId xmlns:a16="http://schemas.microsoft.com/office/drawing/2014/main" id="{D2CC657C-0B13-4824-894D-DD9995ADC5DF}"/>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solidFill>
              <a:srgbClr val="FFFFFF"/>
            </a:solidFill>
            <a:ln w="15875"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 name="Freeform 211">
              <a:extLst>
                <a:ext uri="{FF2B5EF4-FFF2-40B4-BE49-F238E27FC236}">
                  <a16:creationId xmlns:a16="http://schemas.microsoft.com/office/drawing/2014/main" id="{DAFB1BD1-869B-41D1-94E9-40032C9CE2C1}"/>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solidFill>
              <a:srgbClr val="FFFFFF"/>
            </a:solidFill>
            <a:ln w="15875"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 name="Rectangle 212">
              <a:extLst>
                <a:ext uri="{FF2B5EF4-FFF2-40B4-BE49-F238E27FC236}">
                  <a16:creationId xmlns:a16="http://schemas.microsoft.com/office/drawing/2014/main" id="{5EE7C17A-5917-44CA-9A49-2A765032F78A}"/>
                </a:ext>
              </a:extLst>
            </p:cNvPr>
            <p:cNvSpPr>
              <a:spLocks noChangeArrowheads="1"/>
            </p:cNvSpPr>
            <p:nvPr/>
          </p:nvSpPr>
          <p:spPr bwMode="auto">
            <a:xfrm>
              <a:off x="3888" y="2040"/>
              <a:ext cx="42" cy="31"/>
            </a:xfrm>
            <a:prstGeom prst="rect">
              <a:avLst/>
            </a:prstGeom>
            <a:solidFill>
              <a:srgbClr val="FFFFFF"/>
            </a:solidFill>
            <a:ln w="15875"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 name="Rectangle 213">
              <a:extLst>
                <a:ext uri="{FF2B5EF4-FFF2-40B4-BE49-F238E27FC236}">
                  <a16:creationId xmlns:a16="http://schemas.microsoft.com/office/drawing/2014/main" id="{BA3227F4-D951-4598-890C-E8EEFF71B73F}"/>
                </a:ext>
              </a:extLst>
            </p:cNvPr>
            <p:cNvSpPr>
              <a:spLocks noChangeArrowheads="1"/>
            </p:cNvSpPr>
            <p:nvPr/>
          </p:nvSpPr>
          <p:spPr bwMode="auto">
            <a:xfrm>
              <a:off x="3970" y="2098"/>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 name="Rectangle 214">
              <a:extLst>
                <a:ext uri="{FF2B5EF4-FFF2-40B4-BE49-F238E27FC236}">
                  <a16:creationId xmlns:a16="http://schemas.microsoft.com/office/drawing/2014/main" id="{27FDAE1E-7D17-4D75-AA0A-808EF366E018}"/>
                </a:ext>
              </a:extLst>
            </p:cNvPr>
            <p:cNvSpPr>
              <a:spLocks noChangeArrowheads="1"/>
            </p:cNvSpPr>
            <p:nvPr/>
          </p:nvSpPr>
          <p:spPr bwMode="auto">
            <a:xfrm>
              <a:off x="3970" y="2138"/>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 name="Rectangle 215">
              <a:extLst>
                <a:ext uri="{FF2B5EF4-FFF2-40B4-BE49-F238E27FC236}">
                  <a16:creationId xmlns:a16="http://schemas.microsoft.com/office/drawing/2014/main" id="{87CD79D6-BAAD-4C91-BD99-D1ECA33221E1}"/>
                </a:ext>
              </a:extLst>
            </p:cNvPr>
            <p:cNvSpPr>
              <a:spLocks noChangeArrowheads="1"/>
            </p:cNvSpPr>
            <p:nvPr/>
          </p:nvSpPr>
          <p:spPr bwMode="auto">
            <a:xfrm>
              <a:off x="3970" y="2176"/>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Rectangle 216">
              <a:extLst>
                <a:ext uri="{FF2B5EF4-FFF2-40B4-BE49-F238E27FC236}">
                  <a16:creationId xmlns:a16="http://schemas.microsoft.com/office/drawing/2014/main" id="{EFE59CD3-844B-49FB-BB0E-516FCBBBED1A}"/>
                </a:ext>
              </a:extLst>
            </p:cNvPr>
            <p:cNvSpPr>
              <a:spLocks noChangeArrowheads="1"/>
            </p:cNvSpPr>
            <p:nvPr/>
          </p:nvSpPr>
          <p:spPr bwMode="auto">
            <a:xfrm>
              <a:off x="3970" y="2216"/>
              <a:ext cx="15" cy="16"/>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 name="Rectangle 217">
              <a:extLst>
                <a:ext uri="{FF2B5EF4-FFF2-40B4-BE49-F238E27FC236}">
                  <a16:creationId xmlns:a16="http://schemas.microsoft.com/office/drawing/2014/main" id="{BBB765D7-EE29-4C91-9AD8-BCE56427EEE4}"/>
                </a:ext>
              </a:extLst>
            </p:cNvPr>
            <p:cNvSpPr>
              <a:spLocks noChangeArrowheads="1"/>
            </p:cNvSpPr>
            <p:nvPr/>
          </p:nvSpPr>
          <p:spPr bwMode="auto">
            <a:xfrm>
              <a:off x="3970" y="2254"/>
              <a:ext cx="15" cy="16"/>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 name="Rectangle 218">
              <a:extLst>
                <a:ext uri="{FF2B5EF4-FFF2-40B4-BE49-F238E27FC236}">
                  <a16:creationId xmlns:a16="http://schemas.microsoft.com/office/drawing/2014/main" id="{FFD01834-5144-4210-84F8-7ED83AB3F2FD}"/>
                </a:ext>
              </a:extLst>
            </p:cNvPr>
            <p:cNvSpPr>
              <a:spLocks noChangeArrowheads="1"/>
            </p:cNvSpPr>
            <p:nvPr/>
          </p:nvSpPr>
          <p:spPr bwMode="auto">
            <a:xfrm>
              <a:off x="3885" y="2098"/>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 name="Rectangle 219">
              <a:extLst>
                <a:ext uri="{FF2B5EF4-FFF2-40B4-BE49-F238E27FC236}">
                  <a16:creationId xmlns:a16="http://schemas.microsoft.com/office/drawing/2014/main" id="{BD74E81B-6C9E-4267-B296-8B1C797A7048}"/>
                </a:ext>
              </a:extLst>
            </p:cNvPr>
            <p:cNvSpPr>
              <a:spLocks noChangeArrowheads="1"/>
            </p:cNvSpPr>
            <p:nvPr/>
          </p:nvSpPr>
          <p:spPr bwMode="auto">
            <a:xfrm>
              <a:off x="3885" y="2138"/>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 name="Rectangle 220">
              <a:extLst>
                <a:ext uri="{FF2B5EF4-FFF2-40B4-BE49-F238E27FC236}">
                  <a16:creationId xmlns:a16="http://schemas.microsoft.com/office/drawing/2014/main" id="{13A14A4F-1FF0-4417-88F8-30C7DB2BA6BA}"/>
                </a:ext>
              </a:extLst>
            </p:cNvPr>
            <p:cNvSpPr>
              <a:spLocks noChangeArrowheads="1"/>
            </p:cNvSpPr>
            <p:nvPr/>
          </p:nvSpPr>
          <p:spPr bwMode="auto">
            <a:xfrm>
              <a:off x="3885" y="2176"/>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 name="Rectangle 221">
              <a:extLst>
                <a:ext uri="{FF2B5EF4-FFF2-40B4-BE49-F238E27FC236}">
                  <a16:creationId xmlns:a16="http://schemas.microsoft.com/office/drawing/2014/main" id="{0881034B-7BFA-44AC-987D-ED243908858E}"/>
                </a:ext>
              </a:extLst>
            </p:cNvPr>
            <p:cNvSpPr>
              <a:spLocks noChangeArrowheads="1"/>
            </p:cNvSpPr>
            <p:nvPr/>
          </p:nvSpPr>
          <p:spPr bwMode="auto">
            <a:xfrm>
              <a:off x="3885" y="2216"/>
              <a:ext cx="15" cy="16"/>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 name="Rectangle 222">
              <a:extLst>
                <a:ext uri="{FF2B5EF4-FFF2-40B4-BE49-F238E27FC236}">
                  <a16:creationId xmlns:a16="http://schemas.microsoft.com/office/drawing/2014/main" id="{DB7058EE-9D4E-46A5-A30C-BF2773831C41}"/>
                </a:ext>
              </a:extLst>
            </p:cNvPr>
            <p:cNvSpPr>
              <a:spLocks noChangeArrowheads="1"/>
            </p:cNvSpPr>
            <p:nvPr/>
          </p:nvSpPr>
          <p:spPr bwMode="auto">
            <a:xfrm>
              <a:off x="3885" y="2254"/>
              <a:ext cx="15" cy="16"/>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 name="Rectangle 223">
              <a:extLst>
                <a:ext uri="{FF2B5EF4-FFF2-40B4-BE49-F238E27FC236}">
                  <a16:creationId xmlns:a16="http://schemas.microsoft.com/office/drawing/2014/main" id="{ADB31624-8AFA-4835-B10E-6E5609EFB59A}"/>
                </a:ext>
              </a:extLst>
            </p:cNvPr>
            <p:cNvSpPr>
              <a:spLocks noChangeArrowheads="1"/>
            </p:cNvSpPr>
            <p:nvPr/>
          </p:nvSpPr>
          <p:spPr bwMode="auto">
            <a:xfrm>
              <a:off x="3927" y="2098"/>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 name="Rectangle 224">
              <a:extLst>
                <a:ext uri="{FF2B5EF4-FFF2-40B4-BE49-F238E27FC236}">
                  <a16:creationId xmlns:a16="http://schemas.microsoft.com/office/drawing/2014/main" id="{D052D487-F68B-42A2-A588-A3FFF24BE479}"/>
                </a:ext>
              </a:extLst>
            </p:cNvPr>
            <p:cNvSpPr>
              <a:spLocks noChangeArrowheads="1"/>
            </p:cNvSpPr>
            <p:nvPr/>
          </p:nvSpPr>
          <p:spPr bwMode="auto">
            <a:xfrm>
              <a:off x="3927" y="2138"/>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 name="Rectangle 225">
              <a:extLst>
                <a:ext uri="{FF2B5EF4-FFF2-40B4-BE49-F238E27FC236}">
                  <a16:creationId xmlns:a16="http://schemas.microsoft.com/office/drawing/2014/main" id="{6C08AE84-F1A5-45EE-9835-AFD5B0B62499}"/>
                </a:ext>
              </a:extLst>
            </p:cNvPr>
            <p:cNvSpPr>
              <a:spLocks noChangeArrowheads="1"/>
            </p:cNvSpPr>
            <p:nvPr/>
          </p:nvSpPr>
          <p:spPr bwMode="auto">
            <a:xfrm>
              <a:off x="3927" y="2176"/>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 name="Rectangle 226">
              <a:extLst>
                <a:ext uri="{FF2B5EF4-FFF2-40B4-BE49-F238E27FC236}">
                  <a16:creationId xmlns:a16="http://schemas.microsoft.com/office/drawing/2014/main" id="{9DF77471-B1E7-4199-A345-C4B195B604BD}"/>
                </a:ext>
              </a:extLst>
            </p:cNvPr>
            <p:cNvSpPr>
              <a:spLocks noChangeArrowheads="1"/>
            </p:cNvSpPr>
            <p:nvPr/>
          </p:nvSpPr>
          <p:spPr bwMode="auto">
            <a:xfrm>
              <a:off x="3927" y="2216"/>
              <a:ext cx="15" cy="16"/>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 name="Rectangle 227">
              <a:extLst>
                <a:ext uri="{FF2B5EF4-FFF2-40B4-BE49-F238E27FC236}">
                  <a16:creationId xmlns:a16="http://schemas.microsoft.com/office/drawing/2014/main" id="{359DDDC0-7CC3-4A27-B70D-6767F749B51B}"/>
                </a:ext>
              </a:extLst>
            </p:cNvPr>
            <p:cNvSpPr>
              <a:spLocks noChangeArrowheads="1"/>
            </p:cNvSpPr>
            <p:nvPr/>
          </p:nvSpPr>
          <p:spPr bwMode="auto">
            <a:xfrm>
              <a:off x="3927" y="2254"/>
              <a:ext cx="15" cy="16"/>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 name="Rectangle 228">
              <a:extLst>
                <a:ext uri="{FF2B5EF4-FFF2-40B4-BE49-F238E27FC236}">
                  <a16:creationId xmlns:a16="http://schemas.microsoft.com/office/drawing/2014/main" id="{C7C23A12-D388-46AE-B81B-43E25CE5FC44}"/>
                </a:ext>
              </a:extLst>
            </p:cNvPr>
            <p:cNvSpPr>
              <a:spLocks noChangeArrowheads="1"/>
            </p:cNvSpPr>
            <p:nvPr/>
          </p:nvSpPr>
          <p:spPr bwMode="auto">
            <a:xfrm>
              <a:off x="3776" y="2176"/>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2" name="Rectangle 229">
              <a:extLst>
                <a:ext uri="{FF2B5EF4-FFF2-40B4-BE49-F238E27FC236}">
                  <a16:creationId xmlns:a16="http://schemas.microsoft.com/office/drawing/2014/main" id="{8B823418-6377-42DA-9C37-E4720F747872}"/>
                </a:ext>
              </a:extLst>
            </p:cNvPr>
            <p:cNvSpPr>
              <a:spLocks noChangeArrowheads="1"/>
            </p:cNvSpPr>
            <p:nvPr/>
          </p:nvSpPr>
          <p:spPr bwMode="auto">
            <a:xfrm>
              <a:off x="3776" y="2216"/>
              <a:ext cx="15" cy="16"/>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3" name="Rectangle 230">
              <a:extLst>
                <a:ext uri="{FF2B5EF4-FFF2-40B4-BE49-F238E27FC236}">
                  <a16:creationId xmlns:a16="http://schemas.microsoft.com/office/drawing/2014/main" id="{C6C07408-9C25-4FB3-B626-390B05F332D3}"/>
                </a:ext>
              </a:extLst>
            </p:cNvPr>
            <p:cNvSpPr>
              <a:spLocks noChangeArrowheads="1"/>
            </p:cNvSpPr>
            <p:nvPr/>
          </p:nvSpPr>
          <p:spPr bwMode="auto">
            <a:xfrm>
              <a:off x="3776" y="2254"/>
              <a:ext cx="15" cy="16"/>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4" name="Rectangle 231">
              <a:extLst>
                <a:ext uri="{FF2B5EF4-FFF2-40B4-BE49-F238E27FC236}">
                  <a16:creationId xmlns:a16="http://schemas.microsoft.com/office/drawing/2014/main" id="{788AC1B2-0C1C-41DF-BB4A-0316BF32D171}"/>
                </a:ext>
              </a:extLst>
            </p:cNvPr>
            <p:cNvSpPr>
              <a:spLocks noChangeArrowheads="1"/>
            </p:cNvSpPr>
            <p:nvPr/>
          </p:nvSpPr>
          <p:spPr bwMode="auto">
            <a:xfrm>
              <a:off x="3818" y="2176"/>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5" name="Rectangle 232">
              <a:extLst>
                <a:ext uri="{FF2B5EF4-FFF2-40B4-BE49-F238E27FC236}">
                  <a16:creationId xmlns:a16="http://schemas.microsoft.com/office/drawing/2014/main" id="{FEF06BFF-BE0A-40C4-9709-DD32825A6620}"/>
                </a:ext>
              </a:extLst>
            </p:cNvPr>
            <p:cNvSpPr>
              <a:spLocks noChangeArrowheads="1"/>
            </p:cNvSpPr>
            <p:nvPr/>
          </p:nvSpPr>
          <p:spPr bwMode="auto">
            <a:xfrm>
              <a:off x="3818" y="2216"/>
              <a:ext cx="15" cy="16"/>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6" name="Rectangle 233">
              <a:extLst>
                <a:ext uri="{FF2B5EF4-FFF2-40B4-BE49-F238E27FC236}">
                  <a16:creationId xmlns:a16="http://schemas.microsoft.com/office/drawing/2014/main" id="{6D308F6D-AFB3-49DA-9E14-2DFB430B334C}"/>
                </a:ext>
              </a:extLst>
            </p:cNvPr>
            <p:cNvSpPr>
              <a:spLocks noChangeArrowheads="1"/>
            </p:cNvSpPr>
            <p:nvPr/>
          </p:nvSpPr>
          <p:spPr bwMode="auto">
            <a:xfrm>
              <a:off x="3818" y="2254"/>
              <a:ext cx="15" cy="16"/>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7" name="Rectangle 234">
              <a:extLst>
                <a:ext uri="{FF2B5EF4-FFF2-40B4-BE49-F238E27FC236}">
                  <a16:creationId xmlns:a16="http://schemas.microsoft.com/office/drawing/2014/main" id="{6B740E95-0FF4-43FE-8E2F-7A2D8C8A836B}"/>
                </a:ext>
              </a:extLst>
            </p:cNvPr>
            <p:cNvSpPr>
              <a:spLocks noChangeArrowheads="1"/>
            </p:cNvSpPr>
            <p:nvPr/>
          </p:nvSpPr>
          <p:spPr bwMode="auto">
            <a:xfrm>
              <a:off x="3776" y="2295"/>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 name="Rectangle 235">
              <a:extLst>
                <a:ext uri="{FF2B5EF4-FFF2-40B4-BE49-F238E27FC236}">
                  <a16:creationId xmlns:a16="http://schemas.microsoft.com/office/drawing/2014/main" id="{24A08E23-2F47-4E5D-8A38-9695177476E3}"/>
                </a:ext>
              </a:extLst>
            </p:cNvPr>
            <p:cNvSpPr>
              <a:spLocks noChangeArrowheads="1"/>
            </p:cNvSpPr>
            <p:nvPr/>
          </p:nvSpPr>
          <p:spPr bwMode="auto">
            <a:xfrm>
              <a:off x="3818" y="2295"/>
              <a:ext cx="15" cy="15"/>
            </a:xfrm>
            <a:prstGeom prst="rect">
              <a:avLst/>
            </a:prstGeom>
            <a:grpFill/>
            <a:ln w="317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cxnSp>
        <p:nvCxnSpPr>
          <p:cNvPr id="89" name="Straight Arrow Connector 88">
            <a:extLst>
              <a:ext uri="{FF2B5EF4-FFF2-40B4-BE49-F238E27FC236}">
                <a16:creationId xmlns:a16="http://schemas.microsoft.com/office/drawing/2014/main" id="{240A4765-64E3-44D9-BDE0-C5514DEFD5CE}"/>
              </a:ext>
            </a:extLst>
          </p:cNvPr>
          <p:cNvCxnSpPr>
            <a:cxnSpLocks/>
          </p:cNvCxnSpPr>
          <p:nvPr/>
        </p:nvCxnSpPr>
        <p:spPr>
          <a:xfrm>
            <a:off x="5300663" y="2144209"/>
            <a:ext cx="464612" cy="531878"/>
          </a:xfrm>
          <a:prstGeom prst="straightConnector1">
            <a:avLst/>
          </a:prstGeom>
          <a:noFill/>
          <a:ln w="15875">
            <a:solidFill>
              <a:schemeClr val="tx1">
                <a:alpha val="40000"/>
              </a:schemeClr>
            </a:solidFill>
            <a:miter lim="800000"/>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cxnSp>
      <p:grpSp>
        <p:nvGrpSpPr>
          <p:cNvPr id="90" name="Group 89">
            <a:extLst>
              <a:ext uri="{FF2B5EF4-FFF2-40B4-BE49-F238E27FC236}">
                <a16:creationId xmlns:a16="http://schemas.microsoft.com/office/drawing/2014/main" id="{81BE882E-19A1-4FB5-83E8-BA97B45D5DF1}"/>
              </a:ext>
            </a:extLst>
          </p:cNvPr>
          <p:cNvGrpSpPr/>
          <p:nvPr/>
        </p:nvGrpSpPr>
        <p:grpSpPr>
          <a:xfrm>
            <a:off x="1353985" y="1675965"/>
            <a:ext cx="2655181" cy="1840423"/>
            <a:chOff x="1353985" y="1675965"/>
            <a:chExt cx="2655181" cy="1840423"/>
          </a:xfrm>
        </p:grpSpPr>
        <p:pic>
          <p:nvPicPr>
            <p:cNvPr id="91" name="Picture 90">
              <a:extLst>
                <a:ext uri="{FF2B5EF4-FFF2-40B4-BE49-F238E27FC236}">
                  <a16:creationId xmlns:a16="http://schemas.microsoft.com/office/drawing/2014/main" id="{239E8F8A-DE72-47A8-87E9-909E6FF7C321}"/>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40000" contrast="-40000"/>
                      </a14:imgEffect>
                    </a14:imgLayer>
                  </a14:imgProps>
                </a:ext>
              </a:extLst>
            </a:blip>
            <a:stretch>
              <a:fillRect/>
            </a:stretch>
          </p:blipFill>
          <p:spPr>
            <a:xfrm>
              <a:off x="2579669" y="1716192"/>
              <a:ext cx="539461" cy="384402"/>
            </a:xfrm>
            <a:prstGeom prst="rect">
              <a:avLst/>
            </a:prstGeom>
          </p:spPr>
        </p:pic>
        <p:pic>
          <p:nvPicPr>
            <p:cNvPr id="92" name="Picture 8" descr="http://blogs.ca.com/wp-content/uploads/2014/02/CA-fb-logo.png">
              <a:extLst>
                <a:ext uri="{FF2B5EF4-FFF2-40B4-BE49-F238E27FC236}">
                  <a16:creationId xmlns:a16="http://schemas.microsoft.com/office/drawing/2014/main" id="{EEDF988B-8A42-4AE4-BA3B-F27EF6B0396C}"/>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2051581" y="1847510"/>
              <a:ext cx="420327" cy="374570"/>
            </a:xfrm>
            <a:prstGeom prst="rect">
              <a:avLst/>
            </a:prstGeom>
            <a:noFill/>
            <a:extLst>
              <a:ext uri="{909E8E84-426E-40DD-AFC4-6F175D3DCCD1}">
                <a14:hiddenFill xmlns:a14="http://schemas.microsoft.com/office/drawing/2010/main">
                  <a:solidFill>
                    <a:srgbClr val="FFFFFF"/>
                  </a:solidFill>
                </a14:hiddenFill>
              </a:ext>
            </a:extLst>
          </p:spPr>
        </p:pic>
        <p:grpSp>
          <p:nvGrpSpPr>
            <p:cNvPr id="93" name="Group 92">
              <a:extLst>
                <a:ext uri="{FF2B5EF4-FFF2-40B4-BE49-F238E27FC236}">
                  <a16:creationId xmlns:a16="http://schemas.microsoft.com/office/drawing/2014/main" id="{7AAB85DB-BFE7-4A0A-8033-3EEEE17094B7}"/>
                </a:ext>
              </a:extLst>
            </p:cNvPr>
            <p:cNvGrpSpPr/>
            <p:nvPr/>
          </p:nvGrpSpPr>
          <p:grpSpPr>
            <a:xfrm>
              <a:off x="2753021" y="2016447"/>
              <a:ext cx="1256145" cy="906582"/>
              <a:chOff x="1173639" y="1410730"/>
              <a:chExt cx="1256145" cy="906582"/>
            </a:xfrm>
          </p:grpSpPr>
          <p:grpSp>
            <p:nvGrpSpPr>
              <p:cNvPr id="102" name="Group 101">
                <a:extLst>
                  <a:ext uri="{FF2B5EF4-FFF2-40B4-BE49-F238E27FC236}">
                    <a16:creationId xmlns:a16="http://schemas.microsoft.com/office/drawing/2014/main" id="{0C3A1909-794C-4221-99D6-EF9A13B752E8}"/>
                  </a:ext>
                </a:extLst>
              </p:cNvPr>
              <p:cNvGrpSpPr/>
              <p:nvPr/>
            </p:nvGrpSpPr>
            <p:grpSpPr>
              <a:xfrm>
                <a:off x="1544221" y="1410730"/>
                <a:ext cx="479463" cy="395218"/>
                <a:chOff x="2309175" y="2458187"/>
                <a:chExt cx="466711" cy="403143"/>
              </a:xfrm>
            </p:grpSpPr>
            <p:sp>
              <p:nvSpPr>
                <p:cNvPr id="104" name="Isosceles Triangle 103">
                  <a:extLst>
                    <a:ext uri="{FF2B5EF4-FFF2-40B4-BE49-F238E27FC236}">
                      <a16:creationId xmlns:a16="http://schemas.microsoft.com/office/drawing/2014/main" id="{E2C53A5C-DB93-4811-968D-FE69D4A93AB1}"/>
                    </a:ext>
                  </a:extLst>
                </p:cNvPr>
                <p:cNvSpPr>
                  <a:spLocks noChangeAspect="1"/>
                </p:cNvSpPr>
                <p:nvPr/>
              </p:nvSpPr>
              <p:spPr bwMode="auto">
                <a:xfrm>
                  <a:off x="2309175" y="2458187"/>
                  <a:ext cx="466711" cy="402336"/>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Freeform: Shape 104">
                  <a:extLst>
                    <a:ext uri="{FF2B5EF4-FFF2-40B4-BE49-F238E27FC236}">
                      <a16:creationId xmlns:a16="http://schemas.microsoft.com/office/drawing/2014/main" id="{C5C6FF9D-51A2-47C0-A2D1-91D1E656A487}"/>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chemeClr val="accent4"/>
                </a:solidFill>
                <a:ln w="152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03" name="TextBox 102">
                <a:extLst>
                  <a:ext uri="{FF2B5EF4-FFF2-40B4-BE49-F238E27FC236}">
                    <a16:creationId xmlns:a16="http://schemas.microsoft.com/office/drawing/2014/main" id="{075C698C-2A2A-41F5-A39C-43E5F207E9FD}"/>
                  </a:ext>
                </a:extLst>
              </p:cNvPr>
              <p:cNvSpPr txBox="1"/>
              <p:nvPr/>
            </p:nvSpPr>
            <p:spPr>
              <a:xfrm>
                <a:off x="1173639" y="1874115"/>
                <a:ext cx="1256145" cy="443197"/>
              </a:xfrm>
              <a:prstGeom prst="rect">
                <a:avLst/>
              </a:prstGeom>
            </p:spPr>
            <p:txBody>
              <a:bodyPr wrap="square" lIns="0" tIns="0" rIns="0" bIns="0" rtlCol="0">
                <a:spAutoFit/>
              </a:bodyPr>
              <a:lstStyle/>
              <a:p>
                <a:pPr marL="0" marR="0" lvl="0" indent="0" algn="ctr" defTabSz="914102" rtl="0" eaLnBrk="1" fontAlgn="base" latinLnBrk="0" hangingPunct="1">
                  <a:lnSpc>
                    <a:spcPct val="90000"/>
                  </a:lnSpc>
                  <a:spcBef>
                    <a:spcPct val="0"/>
                  </a:spcBef>
                  <a:spcAft>
                    <a:spcPct val="0"/>
                  </a:spcAft>
                  <a:buClrTx/>
                  <a:buSzPct val="80000"/>
                  <a:buFontTx/>
                  <a:buNone/>
                  <a:tabLst/>
                  <a:defRPr/>
                </a:pPr>
                <a:r>
                  <a:rPr kumimoji="0" lang="en-US" sz="16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Commercial</a:t>
                </a:r>
                <a:br>
                  <a:rPr kumimoji="0" lang="en-US" sz="16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 IdPs</a:t>
                </a:r>
              </a:p>
            </p:txBody>
          </p:sp>
        </p:grpSp>
        <p:pic>
          <p:nvPicPr>
            <p:cNvPr id="94" name="Picture 2" descr="File:Twitter 2010 logo - from Commons.svg">
              <a:extLst>
                <a:ext uri="{FF2B5EF4-FFF2-40B4-BE49-F238E27FC236}">
                  <a16:creationId xmlns:a16="http://schemas.microsoft.com/office/drawing/2014/main" id="{9E84A05E-6620-48E0-A5A0-CC517293B05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353985" y="2654048"/>
              <a:ext cx="933900" cy="173205"/>
            </a:xfrm>
            <a:prstGeom prst="rect">
              <a:avLst/>
            </a:prstGeom>
            <a:noFill/>
            <a:extLst>
              <a:ext uri="{909E8E84-426E-40DD-AFC4-6F175D3DCCD1}">
                <a14:hiddenFill xmlns:a14="http://schemas.microsoft.com/office/drawing/2010/main">
                  <a:solidFill>
                    <a:srgbClr val="FFFFFF"/>
                  </a:solidFill>
                </a14:hiddenFill>
              </a:ext>
            </a:extLst>
          </p:spPr>
        </p:pic>
        <p:sp>
          <p:nvSpPr>
            <p:cNvPr id="95" name="Freeform 9">
              <a:extLst>
                <a:ext uri="{FF2B5EF4-FFF2-40B4-BE49-F238E27FC236}">
                  <a16:creationId xmlns:a16="http://schemas.microsoft.com/office/drawing/2014/main" id="{A819B230-CBF4-417D-BF08-FD869DB7DE9C}"/>
                </a:ext>
              </a:extLst>
            </p:cNvPr>
            <p:cNvSpPr>
              <a:spLocks noChangeAspect="1" noEditPoints="1"/>
            </p:cNvSpPr>
            <p:nvPr/>
          </p:nvSpPr>
          <p:spPr bwMode="black">
            <a:xfrm>
              <a:off x="1638609" y="2277264"/>
              <a:ext cx="845019" cy="183328"/>
            </a:xfrm>
            <a:custGeom>
              <a:avLst/>
              <a:gdLst>
                <a:gd name="T0" fmla="*/ 486 w 948"/>
                <a:gd name="T1" fmla="*/ 100 h 194"/>
                <a:gd name="T2" fmla="*/ 500 w 948"/>
                <a:gd name="T3" fmla="*/ 162 h 194"/>
                <a:gd name="T4" fmla="*/ 522 w 948"/>
                <a:gd name="T5" fmla="*/ 111 h 194"/>
                <a:gd name="T6" fmla="*/ 376 w 948"/>
                <a:gd name="T7" fmla="*/ 91 h 194"/>
                <a:gd name="T8" fmla="*/ 360 w 948"/>
                <a:gd name="T9" fmla="*/ 113 h 194"/>
                <a:gd name="T10" fmla="*/ 393 w 948"/>
                <a:gd name="T11" fmla="*/ 108 h 194"/>
                <a:gd name="T12" fmla="*/ 126 w 948"/>
                <a:gd name="T13" fmla="*/ 155 h 194"/>
                <a:gd name="T14" fmla="*/ 156 w 948"/>
                <a:gd name="T15" fmla="*/ 161 h 194"/>
                <a:gd name="T16" fmla="*/ 138 w 948"/>
                <a:gd name="T17" fmla="*/ 146 h 194"/>
                <a:gd name="T18" fmla="*/ 631 w 948"/>
                <a:gd name="T19" fmla="*/ 95 h 194"/>
                <a:gd name="T20" fmla="*/ 613 w 948"/>
                <a:gd name="T21" fmla="*/ 145 h 194"/>
                <a:gd name="T22" fmla="*/ 650 w 948"/>
                <a:gd name="T23" fmla="*/ 145 h 194"/>
                <a:gd name="T24" fmla="*/ 631 w 948"/>
                <a:gd name="T25" fmla="*/ 95 h 194"/>
                <a:gd name="T26" fmla="*/ 20 w 948"/>
                <a:gd name="T27" fmla="*/ 193 h 194"/>
                <a:gd name="T28" fmla="*/ 0 w 948"/>
                <a:gd name="T29" fmla="*/ 97 h 194"/>
                <a:gd name="T30" fmla="*/ 20 w 948"/>
                <a:gd name="T31" fmla="*/ 63 h 194"/>
                <a:gd name="T32" fmla="*/ 63 w 948"/>
                <a:gd name="T33" fmla="*/ 0 h 194"/>
                <a:gd name="T34" fmla="*/ 89 w 948"/>
                <a:gd name="T35" fmla="*/ 34 h 194"/>
                <a:gd name="T36" fmla="*/ 60 w 948"/>
                <a:gd name="T37" fmla="*/ 47 h 194"/>
                <a:gd name="T38" fmla="*/ 90 w 948"/>
                <a:gd name="T39" fmla="*/ 63 h 194"/>
                <a:gd name="T40" fmla="*/ 60 w 948"/>
                <a:gd name="T41" fmla="*/ 97 h 194"/>
                <a:gd name="T42" fmla="*/ 196 w 948"/>
                <a:gd name="T43" fmla="*/ 193 h 194"/>
                <a:gd name="T44" fmla="*/ 161 w 948"/>
                <a:gd name="T45" fmla="*/ 185 h 194"/>
                <a:gd name="T46" fmla="*/ 86 w 948"/>
                <a:gd name="T47" fmla="*/ 156 h 194"/>
                <a:gd name="T48" fmla="*/ 156 w 948"/>
                <a:gd name="T49" fmla="*/ 120 h 194"/>
                <a:gd name="T50" fmla="*/ 133 w 948"/>
                <a:gd name="T51" fmla="*/ 97 h 194"/>
                <a:gd name="T52" fmla="*/ 103 w 948"/>
                <a:gd name="T53" fmla="*/ 63 h 194"/>
                <a:gd name="T54" fmla="*/ 196 w 948"/>
                <a:gd name="T55" fmla="*/ 114 h 194"/>
                <a:gd name="T56" fmla="*/ 308 w 948"/>
                <a:gd name="T57" fmla="*/ 99 h 194"/>
                <a:gd name="T58" fmla="*/ 249 w 948"/>
                <a:gd name="T59" fmla="*/ 114 h 194"/>
                <a:gd name="T60" fmla="*/ 272 w 948"/>
                <a:gd name="T61" fmla="*/ 161 h 194"/>
                <a:gd name="T62" fmla="*/ 308 w 948"/>
                <a:gd name="T63" fmla="*/ 189 h 194"/>
                <a:gd name="T64" fmla="*/ 209 w 948"/>
                <a:gd name="T65" fmla="*/ 140 h 194"/>
                <a:gd name="T66" fmla="*/ 268 w 948"/>
                <a:gd name="T67" fmla="*/ 62 h 194"/>
                <a:gd name="T68" fmla="*/ 308 w 948"/>
                <a:gd name="T69" fmla="*/ 99 h 194"/>
                <a:gd name="T70" fmla="*/ 360 w 948"/>
                <a:gd name="T71" fmla="*/ 140 h 194"/>
                <a:gd name="T72" fmla="*/ 383 w 948"/>
                <a:gd name="T73" fmla="*/ 161 h 194"/>
                <a:gd name="T74" fmla="*/ 429 w 948"/>
                <a:gd name="T75" fmla="*/ 189 h 194"/>
                <a:gd name="T76" fmla="*/ 320 w 948"/>
                <a:gd name="T77" fmla="*/ 140 h 194"/>
                <a:gd name="T78" fmla="*/ 376 w 948"/>
                <a:gd name="T79" fmla="*/ 62 h 194"/>
                <a:gd name="T80" fmla="*/ 433 w 948"/>
                <a:gd name="T81" fmla="*/ 140 h 194"/>
                <a:gd name="T82" fmla="*/ 499 w 948"/>
                <a:gd name="T83" fmla="*/ 194 h 194"/>
                <a:gd name="T84" fmla="*/ 446 w 948"/>
                <a:gd name="T85" fmla="*/ 10 h 194"/>
                <a:gd name="T86" fmla="*/ 486 w 948"/>
                <a:gd name="T87" fmla="*/ 66 h 194"/>
                <a:gd name="T88" fmla="*/ 562 w 948"/>
                <a:gd name="T89" fmla="*/ 108 h 194"/>
                <a:gd name="T90" fmla="*/ 690 w 948"/>
                <a:gd name="T91" fmla="*/ 141 h 194"/>
                <a:gd name="T92" fmla="*/ 573 w 948"/>
                <a:gd name="T93" fmla="*/ 141 h 194"/>
                <a:gd name="T94" fmla="*/ 632 w 948"/>
                <a:gd name="T95" fmla="*/ 62 h 194"/>
                <a:gd name="T96" fmla="*/ 690 w 948"/>
                <a:gd name="T97" fmla="*/ 141 h 194"/>
                <a:gd name="T98" fmla="*/ 759 w 948"/>
                <a:gd name="T99" fmla="*/ 194 h 194"/>
                <a:gd name="T100" fmla="*/ 701 w 948"/>
                <a:gd name="T101" fmla="*/ 115 h 194"/>
                <a:gd name="T102" fmla="*/ 817 w 948"/>
                <a:gd name="T103" fmla="*/ 115 h 194"/>
                <a:gd name="T104" fmla="*/ 948 w 948"/>
                <a:gd name="T105" fmla="*/ 193 h 194"/>
                <a:gd name="T106" fmla="*/ 868 w 948"/>
                <a:gd name="T107" fmla="*/ 132 h 194"/>
                <a:gd name="T108" fmla="*/ 828 w 948"/>
                <a:gd name="T109" fmla="*/ 193 h 194"/>
                <a:gd name="T110" fmla="*/ 868 w 948"/>
                <a:gd name="T111" fmla="*/ 4 h 194"/>
                <a:gd name="T112" fmla="*/ 905 w 948"/>
                <a:gd name="T113" fmla="*/ 63 h 194"/>
                <a:gd name="T114" fmla="*/ 908 w 948"/>
                <a:gd name="T115" fmla="*/ 126 h 194"/>
                <a:gd name="T116" fmla="*/ 759 w 948"/>
                <a:gd name="T117" fmla="*/ 95 h 194"/>
                <a:gd name="T118" fmla="*/ 741 w 948"/>
                <a:gd name="T119" fmla="*/ 145 h 194"/>
                <a:gd name="T120" fmla="*/ 777 w 948"/>
                <a:gd name="T121" fmla="*/ 145 h 194"/>
                <a:gd name="T122" fmla="*/ 759 w 948"/>
                <a:gd name="T123" fmla="*/ 9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8" h="194">
                  <a:moveTo>
                    <a:pt x="506" y="95"/>
                  </a:moveTo>
                  <a:cubicBezTo>
                    <a:pt x="498" y="95"/>
                    <a:pt x="492" y="97"/>
                    <a:pt x="486" y="100"/>
                  </a:cubicBezTo>
                  <a:cubicBezTo>
                    <a:pt x="486" y="161"/>
                    <a:pt x="486" y="161"/>
                    <a:pt x="486" y="161"/>
                  </a:cubicBezTo>
                  <a:cubicBezTo>
                    <a:pt x="491" y="162"/>
                    <a:pt x="495" y="162"/>
                    <a:pt x="500" y="162"/>
                  </a:cubicBezTo>
                  <a:cubicBezTo>
                    <a:pt x="520" y="162"/>
                    <a:pt x="522" y="153"/>
                    <a:pt x="522" y="141"/>
                  </a:cubicBezTo>
                  <a:cubicBezTo>
                    <a:pt x="522" y="111"/>
                    <a:pt x="522" y="111"/>
                    <a:pt x="522" y="111"/>
                  </a:cubicBezTo>
                  <a:cubicBezTo>
                    <a:pt x="522" y="102"/>
                    <a:pt x="519" y="95"/>
                    <a:pt x="506" y="95"/>
                  </a:cubicBezTo>
                  <a:moveTo>
                    <a:pt x="376" y="91"/>
                  </a:moveTo>
                  <a:cubicBezTo>
                    <a:pt x="363" y="91"/>
                    <a:pt x="360" y="99"/>
                    <a:pt x="360" y="108"/>
                  </a:cubicBezTo>
                  <a:cubicBezTo>
                    <a:pt x="360" y="113"/>
                    <a:pt x="360" y="113"/>
                    <a:pt x="360" y="113"/>
                  </a:cubicBezTo>
                  <a:cubicBezTo>
                    <a:pt x="393" y="113"/>
                    <a:pt x="393" y="113"/>
                    <a:pt x="393" y="113"/>
                  </a:cubicBezTo>
                  <a:cubicBezTo>
                    <a:pt x="393" y="108"/>
                    <a:pt x="393" y="108"/>
                    <a:pt x="393" y="108"/>
                  </a:cubicBezTo>
                  <a:cubicBezTo>
                    <a:pt x="393" y="99"/>
                    <a:pt x="390" y="91"/>
                    <a:pt x="376" y="91"/>
                  </a:cubicBezTo>
                  <a:moveTo>
                    <a:pt x="126" y="155"/>
                  </a:moveTo>
                  <a:cubicBezTo>
                    <a:pt x="126" y="162"/>
                    <a:pt x="129" y="166"/>
                    <a:pt x="137" y="166"/>
                  </a:cubicBezTo>
                  <a:cubicBezTo>
                    <a:pt x="145" y="166"/>
                    <a:pt x="150" y="164"/>
                    <a:pt x="156" y="161"/>
                  </a:cubicBezTo>
                  <a:cubicBezTo>
                    <a:pt x="156" y="146"/>
                    <a:pt x="156" y="146"/>
                    <a:pt x="156" y="146"/>
                  </a:cubicBezTo>
                  <a:cubicBezTo>
                    <a:pt x="138" y="146"/>
                    <a:pt x="138" y="146"/>
                    <a:pt x="138" y="146"/>
                  </a:cubicBezTo>
                  <a:cubicBezTo>
                    <a:pt x="130" y="146"/>
                    <a:pt x="126" y="148"/>
                    <a:pt x="126" y="155"/>
                  </a:cubicBezTo>
                  <a:moveTo>
                    <a:pt x="631" y="95"/>
                  </a:moveTo>
                  <a:cubicBezTo>
                    <a:pt x="618" y="95"/>
                    <a:pt x="613" y="102"/>
                    <a:pt x="613" y="111"/>
                  </a:cubicBezTo>
                  <a:cubicBezTo>
                    <a:pt x="613" y="145"/>
                    <a:pt x="613" y="145"/>
                    <a:pt x="613" y="145"/>
                  </a:cubicBezTo>
                  <a:cubicBezTo>
                    <a:pt x="613" y="154"/>
                    <a:pt x="618" y="161"/>
                    <a:pt x="631" y="161"/>
                  </a:cubicBezTo>
                  <a:cubicBezTo>
                    <a:pt x="645" y="161"/>
                    <a:pt x="650" y="154"/>
                    <a:pt x="650" y="145"/>
                  </a:cubicBezTo>
                  <a:cubicBezTo>
                    <a:pt x="650" y="111"/>
                    <a:pt x="650" y="111"/>
                    <a:pt x="650" y="111"/>
                  </a:cubicBezTo>
                  <a:cubicBezTo>
                    <a:pt x="650" y="102"/>
                    <a:pt x="645" y="95"/>
                    <a:pt x="631" y="95"/>
                  </a:cubicBezTo>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moveTo>
                    <a:pt x="196" y="193"/>
                  </a:moveTo>
                  <a:cubicBezTo>
                    <a:pt x="162" y="193"/>
                    <a:pt x="162" y="193"/>
                    <a:pt x="162" y="193"/>
                  </a:cubicBezTo>
                  <a:cubicBezTo>
                    <a:pt x="161" y="185"/>
                    <a:pt x="161" y="185"/>
                    <a:pt x="161" y="185"/>
                  </a:cubicBezTo>
                  <a:cubicBezTo>
                    <a:pt x="146" y="193"/>
                    <a:pt x="132" y="194"/>
                    <a:pt x="123" y="194"/>
                  </a:cubicBezTo>
                  <a:cubicBezTo>
                    <a:pt x="99" y="194"/>
                    <a:pt x="86" y="178"/>
                    <a:pt x="86" y="156"/>
                  </a:cubicBezTo>
                  <a:cubicBezTo>
                    <a:pt x="86" y="129"/>
                    <a:pt x="101" y="120"/>
                    <a:pt x="128" y="120"/>
                  </a:cubicBezTo>
                  <a:cubicBezTo>
                    <a:pt x="156" y="120"/>
                    <a:pt x="156" y="120"/>
                    <a:pt x="156" y="120"/>
                  </a:cubicBezTo>
                  <a:cubicBezTo>
                    <a:pt x="156" y="114"/>
                    <a:pt x="156" y="114"/>
                    <a:pt x="156" y="114"/>
                  </a:cubicBezTo>
                  <a:cubicBezTo>
                    <a:pt x="156" y="101"/>
                    <a:pt x="154" y="97"/>
                    <a:pt x="133" y="97"/>
                  </a:cubicBezTo>
                  <a:cubicBezTo>
                    <a:pt x="99" y="97"/>
                    <a:pt x="99" y="97"/>
                    <a:pt x="99" y="97"/>
                  </a:cubicBezTo>
                  <a:cubicBezTo>
                    <a:pt x="103" y="63"/>
                    <a:pt x="103" y="63"/>
                    <a:pt x="103" y="63"/>
                  </a:cubicBezTo>
                  <a:cubicBezTo>
                    <a:pt x="140" y="63"/>
                    <a:pt x="140" y="63"/>
                    <a:pt x="140" y="63"/>
                  </a:cubicBezTo>
                  <a:cubicBezTo>
                    <a:pt x="186" y="63"/>
                    <a:pt x="196" y="78"/>
                    <a:pt x="196" y="114"/>
                  </a:cubicBezTo>
                  <a:lnTo>
                    <a:pt x="196" y="193"/>
                  </a:lnTo>
                  <a:close/>
                  <a:moveTo>
                    <a:pt x="308" y="99"/>
                  </a:moveTo>
                  <a:cubicBezTo>
                    <a:pt x="288" y="95"/>
                    <a:pt x="282" y="95"/>
                    <a:pt x="272" y="95"/>
                  </a:cubicBezTo>
                  <a:cubicBezTo>
                    <a:pt x="254" y="95"/>
                    <a:pt x="249" y="99"/>
                    <a:pt x="249" y="114"/>
                  </a:cubicBezTo>
                  <a:cubicBezTo>
                    <a:pt x="249" y="142"/>
                    <a:pt x="249" y="142"/>
                    <a:pt x="249" y="142"/>
                  </a:cubicBezTo>
                  <a:cubicBezTo>
                    <a:pt x="249" y="157"/>
                    <a:pt x="254" y="161"/>
                    <a:pt x="272" y="161"/>
                  </a:cubicBezTo>
                  <a:cubicBezTo>
                    <a:pt x="282" y="161"/>
                    <a:pt x="288" y="161"/>
                    <a:pt x="308" y="157"/>
                  </a:cubicBezTo>
                  <a:cubicBezTo>
                    <a:pt x="308" y="189"/>
                    <a:pt x="308" y="189"/>
                    <a:pt x="308" y="189"/>
                  </a:cubicBezTo>
                  <a:cubicBezTo>
                    <a:pt x="290" y="193"/>
                    <a:pt x="278" y="194"/>
                    <a:pt x="268" y="194"/>
                  </a:cubicBezTo>
                  <a:cubicBezTo>
                    <a:pt x="226" y="194"/>
                    <a:pt x="209" y="172"/>
                    <a:pt x="209" y="140"/>
                  </a:cubicBezTo>
                  <a:cubicBezTo>
                    <a:pt x="209" y="116"/>
                    <a:pt x="209" y="116"/>
                    <a:pt x="209" y="116"/>
                  </a:cubicBezTo>
                  <a:cubicBezTo>
                    <a:pt x="209" y="84"/>
                    <a:pt x="226" y="62"/>
                    <a:pt x="268" y="62"/>
                  </a:cubicBezTo>
                  <a:cubicBezTo>
                    <a:pt x="278" y="62"/>
                    <a:pt x="290" y="63"/>
                    <a:pt x="308" y="67"/>
                  </a:cubicBezTo>
                  <a:lnTo>
                    <a:pt x="308" y="99"/>
                  </a:lnTo>
                  <a:close/>
                  <a:moveTo>
                    <a:pt x="433" y="140"/>
                  </a:moveTo>
                  <a:cubicBezTo>
                    <a:pt x="360" y="140"/>
                    <a:pt x="360" y="140"/>
                    <a:pt x="360" y="140"/>
                  </a:cubicBezTo>
                  <a:cubicBezTo>
                    <a:pt x="360" y="142"/>
                    <a:pt x="360" y="142"/>
                    <a:pt x="360" y="142"/>
                  </a:cubicBezTo>
                  <a:cubicBezTo>
                    <a:pt x="360" y="157"/>
                    <a:pt x="365" y="161"/>
                    <a:pt x="383" y="161"/>
                  </a:cubicBezTo>
                  <a:cubicBezTo>
                    <a:pt x="399" y="161"/>
                    <a:pt x="409" y="161"/>
                    <a:pt x="429" y="157"/>
                  </a:cubicBezTo>
                  <a:cubicBezTo>
                    <a:pt x="429" y="189"/>
                    <a:pt x="429" y="189"/>
                    <a:pt x="429" y="189"/>
                  </a:cubicBezTo>
                  <a:cubicBezTo>
                    <a:pt x="410" y="193"/>
                    <a:pt x="399" y="194"/>
                    <a:pt x="380" y="194"/>
                  </a:cubicBezTo>
                  <a:cubicBezTo>
                    <a:pt x="337" y="194"/>
                    <a:pt x="320" y="172"/>
                    <a:pt x="320" y="140"/>
                  </a:cubicBezTo>
                  <a:cubicBezTo>
                    <a:pt x="320" y="113"/>
                    <a:pt x="320" y="113"/>
                    <a:pt x="320" y="113"/>
                  </a:cubicBezTo>
                  <a:cubicBezTo>
                    <a:pt x="320" y="85"/>
                    <a:pt x="333" y="62"/>
                    <a:pt x="376" y="62"/>
                  </a:cubicBezTo>
                  <a:cubicBezTo>
                    <a:pt x="420" y="62"/>
                    <a:pt x="433" y="84"/>
                    <a:pt x="433" y="113"/>
                  </a:cubicBezTo>
                  <a:lnTo>
                    <a:pt x="433" y="140"/>
                  </a:lnTo>
                  <a:close/>
                  <a:moveTo>
                    <a:pt x="562" y="140"/>
                  </a:moveTo>
                  <a:cubicBezTo>
                    <a:pt x="562" y="172"/>
                    <a:pt x="553" y="194"/>
                    <a:pt x="499" y="194"/>
                  </a:cubicBezTo>
                  <a:cubicBezTo>
                    <a:pt x="479" y="194"/>
                    <a:pt x="468" y="193"/>
                    <a:pt x="446" y="189"/>
                  </a:cubicBezTo>
                  <a:cubicBezTo>
                    <a:pt x="446" y="10"/>
                    <a:pt x="446" y="10"/>
                    <a:pt x="446" y="10"/>
                  </a:cubicBezTo>
                  <a:cubicBezTo>
                    <a:pt x="486" y="4"/>
                    <a:pt x="486" y="4"/>
                    <a:pt x="486" y="4"/>
                  </a:cubicBezTo>
                  <a:cubicBezTo>
                    <a:pt x="486" y="66"/>
                    <a:pt x="486" y="66"/>
                    <a:pt x="486" y="66"/>
                  </a:cubicBezTo>
                  <a:cubicBezTo>
                    <a:pt x="494" y="63"/>
                    <a:pt x="506" y="62"/>
                    <a:pt x="516" y="62"/>
                  </a:cubicBezTo>
                  <a:cubicBezTo>
                    <a:pt x="555" y="62"/>
                    <a:pt x="562" y="79"/>
                    <a:pt x="562" y="108"/>
                  </a:cubicBezTo>
                  <a:lnTo>
                    <a:pt x="562" y="140"/>
                  </a:lnTo>
                  <a:close/>
                  <a:moveTo>
                    <a:pt x="690" y="141"/>
                  </a:moveTo>
                  <a:cubicBezTo>
                    <a:pt x="690" y="168"/>
                    <a:pt x="678" y="194"/>
                    <a:pt x="632" y="194"/>
                  </a:cubicBezTo>
                  <a:cubicBezTo>
                    <a:pt x="585" y="194"/>
                    <a:pt x="573" y="168"/>
                    <a:pt x="573" y="141"/>
                  </a:cubicBezTo>
                  <a:cubicBezTo>
                    <a:pt x="573" y="115"/>
                    <a:pt x="573" y="115"/>
                    <a:pt x="573" y="115"/>
                  </a:cubicBezTo>
                  <a:cubicBezTo>
                    <a:pt x="573" y="88"/>
                    <a:pt x="585" y="62"/>
                    <a:pt x="632" y="62"/>
                  </a:cubicBezTo>
                  <a:cubicBezTo>
                    <a:pt x="678" y="62"/>
                    <a:pt x="690" y="88"/>
                    <a:pt x="690" y="115"/>
                  </a:cubicBezTo>
                  <a:lnTo>
                    <a:pt x="690" y="141"/>
                  </a:lnTo>
                  <a:close/>
                  <a:moveTo>
                    <a:pt x="817" y="141"/>
                  </a:moveTo>
                  <a:cubicBezTo>
                    <a:pt x="817" y="168"/>
                    <a:pt x="806" y="194"/>
                    <a:pt x="759" y="194"/>
                  </a:cubicBezTo>
                  <a:cubicBezTo>
                    <a:pt x="712" y="194"/>
                    <a:pt x="701" y="168"/>
                    <a:pt x="701" y="141"/>
                  </a:cubicBezTo>
                  <a:cubicBezTo>
                    <a:pt x="701" y="115"/>
                    <a:pt x="701" y="115"/>
                    <a:pt x="701" y="115"/>
                  </a:cubicBezTo>
                  <a:cubicBezTo>
                    <a:pt x="701" y="88"/>
                    <a:pt x="712" y="62"/>
                    <a:pt x="759" y="62"/>
                  </a:cubicBezTo>
                  <a:cubicBezTo>
                    <a:pt x="806" y="62"/>
                    <a:pt x="817" y="88"/>
                    <a:pt x="817" y="115"/>
                  </a:cubicBezTo>
                  <a:lnTo>
                    <a:pt x="817" y="141"/>
                  </a:lnTo>
                  <a:close/>
                  <a:moveTo>
                    <a:pt x="948" y="193"/>
                  </a:moveTo>
                  <a:cubicBezTo>
                    <a:pt x="905" y="193"/>
                    <a:pt x="905" y="193"/>
                    <a:pt x="905" y="193"/>
                  </a:cubicBezTo>
                  <a:cubicBezTo>
                    <a:pt x="868" y="132"/>
                    <a:pt x="868" y="132"/>
                    <a:pt x="868" y="132"/>
                  </a:cubicBezTo>
                  <a:cubicBezTo>
                    <a:pt x="868" y="193"/>
                    <a:pt x="868" y="193"/>
                    <a:pt x="868" y="193"/>
                  </a:cubicBezTo>
                  <a:cubicBezTo>
                    <a:pt x="828" y="193"/>
                    <a:pt x="828" y="193"/>
                    <a:pt x="828" y="193"/>
                  </a:cubicBezTo>
                  <a:cubicBezTo>
                    <a:pt x="828" y="10"/>
                    <a:pt x="828" y="10"/>
                    <a:pt x="828" y="10"/>
                  </a:cubicBezTo>
                  <a:cubicBezTo>
                    <a:pt x="868" y="4"/>
                    <a:pt x="868" y="4"/>
                    <a:pt x="868" y="4"/>
                  </a:cubicBezTo>
                  <a:cubicBezTo>
                    <a:pt x="868" y="121"/>
                    <a:pt x="868" y="121"/>
                    <a:pt x="868" y="121"/>
                  </a:cubicBezTo>
                  <a:cubicBezTo>
                    <a:pt x="905" y="63"/>
                    <a:pt x="905" y="63"/>
                    <a:pt x="905" y="63"/>
                  </a:cubicBezTo>
                  <a:cubicBezTo>
                    <a:pt x="948" y="63"/>
                    <a:pt x="948" y="63"/>
                    <a:pt x="948" y="63"/>
                  </a:cubicBezTo>
                  <a:cubicBezTo>
                    <a:pt x="908" y="126"/>
                    <a:pt x="908" y="126"/>
                    <a:pt x="908" y="126"/>
                  </a:cubicBezTo>
                  <a:lnTo>
                    <a:pt x="948" y="193"/>
                  </a:lnTo>
                  <a:close/>
                  <a:moveTo>
                    <a:pt x="759" y="95"/>
                  </a:moveTo>
                  <a:cubicBezTo>
                    <a:pt x="745" y="95"/>
                    <a:pt x="741" y="102"/>
                    <a:pt x="741" y="111"/>
                  </a:cubicBezTo>
                  <a:cubicBezTo>
                    <a:pt x="741" y="145"/>
                    <a:pt x="741" y="145"/>
                    <a:pt x="741" y="145"/>
                  </a:cubicBezTo>
                  <a:cubicBezTo>
                    <a:pt x="741" y="154"/>
                    <a:pt x="745" y="161"/>
                    <a:pt x="759" y="161"/>
                  </a:cubicBezTo>
                  <a:cubicBezTo>
                    <a:pt x="772" y="161"/>
                    <a:pt x="777" y="154"/>
                    <a:pt x="777" y="145"/>
                  </a:cubicBezTo>
                  <a:cubicBezTo>
                    <a:pt x="777" y="111"/>
                    <a:pt x="777" y="111"/>
                    <a:pt x="777" y="111"/>
                  </a:cubicBezTo>
                  <a:cubicBezTo>
                    <a:pt x="777" y="102"/>
                    <a:pt x="772" y="95"/>
                    <a:pt x="759" y="95"/>
                  </a:cubicBezTo>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96" name="Picture 95">
              <a:extLst>
                <a:ext uri="{FF2B5EF4-FFF2-40B4-BE49-F238E27FC236}">
                  <a16:creationId xmlns:a16="http://schemas.microsoft.com/office/drawing/2014/main" id="{DAA592E7-171C-4871-BFD6-225E20A0A77C}"/>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40000" contrast="-40000"/>
                      </a14:imgEffect>
                    </a14:imgLayer>
                  </a14:imgProps>
                </a:ext>
              </a:extLst>
            </a:blip>
            <a:stretch>
              <a:fillRect/>
            </a:stretch>
          </p:blipFill>
          <p:spPr>
            <a:xfrm>
              <a:off x="1401748" y="1675965"/>
              <a:ext cx="473721" cy="475978"/>
            </a:xfrm>
            <a:prstGeom prst="rect">
              <a:avLst/>
            </a:prstGeom>
          </p:spPr>
        </p:pic>
        <p:grpSp>
          <p:nvGrpSpPr>
            <p:cNvPr id="97" name="Group 96">
              <a:extLst>
                <a:ext uri="{FF2B5EF4-FFF2-40B4-BE49-F238E27FC236}">
                  <a16:creationId xmlns:a16="http://schemas.microsoft.com/office/drawing/2014/main" id="{F0C196A9-1637-465D-B31A-1B3175563E3C}"/>
                </a:ext>
              </a:extLst>
            </p:cNvPr>
            <p:cNvGrpSpPr/>
            <p:nvPr/>
          </p:nvGrpSpPr>
          <p:grpSpPr>
            <a:xfrm>
              <a:off x="2021158" y="2609804"/>
              <a:ext cx="1187862" cy="906584"/>
              <a:chOff x="1206219" y="2162540"/>
              <a:chExt cx="1187862" cy="906584"/>
            </a:xfrm>
          </p:grpSpPr>
          <p:grpSp>
            <p:nvGrpSpPr>
              <p:cNvPr id="98" name="Group 97">
                <a:extLst>
                  <a:ext uri="{FF2B5EF4-FFF2-40B4-BE49-F238E27FC236}">
                    <a16:creationId xmlns:a16="http://schemas.microsoft.com/office/drawing/2014/main" id="{84D61EB4-F800-4B22-86D1-C350E9854D0B}"/>
                  </a:ext>
                </a:extLst>
              </p:cNvPr>
              <p:cNvGrpSpPr/>
              <p:nvPr/>
            </p:nvGrpSpPr>
            <p:grpSpPr>
              <a:xfrm>
                <a:off x="1544221" y="2162540"/>
                <a:ext cx="479462" cy="395218"/>
                <a:chOff x="2309175" y="2458187"/>
                <a:chExt cx="466711" cy="403143"/>
              </a:xfrm>
            </p:grpSpPr>
            <p:sp>
              <p:nvSpPr>
                <p:cNvPr id="100" name="Isosceles Triangle 99">
                  <a:extLst>
                    <a:ext uri="{FF2B5EF4-FFF2-40B4-BE49-F238E27FC236}">
                      <a16:creationId xmlns:a16="http://schemas.microsoft.com/office/drawing/2014/main" id="{8CBDC886-96CF-448F-8EB0-05D8219D2EFA}"/>
                    </a:ext>
                  </a:extLst>
                </p:cNvPr>
                <p:cNvSpPr>
                  <a:spLocks noChangeAspect="1"/>
                </p:cNvSpPr>
                <p:nvPr/>
              </p:nvSpPr>
              <p:spPr bwMode="auto">
                <a:xfrm>
                  <a:off x="2309175" y="2458187"/>
                  <a:ext cx="466711" cy="402336"/>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Freeform: Shape 100">
                  <a:extLst>
                    <a:ext uri="{FF2B5EF4-FFF2-40B4-BE49-F238E27FC236}">
                      <a16:creationId xmlns:a16="http://schemas.microsoft.com/office/drawing/2014/main" id="{DF6FE02F-E905-4AFF-898B-0C078958FF3D}"/>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chemeClr val="accent4"/>
                </a:solidFill>
                <a:ln w="152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9" name="TextBox 98">
                <a:extLst>
                  <a:ext uri="{FF2B5EF4-FFF2-40B4-BE49-F238E27FC236}">
                    <a16:creationId xmlns:a16="http://schemas.microsoft.com/office/drawing/2014/main" id="{E6FA890C-8627-4F1E-8156-B0AF01E58E8F}"/>
                  </a:ext>
                </a:extLst>
              </p:cNvPr>
              <p:cNvSpPr txBox="1"/>
              <p:nvPr/>
            </p:nvSpPr>
            <p:spPr>
              <a:xfrm>
                <a:off x="1206219" y="2625926"/>
                <a:ext cx="1187862" cy="443198"/>
              </a:xfrm>
              <a:prstGeom prst="rect">
                <a:avLst/>
              </a:prstGeom>
            </p:spPr>
            <p:txBody>
              <a:bodyPr wrap="square" lIns="0" tIns="0" rIns="0" bIns="0" rtlCol="0">
                <a:spAutoFit/>
              </a:bodyPr>
              <a:lstStyle/>
              <a:p>
                <a:pPr marL="0" marR="0" lvl="0" indent="0" algn="ctr" defTabSz="914102" rtl="0" eaLnBrk="1" fontAlgn="base" latinLnBrk="0" hangingPunct="1">
                  <a:lnSpc>
                    <a:spcPct val="90000"/>
                  </a:lnSpc>
                  <a:spcBef>
                    <a:spcPct val="0"/>
                  </a:spcBef>
                  <a:spcAft>
                    <a:spcPct val="0"/>
                  </a:spcAft>
                  <a:buClrTx/>
                  <a:buSzPct val="80000"/>
                  <a:buFontTx/>
                  <a:buNone/>
                  <a:tabLst/>
                  <a:defRPr/>
                </a:pPr>
                <a:r>
                  <a:rPr kumimoji="0" lang="en-US" sz="16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Consumer</a:t>
                </a:r>
                <a:br>
                  <a:rPr kumimoji="0" lang="en-US" sz="16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 IdPs</a:t>
                </a:r>
              </a:p>
            </p:txBody>
          </p:sp>
        </p:grpSp>
      </p:grpSp>
      <p:grpSp>
        <p:nvGrpSpPr>
          <p:cNvPr id="106" name="Group 105">
            <a:extLst>
              <a:ext uri="{FF2B5EF4-FFF2-40B4-BE49-F238E27FC236}">
                <a16:creationId xmlns:a16="http://schemas.microsoft.com/office/drawing/2014/main" id="{8609679E-ECA5-440B-AC24-B0C4E8822414}"/>
              </a:ext>
            </a:extLst>
          </p:cNvPr>
          <p:cNvGrpSpPr/>
          <p:nvPr/>
        </p:nvGrpSpPr>
        <p:grpSpPr>
          <a:xfrm>
            <a:off x="4015828" y="1268979"/>
            <a:ext cx="1984359" cy="1004248"/>
            <a:chOff x="4015828" y="1178972"/>
            <a:chExt cx="1984359" cy="1004248"/>
          </a:xfrm>
        </p:grpSpPr>
        <p:sp>
          <p:nvSpPr>
            <p:cNvPr id="107" name="TextBox 106">
              <a:extLst>
                <a:ext uri="{FF2B5EF4-FFF2-40B4-BE49-F238E27FC236}">
                  <a16:creationId xmlns:a16="http://schemas.microsoft.com/office/drawing/2014/main" id="{9214FD89-2D49-4203-AE8D-A343A781763A}"/>
                </a:ext>
              </a:extLst>
            </p:cNvPr>
            <p:cNvSpPr txBox="1"/>
            <p:nvPr/>
          </p:nvSpPr>
          <p:spPr>
            <a:xfrm>
              <a:off x="5017881" y="1650609"/>
              <a:ext cx="982306"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42" tIns="140609" rIns="89642" bIns="140609"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96094" rtl="0" eaLnBrk="1" fontAlgn="base" latinLnBrk="0" hangingPunct="1">
                <a:lnSpc>
                  <a:spcPct val="100000"/>
                </a:lnSpc>
                <a:spcBef>
                  <a:spcPts val="0"/>
                </a:spcBef>
                <a:spcAft>
                  <a:spcPct val="0"/>
                </a:spcAft>
                <a:buClrTx/>
                <a:buSzTx/>
                <a:buFontTx/>
                <a:buNone/>
                <a:tabLst/>
                <a:defRPr/>
              </a:pPr>
              <a:r>
                <a:rPr kumimoji="0" lang="en-US" sz="1568" b="0" i="0" u="none" strike="noStrike" kern="0" cap="none" spc="0" normalizeH="0" baseline="0" noProof="0">
                  <a:ln>
                    <a:noFill/>
                  </a:ln>
                  <a:solidFill>
                    <a:srgbClr val="353535"/>
                  </a:solidFill>
                  <a:effectLst/>
                  <a:uLnTx/>
                  <a:uFillTx/>
                  <a:latin typeface="Segoe UI" panose="020B0502040204020203" pitchFamily="34" charset="0"/>
                  <a:cs typeface="Segoe UI" panose="020B0502040204020203" pitchFamily="34" charset="0"/>
                </a:rPr>
                <a:t>Partners</a:t>
              </a:r>
            </a:p>
          </p:txBody>
        </p:sp>
        <p:grpSp>
          <p:nvGrpSpPr>
            <p:cNvPr id="108" name="Group 107">
              <a:extLst>
                <a:ext uri="{FF2B5EF4-FFF2-40B4-BE49-F238E27FC236}">
                  <a16:creationId xmlns:a16="http://schemas.microsoft.com/office/drawing/2014/main" id="{2B465B8A-EDD7-424E-ABEE-6978C3EE42AE}"/>
                </a:ext>
              </a:extLst>
            </p:cNvPr>
            <p:cNvGrpSpPr/>
            <p:nvPr/>
          </p:nvGrpSpPr>
          <p:grpSpPr>
            <a:xfrm>
              <a:off x="4015828" y="1178972"/>
              <a:ext cx="1904818" cy="1004248"/>
              <a:chOff x="4015828" y="1178972"/>
              <a:chExt cx="1904818" cy="1004248"/>
            </a:xfrm>
          </p:grpSpPr>
          <p:sp>
            <p:nvSpPr>
              <p:cNvPr id="109" name="TextBox 108">
                <a:extLst>
                  <a:ext uri="{FF2B5EF4-FFF2-40B4-BE49-F238E27FC236}">
                    <a16:creationId xmlns:a16="http://schemas.microsoft.com/office/drawing/2014/main" id="{737DC6A9-3816-489C-AD9B-C9AB4794BA9A}"/>
                  </a:ext>
                </a:extLst>
              </p:cNvPr>
              <p:cNvSpPr txBox="1"/>
              <p:nvPr/>
            </p:nvSpPr>
            <p:spPr>
              <a:xfrm>
                <a:off x="4015828" y="1869471"/>
                <a:ext cx="1377219"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42" tIns="140609" rIns="89642" bIns="140609"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96094" rtl="0" eaLnBrk="1" fontAlgn="base" latinLnBrk="0" hangingPunct="1">
                  <a:lnSpc>
                    <a:spcPct val="100000"/>
                  </a:lnSpc>
                  <a:spcBef>
                    <a:spcPts val="0"/>
                  </a:spcBef>
                  <a:spcAft>
                    <a:spcPct val="0"/>
                  </a:spcAft>
                  <a:buClrTx/>
                  <a:buSzTx/>
                  <a:buFontTx/>
                  <a:buNone/>
                  <a:tabLst/>
                  <a:defRPr/>
                </a:pPr>
                <a:r>
                  <a:rPr kumimoji="0" lang="en-US" sz="1568" b="0" i="0" u="none" strike="noStrike" kern="0" cap="none" spc="0" normalizeH="0" baseline="0" noProof="0">
                    <a:ln>
                      <a:noFill/>
                    </a:ln>
                    <a:solidFill>
                      <a:srgbClr val="353535"/>
                    </a:solidFill>
                    <a:effectLst/>
                    <a:uLnTx/>
                    <a:uFillTx/>
                    <a:latin typeface="Segoe UI" panose="020B0502040204020203" pitchFamily="34" charset="0"/>
                    <a:cs typeface="Segoe UI" panose="020B0502040204020203" pitchFamily="34" charset="0"/>
                  </a:rPr>
                  <a:t>Customers</a:t>
                </a:r>
              </a:p>
            </p:txBody>
          </p:sp>
          <p:sp>
            <p:nvSpPr>
              <p:cNvPr id="110" name="Freeform: Shape 109">
                <a:extLst>
                  <a:ext uri="{FF2B5EF4-FFF2-40B4-BE49-F238E27FC236}">
                    <a16:creationId xmlns:a16="http://schemas.microsoft.com/office/drawing/2014/main" id="{4FC6D17B-F2E1-487A-BAE8-2D33608E7A74}"/>
                  </a:ext>
                </a:extLst>
              </p:cNvPr>
              <p:cNvSpPr/>
              <p:nvPr/>
            </p:nvSpPr>
            <p:spPr bwMode="auto">
              <a:xfrm flipH="1">
                <a:off x="4143598" y="1398286"/>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1" name="Freeform: Shape 110">
                <a:extLst>
                  <a:ext uri="{FF2B5EF4-FFF2-40B4-BE49-F238E27FC236}">
                    <a16:creationId xmlns:a16="http://schemas.microsoft.com/office/drawing/2014/main" id="{9EE64A8A-65DC-406D-AC53-EDED92E55E64}"/>
                  </a:ext>
                </a:extLst>
              </p:cNvPr>
              <p:cNvSpPr/>
              <p:nvPr/>
            </p:nvSpPr>
            <p:spPr bwMode="auto">
              <a:xfrm flipH="1">
                <a:off x="5058108" y="1178972"/>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112" name="Rectangle 111">
            <a:extLst>
              <a:ext uri="{FF2B5EF4-FFF2-40B4-BE49-F238E27FC236}">
                <a16:creationId xmlns:a16="http://schemas.microsoft.com/office/drawing/2014/main" id="{D2335B70-F499-43C9-92EF-03F5905582CE}"/>
              </a:ext>
            </a:extLst>
          </p:cNvPr>
          <p:cNvSpPr/>
          <p:nvPr/>
        </p:nvSpPr>
        <p:spPr>
          <a:xfrm>
            <a:off x="4281225" y="4800908"/>
            <a:ext cx="929293"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AD</a:t>
            </a:r>
            <a:br>
              <a:rPr kumimoji="0" lang="en-US" sz="14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Connect</a:t>
            </a:r>
            <a:endParaRPr kumimoji="0" lang="en-US" sz="14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13" name="Group 112">
            <a:extLst>
              <a:ext uri="{FF2B5EF4-FFF2-40B4-BE49-F238E27FC236}">
                <a16:creationId xmlns:a16="http://schemas.microsoft.com/office/drawing/2014/main" id="{3EFA7F21-E05F-4797-BC09-8DD08892DD8E}"/>
              </a:ext>
            </a:extLst>
          </p:cNvPr>
          <p:cNvGrpSpPr/>
          <p:nvPr/>
        </p:nvGrpSpPr>
        <p:grpSpPr>
          <a:xfrm>
            <a:off x="4346103" y="4400877"/>
            <a:ext cx="374776" cy="386508"/>
            <a:chOff x="7596294" y="4477333"/>
            <a:chExt cx="374776" cy="386508"/>
          </a:xfrm>
        </p:grpSpPr>
        <p:sp useBgFill="1">
          <p:nvSpPr>
            <p:cNvPr id="114" name="Oval 113">
              <a:extLst>
                <a:ext uri="{FF2B5EF4-FFF2-40B4-BE49-F238E27FC236}">
                  <a16:creationId xmlns:a16="http://schemas.microsoft.com/office/drawing/2014/main" id="{7B40848D-0DF3-438B-84D1-FACDFA2E588C}"/>
                </a:ext>
              </a:extLst>
            </p:cNvPr>
            <p:cNvSpPr/>
            <p:nvPr/>
          </p:nvSpPr>
          <p:spPr bwMode="auto">
            <a:xfrm>
              <a:off x="7596294" y="4484497"/>
              <a:ext cx="374776" cy="37477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5" name="Freeform 149">
              <a:extLst>
                <a:ext uri="{FF2B5EF4-FFF2-40B4-BE49-F238E27FC236}">
                  <a16:creationId xmlns:a16="http://schemas.microsoft.com/office/drawing/2014/main" id="{EB637EF8-4A32-4B9A-B78E-99AD6EEC8903}"/>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16" name="Title 5">
            <a:extLst>
              <a:ext uri="{FF2B5EF4-FFF2-40B4-BE49-F238E27FC236}">
                <a16:creationId xmlns:a16="http://schemas.microsoft.com/office/drawing/2014/main" id="{F004CD18-05A9-4F0E-9AE6-DC33C23AC6BB}"/>
              </a:ext>
            </a:extLst>
          </p:cNvPr>
          <p:cNvSpPr txBox="1">
            <a:spLocks/>
          </p:cNvSpPr>
          <p:nvPr/>
        </p:nvSpPr>
        <p:spPr>
          <a:xfrm>
            <a:off x="269240" y="280386"/>
            <a:ext cx="11655840" cy="899665"/>
          </a:xfrm>
          <a:prstGeom prst="rect">
            <a:avLst/>
          </a:prstGeom>
        </p:spPr>
        <p:txBody>
          <a:bodyPr vert="horz" wrap="square" lIns="146304" tIns="91440" rIns="146304" bIns="91440" rtlCol="0" anchor="t">
            <a:noAutofit/>
          </a:bodyPr>
          <a:lstStyle>
            <a:lvl1pPr algn="l" defTabSz="932594" rtl="0" eaLnBrk="1" latinLnBrk="0" hangingPunct="1">
              <a:lnSpc>
                <a:spcPct val="90000"/>
              </a:lnSpc>
              <a:spcBef>
                <a:spcPct val="0"/>
              </a:spcBef>
              <a:buNone/>
              <a:defRPr lang="en-US" sz="4800" b="0" kern="1200" cap="none" spc="-101"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dirty="0"/>
              <a:t>Identity is the new Security Perimeter</a:t>
            </a:r>
            <a:endParaRPr lang="en-US" u="sng" dirty="0"/>
          </a:p>
        </p:txBody>
      </p:sp>
    </p:spTree>
    <p:extLst>
      <p:ext uri="{BB962C8B-B14F-4D97-AF65-F5344CB8AC3E}">
        <p14:creationId xmlns:p14="http://schemas.microsoft.com/office/powerpoint/2010/main" val="69552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4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43"/>
                                        </p:tgtEl>
                                      </p:cBhvr>
                                      <p:by x="80000" y="80000"/>
                                    </p:animScale>
                                  </p:childTnLst>
                                </p:cTn>
                              </p:par>
                              <p:par>
                                <p:cTn id="9" presetID="21" presetClass="entr" presetSubtype="1" fill="hold" grpId="0" nodeType="withEffect">
                                  <p:stCondLst>
                                    <p:cond delay="500"/>
                                  </p:stCondLst>
                                  <p:childTnLst>
                                    <p:set>
                                      <p:cBhvr>
                                        <p:cTn id="10" dur="1" fill="hold">
                                          <p:stCondLst>
                                            <p:cond delay="0"/>
                                          </p:stCondLst>
                                        </p:cTn>
                                        <p:tgtEl>
                                          <p:spTgt spid="43"/>
                                        </p:tgtEl>
                                        <p:attrNameLst>
                                          <p:attrName>style.visibility</p:attrName>
                                        </p:attrNameLst>
                                      </p:cBhvr>
                                      <p:to>
                                        <p:strVal val="visible"/>
                                      </p:to>
                                    </p:set>
                                    <p:animEffect transition="in" filter="wheel(1)">
                                      <p:cBhvr>
                                        <p:cTn id="11" dur="500"/>
                                        <p:tgtEl>
                                          <p:spTgt spid="43"/>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44"/>
                                        </p:tgtEl>
                                        <p:attrNameLst>
                                          <p:attrName>style.visibility</p:attrName>
                                        </p:attrNameLst>
                                      </p:cBhvr>
                                      <p:to>
                                        <p:strVal val="visible"/>
                                      </p:to>
                                    </p:set>
                                    <p:animEffect transition="in" filter="fade">
                                      <p:cBhvr>
                                        <p:cTn id="14" dur="400"/>
                                        <p:tgtEl>
                                          <p:spTgt spid="44"/>
                                        </p:tgtEl>
                                      </p:cBhvr>
                                    </p:animEffect>
                                  </p:childTnLst>
                                </p:cTn>
                              </p:par>
                              <p:par>
                                <p:cTn id="15" presetID="42" presetClass="path" presetSubtype="0" decel="100000" fill="hold" grpId="1" nodeType="withEffect">
                                  <p:stCondLst>
                                    <p:cond delay="300"/>
                                  </p:stCondLst>
                                  <p:childTnLst>
                                    <p:animMotion origin="layout" path="M -1.45833E-6 -3.7037E-6 L -1.45833E-6 0.0963 " pathEditMode="relative" rAng="0" ptsTypes="AA">
                                      <p:cBhvr>
                                        <p:cTn id="16" dur="700" spd="-100000" fill="hold"/>
                                        <p:tgtEl>
                                          <p:spTgt spid="44"/>
                                        </p:tgtEl>
                                        <p:attrNameLst>
                                          <p:attrName>ppt_x</p:attrName>
                                          <p:attrName>ppt_y</p:attrName>
                                        </p:attrNameLst>
                                      </p:cBhvr>
                                      <p:rCtr x="0" y="4815"/>
                                    </p:animMotion>
                                  </p:childTnLst>
                                </p:cTn>
                              </p:par>
                            </p:childTnLst>
                          </p:cTn>
                        </p:par>
                        <p:par>
                          <p:cTn id="17" fill="hold">
                            <p:stCondLst>
                              <p:cond delay="1000"/>
                            </p:stCondLst>
                            <p:childTnLst>
                              <p:par>
                                <p:cTn id="18" presetID="1" presetClass="entr" presetSubtype="0" fill="hold" grpId="1" nodeType="afterEffect">
                                  <p:stCondLst>
                                    <p:cond delay="0"/>
                                  </p:stCondLst>
                                  <p:childTnLst>
                                    <p:set>
                                      <p:cBhvr>
                                        <p:cTn id="19" dur="1" fill="hold">
                                          <p:stCondLst>
                                            <p:cond delay="499"/>
                                          </p:stCondLst>
                                        </p:cTn>
                                        <p:tgtEl>
                                          <p:spTgt spid="45"/>
                                        </p:tgtEl>
                                        <p:attrNameLst>
                                          <p:attrName>style.visibility</p:attrName>
                                        </p:attrNameLst>
                                      </p:cBhvr>
                                      <p:to>
                                        <p:strVal val="visible"/>
                                      </p:to>
                                    </p:set>
                                  </p:childTnLst>
                                </p:cTn>
                              </p:par>
                              <p:par>
                                <p:cTn id="20" presetID="6" presetClass="emph" presetSubtype="0" accel="100000" autoRev="1" fill="hold" grpId="0" nodeType="withEffect">
                                  <p:stCondLst>
                                    <p:cond delay="0"/>
                                  </p:stCondLst>
                                  <p:childTnLst>
                                    <p:animScale>
                                      <p:cBhvr>
                                        <p:cTn id="21" dur="500" fill="hold"/>
                                        <p:tgtEl>
                                          <p:spTgt spid="45"/>
                                        </p:tgtEl>
                                      </p:cBhvr>
                                      <p:by x="0" y="0"/>
                                    </p:animScale>
                                  </p:childTnLst>
                                </p:cTn>
                              </p:par>
                              <p:par>
                                <p:cTn id="22" presetID="1" presetClass="entr" presetSubtype="0" fill="hold" grpId="0" nodeType="withEffect">
                                  <p:stCondLst>
                                    <p:cond delay="100"/>
                                  </p:stCondLst>
                                  <p:childTnLst>
                                    <p:set>
                                      <p:cBhvr>
                                        <p:cTn id="23" dur="1" fill="hold">
                                          <p:stCondLst>
                                            <p:cond delay="499"/>
                                          </p:stCondLst>
                                        </p:cTn>
                                        <p:tgtEl>
                                          <p:spTgt spid="48"/>
                                        </p:tgtEl>
                                        <p:attrNameLst>
                                          <p:attrName>style.visibility</p:attrName>
                                        </p:attrNameLst>
                                      </p:cBhvr>
                                      <p:to>
                                        <p:strVal val="visible"/>
                                      </p:to>
                                    </p:set>
                                  </p:childTnLst>
                                </p:cTn>
                              </p:par>
                              <p:par>
                                <p:cTn id="24" presetID="6" presetClass="emph" presetSubtype="0" accel="100000" autoRev="1" fill="hold" grpId="1" nodeType="withEffect">
                                  <p:stCondLst>
                                    <p:cond delay="100"/>
                                  </p:stCondLst>
                                  <p:childTnLst>
                                    <p:animScale>
                                      <p:cBhvr>
                                        <p:cTn id="25" dur="500" fill="hold"/>
                                        <p:tgtEl>
                                          <p:spTgt spid="48"/>
                                        </p:tgtEl>
                                      </p:cBhvr>
                                      <p:by x="0" y="0"/>
                                    </p:animScale>
                                  </p:childTnLst>
                                </p:cTn>
                              </p:par>
                              <p:par>
                                <p:cTn id="26" presetID="10" presetClass="entr" presetSubtype="0" fill="hold" grpId="0" nodeType="withEffect">
                                  <p:stCondLst>
                                    <p:cond delay="70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42" presetClass="path" presetSubtype="0" decel="100000" fill="hold" grpId="1" nodeType="withEffect">
                                  <p:stCondLst>
                                    <p:cond delay="700"/>
                                  </p:stCondLst>
                                  <p:childTnLst>
                                    <p:animMotion origin="layout" path="M -4.16667E-7 3.33333E-6 L -4.16667E-7 0.02569 " pathEditMode="relative" rAng="0" ptsTypes="AA">
                                      <p:cBhvr>
                                        <p:cTn id="30" dur="500" spd="-100000" fill="hold"/>
                                        <p:tgtEl>
                                          <p:spTgt spid="14"/>
                                        </p:tgtEl>
                                        <p:attrNameLst>
                                          <p:attrName>ppt_x</p:attrName>
                                          <p:attrName>ppt_y</p:attrName>
                                        </p:attrNameLst>
                                      </p:cBhvr>
                                      <p:rCtr x="0" y="1273"/>
                                    </p:animMotion>
                                  </p:childTnLst>
                                </p:cTn>
                              </p:par>
                              <p:par>
                                <p:cTn id="31" presetID="10" presetClass="entr" presetSubtype="0" fill="hold" grpId="0" nodeType="withEffect">
                                  <p:stCondLst>
                                    <p:cond delay="80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64" presetClass="path" presetSubtype="0" decel="100000" fill="hold" grpId="1" nodeType="withEffect">
                                  <p:stCondLst>
                                    <p:cond delay="800"/>
                                  </p:stCondLst>
                                  <p:childTnLst>
                                    <p:animMotion origin="layout" path="M -3.33333E-6 5.55112E-17 L -3.33333E-6 -0.02824 " pathEditMode="relative" rAng="0" ptsTypes="AA">
                                      <p:cBhvr>
                                        <p:cTn id="35" dur="500" spd="-100000" fill="hold"/>
                                        <p:tgtEl>
                                          <p:spTgt spid="49"/>
                                        </p:tgtEl>
                                        <p:attrNameLst>
                                          <p:attrName>ppt_x</p:attrName>
                                          <p:attrName>ppt_y</p:attrName>
                                        </p:attrNameLst>
                                      </p:cBhvr>
                                      <p:rCtr x="0" y="-1412"/>
                                    </p:animMotion>
                                  </p:childTnLst>
                                </p:cTn>
                              </p:par>
                              <p:par>
                                <p:cTn id="36" presetID="10" presetClass="entr" presetSubtype="0" fill="hold" grpId="0" nodeType="withEffect">
                                  <p:stCondLst>
                                    <p:cond delay="800"/>
                                  </p:stCondLst>
                                  <p:childTnLst>
                                    <p:set>
                                      <p:cBhvr>
                                        <p:cTn id="37" dur="1" fill="hold">
                                          <p:stCondLst>
                                            <p:cond delay="0"/>
                                          </p:stCondLst>
                                        </p:cTn>
                                        <p:tgtEl>
                                          <p:spTgt spid="50"/>
                                        </p:tgtEl>
                                        <p:attrNameLst>
                                          <p:attrName>style.visibility</p:attrName>
                                        </p:attrNameLst>
                                      </p:cBhvr>
                                      <p:to>
                                        <p:strVal val="visible"/>
                                      </p:to>
                                    </p:set>
                                    <p:animEffect transition="in" filter="fade">
                                      <p:cBhvr>
                                        <p:cTn id="38" dur="500"/>
                                        <p:tgtEl>
                                          <p:spTgt spid="50"/>
                                        </p:tgtEl>
                                      </p:cBhvr>
                                    </p:animEffect>
                                  </p:childTnLst>
                                </p:cTn>
                              </p:par>
                              <p:par>
                                <p:cTn id="39" presetID="42" presetClass="path" presetSubtype="0" decel="100000" fill="hold" grpId="1" nodeType="withEffect">
                                  <p:stCondLst>
                                    <p:cond delay="800"/>
                                  </p:stCondLst>
                                  <p:childTnLst>
                                    <p:animMotion origin="layout" path="M -3.54167E-6 -2.22222E-6 L -3.54167E-6 0.0257 " pathEditMode="relative" rAng="0" ptsTypes="AA">
                                      <p:cBhvr>
                                        <p:cTn id="40" dur="500" spd="-100000" fill="hold"/>
                                        <p:tgtEl>
                                          <p:spTgt spid="50"/>
                                        </p:tgtEl>
                                        <p:attrNameLst>
                                          <p:attrName>ppt_x</p:attrName>
                                          <p:attrName>ppt_y</p:attrName>
                                        </p:attrNameLst>
                                      </p:cBhvr>
                                      <p:rCtr x="0" y="1273"/>
                                    </p:animMotion>
                                  </p:childTnLst>
                                </p:cTn>
                              </p:par>
                              <p:par>
                                <p:cTn id="41" presetID="10" presetClass="entr" presetSubtype="0" fill="hold" nodeType="withEffect">
                                  <p:stCondLst>
                                    <p:cond delay="700"/>
                                  </p:stCondLst>
                                  <p:childTnLst>
                                    <p:set>
                                      <p:cBhvr>
                                        <p:cTn id="42" dur="1" fill="hold">
                                          <p:stCondLst>
                                            <p:cond delay="0"/>
                                          </p:stCondLst>
                                        </p:cTn>
                                        <p:tgtEl>
                                          <p:spTgt spid="51"/>
                                        </p:tgtEl>
                                        <p:attrNameLst>
                                          <p:attrName>style.visibility</p:attrName>
                                        </p:attrNameLst>
                                      </p:cBhvr>
                                      <p:to>
                                        <p:strVal val="visible"/>
                                      </p:to>
                                    </p:set>
                                    <p:animEffect transition="in" filter="fade">
                                      <p:cBhvr>
                                        <p:cTn id="43" dur="500"/>
                                        <p:tgtEl>
                                          <p:spTgt spid="51"/>
                                        </p:tgtEl>
                                      </p:cBhvr>
                                    </p:animEffect>
                                  </p:childTnLst>
                                </p:cTn>
                              </p:par>
                              <p:par>
                                <p:cTn id="44" presetID="64" presetClass="path" presetSubtype="0" decel="100000" fill="hold" nodeType="withEffect">
                                  <p:stCondLst>
                                    <p:cond delay="700"/>
                                  </p:stCondLst>
                                  <p:childTnLst>
                                    <p:animMotion origin="layout" path="M 6.25E-7 -4.44444E-6 L 6.25E-7 -0.02824 " pathEditMode="relative" rAng="0" ptsTypes="AA">
                                      <p:cBhvr>
                                        <p:cTn id="45" dur="500" spd="-100000" fill="hold"/>
                                        <p:tgtEl>
                                          <p:spTgt spid="51"/>
                                        </p:tgtEl>
                                        <p:attrNameLst>
                                          <p:attrName>ppt_x</p:attrName>
                                          <p:attrName>ppt_y</p:attrName>
                                        </p:attrNameLst>
                                      </p:cBhvr>
                                      <p:rCtr x="0" y="-1412"/>
                                    </p:animMotion>
                                  </p:childTnLst>
                                </p:cTn>
                              </p:par>
                              <p:par>
                                <p:cTn id="46" presetID="10" presetClass="entr" presetSubtype="0" fill="hold" nodeType="withEffect">
                                  <p:stCondLst>
                                    <p:cond delay="70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500"/>
                                        <p:tgtEl>
                                          <p:spTgt spid="54"/>
                                        </p:tgtEl>
                                      </p:cBhvr>
                                    </p:animEffect>
                                  </p:childTnLst>
                                </p:cTn>
                              </p:par>
                              <p:par>
                                <p:cTn id="49" presetID="64" presetClass="path" presetSubtype="0" decel="100000" fill="hold" nodeType="withEffect">
                                  <p:stCondLst>
                                    <p:cond delay="700"/>
                                  </p:stCondLst>
                                  <p:childTnLst>
                                    <p:animMotion origin="layout" path="M -1.25E-6 2.96296E-6 L -1.25E-6 -0.02824 " pathEditMode="relative" rAng="0" ptsTypes="AA">
                                      <p:cBhvr>
                                        <p:cTn id="50" dur="500" spd="-100000" fill="hold"/>
                                        <p:tgtEl>
                                          <p:spTgt spid="54"/>
                                        </p:tgtEl>
                                        <p:attrNameLst>
                                          <p:attrName>ppt_x</p:attrName>
                                          <p:attrName>ppt_y</p:attrName>
                                        </p:attrNameLst>
                                      </p:cBhvr>
                                      <p:rCtr x="0" y="-1412"/>
                                    </p:animMotion>
                                  </p:childTnLst>
                                </p:cTn>
                              </p:par>
                              <p:par>
                                <p:cTn id="51" presetID="10" presetClass="entr" presetSubtype="0" fill="hold" nodeType="withEffect">
                                  <p:stCondLst>
                                    <p:cond delay="700"/>
                                  </p:stCondLst>
                                  <p:childTnLst>
                                    <p:set>
                                      <p:cBhvr>
                                        <p:cTn id="52" dur="1" fill="hold">
                                          <p:stCondLst>
                                            <p:cond delay="0"/>
                                          </p:stCondLst>
                                        </p:cTn>
                                        <p:tgtEl>
                                          <p:spTgt spid="57"/>
                                        </p:tgtEl>
                                        <p:attrNameLst>
                                          <p:attrName>style.visibility</p:attrName>
                                        </p:attrNameLst>
                                      </p:cBhvr>
                                      <p:to>
                                        <p:strVal val="visible"/>
                                      </p:to>
                                    </p:set>
                                    <p:animEffect transition="in" filter="fade">
                                      <p:cBhvr>
                                        <p:cTn id="53" dur="500"/>
                                        <p:tgtEl>
                                          <p:spTgt spid="57"/>
                                        </p:tgtEl>
                                      </p:cBhvr>
                                    </p:animEffect>
                                  </p:childTnLst>
                                </p:cTn>
                              </p:par>
                              <p:par>
                                <p:cTn id="54" presetID="64" presetClass="path" presetSubtype="0" decel="100000" fill="hold" nodeType="withEffect">
                                  <p:stCondLst>
                                    <p:cond delay="700"/>
                                  </p:stCondLst>
                                  <p:childTnLst>
                                    <p:animMotion origin="layout" path="M -4.58333E-6 4.07407E-6 L -4.58333E-6 -0.02824 " pathEditMode="relative" rAng="0" ptsTypes="AA">
                                      <p:cBhvr>
                                        <p:cTn id="55" dur="500" spd="-100000" fill="hold"/>
                                        <p:tgtEl>
                                          <p:spTgt spid="57"/>
                                        </p:tgtEl>
                                        <p:attrNameLst>
                                          <p:attrName>ppt_x</p:attrName>
                                          <p:attrName>ppt_y</p:attrName>
                                        </p:attrNameLst>
                                      </p:cBhvr>
                                      <p:rCtr x="0" y="-1412"/>
                                    </p:animMotion>
                                  </p:childTnLst>
                                </p:cTn>
                              </p:par>
                            </p:childTnLst>
                          </p:cTn>
                        </p:par>
                        <p:par>
                          <p:cTn id="56" fill="hold">
                            <p:stCondLst>
                              <p:cond delay="23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nodeType="with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22" presetClass="entr" presetSubtype="2" fill="hold" nodeType="withEffect">
                                  <p:stCondLst>
                                    <p:cond delay="0"/>
                                  </p:stCondLst>
                                  <p:childTnLst>
                                    <p:set>
                                      <p:cBhvr>
                                        <p:cTn id="64" dur="1" fill="hold">
                                          <p:stCondLst>
                                            <p:cond delay="0"/>
                                          </p:stCondLst>
                                        </p:cTn>
                                        <p:tgtEl>
                                          <p:spTgt spid="37"/>
                                        </p:tgtEl>
                                        <p:attrNameLst>
                                          <p:attrName>style.visibility</p:attrName>
                                        </p:attrNameLst>
                                      </p:cBhvr>
                                      <p:to>
                                        <p:strVal val="visible"/>
                                      </p:to>
                                    </p:set>
                                    <p:animEffect transition="in" filter="wipe(right)">
                                      <p:cBhvr>
                                        <p:cTn id="65" dur="500"/>
                                        <p:tgtEl>
                                          <p:spTgt spid="37"/>
                                        </p:tgtEl>
                                      </p:cBhvr>
                                    </p:animEffect>
                                  </p:childTnLst>
                                </p:cTn>
                              </p:par>
                              <p:par>
                                <p:cTn id="66" presetID="22" presetClass="entr" presetSubtype="2" fill="hold" nodeType="withEffect">
                                  <p:stCondLst>
                                    <p:cond delay="0"/>
                                  </p:stCondLst>
                                  <p:childTnLst>
                                    <p:set>
                                      <p:cBhvr>
                                        <p:cTn id="67" dur="1" fill="hold">
                                          <p:stCondLst>
                                            <p:cond delay="0"/>
                                          </p:stCondLst>
                                        </p:cTn>
                                        <p:tgtEl>
                                          <p:spTgt spid="22"/>
                                        </p:tgtEl>
                                        <p:attrNameLst>
                                          <p:attrName>style.visibility</p:attrName>
                                        </p:attrNameLst>
                                      </p:cBhvr>
                                      <p:to>
                                        <p:strVal val="visible"/>
                                      </p:to>
                                    </p:set>
                                    <p:animEffect transition="in" filter="wipe(right)">
                                      <p:cBhvr>
                                        <p:cTn id="68" dur="500"/>
                                        <p:tgtEl>
                                          <p:spTgt spid="22"/>
                                        </p:tgtEl>
                                      </p:cBhvr>
                                    </p:animEffect>
                                  </p:childTnLst>
                                </p:cTn>
                              </p:par>
                              <p:par>
                                <p:cTn id="69" presetID="22" presetClass="entr" presetSubtype="8" fill="hold" nodeType="withEffect">
                                  <p:stCondLst>
                                    <p:cond delay="0"/>
                                  </p:stCondLst>
                                  <p:childTnLst>
                                    <p:set>
                                      <p:cBhvr>
                                        <p:cTn id="70" dur="1" fill="hold">
                                          <p:stCondLst>
                                            <p:cond delay="0"/>
                                          </p:stCondLst>
                                        </p:cTn>
                                        <p:tgtEl>
                                          <p:spTgt spid="35"/>
                                        </p:tgtEl>
                                        <p:attrNameLst>
                                          <p:attrName>style.visibility</p:attrName>
                                        </p:attrNameLst>
                                      </p:cBhvr>
                                      <p:to>
                                        <p:strVal val="visible"/>
                                      </p:to>
                                    </p:set>
                                    <p:animEffect transition="in" filter="wipe(left)">
                                      <p:cBhvr>
                                        <p:cTn id="71" dur="500"/>
                                        <p:tgtEl>
                                          <p:spTgt spid="35"/>
                                        </p:tgtEl>
                                      </p:cBhvr>
                                    </p:animEffect>
                                  </p:childTnLst>
                                </p:cTn>
                              </p:par>
                              <p:par>
                                <p:cTn id="72" presetID="22" presetClass="entr" presetSubtype="8" fill="hold" nodeType="withEffect">
                                  <p:stCondLst>
                                    <p:cond delay="0"/>
                                  </p:stCondLst>
                                  <p:childTnLst>
                                    <p:set>
                                      <p:cBhvr>
                                        <p:cTn id="73" dur="1" fill="hold">
                                          <p:stCondLst>
                                            <p:cond delay="0"/>
                                          </p:stCondLst>
                                        </p:cTn>
                                        <p:tgtEl>
                                          <p:spTgt spid="21"/>
                                        </p:tgtEl>
                                        <p:attrNameLst>
                                          <p:attrName>style.visibility</p:attrName>
                                        </p:attrNameLst>
                                      </p:cBhvr>
                                      <p:to>
                                        <p:strVal val="visible"/>
                                      </p:to>
                                    </p:set>
                                    <p:animEffect transition="in" filter="wipe(left)">
                                      <p:cBhvr>
                                        <p:cTn id="74" dur="500"/>
                                        <p:tgtEl>
                                          <p:spTgt spid="21"/>
                                        </p:tgtEl>
                                      </p:cBhvr>
                                    </p:animEffect>
                                  </p:childTnLst>
                                </p:cTn>
                              </p:par>
                              <p:par>
                                <p:cTn id="75" presetID="22" presetClass="entr" presetSubtype="8" fill="hold" nodeType="withEffect">
                                  <p:stCondLst>
                                    <p:cond delay="0"/>
                                  </p:stCondLst>
                                  <p:childTnLst>
                                    <p:set>
                                      <p:cBhvr>
                                        <p:cTn id="76" dur="1" fill="hold">
                                          <p:stCondLst>
                                            <p:cond delay="0"/>
                                          </p:stCondLst>
                                        </p:cTn>
                                        <p:tgtEl>
                                          <p:spTgt spid="20"/>
                                        </p:tgtEl>
                                        <p:attrNameLst>
                                          <p:attrName>style.visibility</p:attrName>
                                        </p:attrNameLst>
                                      </p:cBhvr>
                                      <p:to>
                                        <p:strVal val="visible"/>
                                      </p:to>
                                    </p:set>
                                    <p:animEffect transition="in" filter="wipe(left)">
                                      <p:cBhvr>
                                        <p:cTn id="77" dur="500"/>
                                        <p:tgtEl>
                                          <p:spTgt spid="20"/>
                                        </p:tgtEl>
                                      </p:cBhvr>
                                    </p:animEffect>
                                  </p:childTnLst>
                                </p:cTn>
                              </p:par>
                              <p:par>
                                <p:cTn id="78" presetID="22" presetClass="entr" presetSubtype="8" fill="hold" nodeType="with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wipe(left)">
                                      <p:cBhvr>
                                        <p:cTn id="80" dur="500"/>
                                        <p:tgtEl>
                                          <p:spTgt spid="36"/>
                                        </p:tgtEl>
                                      </p:cBhvr>
                                    </p:animEffect>
                                  </p:childTnLst>
                                </p:cTn>
                              </p:par>
                              <p:par>
                                <p:cTn id="81" presetID="22" presetClass="entr" presetSubtype="2" fill="hold" nodeType="withEffect">
                                  <p:stCondLst>
                                    <p:cond delay="0"/>
                                  </p:stCondLst>
                                  <p:childTnLst>
                                    <p:set>
                                      <p:cBhvr>
                                        <p:cTn id="82" dur="1" fill="hold">
                                          <p:stCondLst>
                                            <p:cond delay="0"/>
                                          </p:stCondLst>
                                        </p:cTn>
                                        <p:tgtEl>
                                          <p:spTgt spid="89"/>
                                        </p:tgtEl>
                                        <p:attrNameLst>
                                          <p:attrName>style.visibility</p:attrName>
                                        </p:attrNameLst>
                                      </p:cBhvr>
                                      <p:to>
                                        <p:strVal val="visible"/>
                                      </p:to>
                                    </p:set>
                                    <p:animEffect transition="in" filter="wipe(right)">
                                      <p:cBhvr>
                                        <p:cTn id="83" dur="500"/>
                                        <p:tgtEl>
                                          <p:spTgt spid="89"/>
                                        </p:tgtEl>
                                      </p:cBhvr>
                                    </p:animEffect>
                                  </p:childTnLst>
                                </p:cTn>
                              </p:par>
                              <p:par>
                                <p:cTn id="84" presetID="10" presetClass="entr" presetSubtype="0" fill="hold" nodeType="withEffect">
                                  <p:stCondLst>
                                    <p:cond delay="0"/>
                                  </p:stCondLst>
                                  <p:childTnLst>
                                    <p:set>
                                      <p:cBhvr>
                                        <p:cTn id="85" dur="1" fill="hold">
                                          <p:stCondLst>
                                            <p:cond delay="0"/>
                                          </p:stCondLst>
                                        </p:cTn>
                                        <p:tgtEl>
                                          <p:spTgt spid="90"/>
                                        </p:tgtEl>
                                        <p:attrNameLst>
                                          <p:attrName>style.visibility</p:attrName>
                                        </p:attrNameLst>
                                      </p:cBhvr>
                                      <p:to>
                                        <p:strVal val="visible"/>
                                      </p:to>
                                    </p:set>
                                    <p:animEffect transition="in" filter="fade">
                                      <p:cBhvr>
                                        <p:cTn id="86" dur="500"/>
                                        <p:tgtEl>
                                          <p:spTgt spid="90"/>
                                        </p:tgtEl>
                                      </p:cBhvr>
                                    </p:animEffect>
                                  </p:childTnLst>
                                </p:cTn>
                              </p:par>
                              <p:par>
                                <p:cTn id="87" presetID="10" presetClass="entr" presetSubtype="0" fill="hold" nodeType="withEffect">
                                  <p:stCondLst>
                                    <p:cond delay="0"/>
                                  </p:stCondLst>
                                  <p:childTnLst>
                                    <p:set>
                                      <p:cBhvr>
                                        <p:cTn id="88" dur="1" fill="hold">
                                          <p:stCondLst>
                                            <p:cond delay="0"/>
                                          </p:stCondLst>
                                        </p:cTn>
                                        <p:tgtEl>
                                          <p:spTgt spid="106"/>
                                        </p:tgtEl>
                                        <p:attrNameLst>
                                          <p:attrName>style.visibility</p:attrName>
                                        </p:attrNameLst>
                                      </p:cBhvr>
                                      <p:to>
                                        <p:strVal val="visible"/>
                                      </p:to>
                                    </p:set>
                                    <p:animEffect transition="in" filter="fade">
                                      <p:cBhvr>
                                        <p:cTn id="89" dur="500"/>
                                        <p:tgtEl>
                                          <p:spTgt spid="106"/>
                                        </p:tgtEl>
                                      </p:cBhvr>
                                    </p:animEffect>
                                  </p:childTnLst>
                                </p:cTn>
                              </p:par>
                              <p:par>
                                <p:cTn id="90" presetID="10" presetClass="entr" presetSubtype="0" fill="hold" nodeType="withEffect">
                                  <p:stCondLst>
                                    <p:cond delay="0"/>
                                  </p:stCondLst>
                                  <p:childTnLst>
                                    <p:set>
                                      <p:cBhvr>
                                        <p:cTn id="91" dur="1" fill="hold">
                                          <p:stCondLst>
                                            <p:cond delay="0"/>
                                          </p:stCondLst>
                                        </p:cTn>
                                        <p:tgtEl>
                                          <p:spTgt spid="113"/>
                                        </p:tgtEl>
                                        <p:attrNameLst>
                                          <p:attrName>style.visibility</p:attrName>
                                        </p:attrNameLst>
                                      </p:cBhvr>
                                      <p:to>
                                        <p:strVal val="visible"/>
                                      </p:to>
                                    </p:set>
                                    <p:animEffect transition="in" filter="fade">
                                      <p:cBhvr>
                                        <p:cTn id="92" dur="750"/>
                                        <p:tgtEl>
                                          <p:spTgt spid="113"/>
                                        </p:tgtEl>
                                      </p:cBhvr>
                                    </p:animEffect>
                                  </p:childTnLst>
                                </p:cTn>
                              </p:par>
                              <p:par>
                                <p:cTn id="93" presetID="8" presetClass="emph" presetSubtype="0" fill="hold" nodeType="withEffect">
                                  <p:stCondLst>
                                    <p:cond delay="0"/>
                                  </p:stCondLst>
                                  <p:childTnLst>
                                    <p:animRot by="21600000">
                                      <p:cBhvr>
                                        <p:cTn id="94" dur="1500" fill="hold"/>
                                        <p:tgtEl>
                                          <p:spTgt spid="113"/>
                                        </p:tgtEl>
                                        <p:attrNameLst>
                                          <p:attrName>r</p:attrName>
                                        </p:attrNameLst>
                                      </p:cBhvr>
                                    </p:animRot>
                                  </p:childTnLst>
                                </p:cTn>
                              </p:par>
                              <p:par>
                                <p:cTn id="95" presetID="10" presetClass="entr" presetSubtype="0" fill="hold" grpId="0" nodeType="withEffect">
                                  <p:stCondLst>
                                    <p:cond delay="1000"/>
                                  </p:stCondLst>
                                  <p:childTnLst>
                                    <p:set>
                                      <p:cBhvr>
                                        <p:cTn id="96" dur="1" fill="hold">
                                          <p:stCondLst>
                                            <p:cond delay="0"/>
                                          </p:stCondLst>
                                        </p:cTn>
                                        <p:tgtEl>
                                          <p:spTgt spid="112"/>
                                        </p:tgtEl>
                                        <p:attrNameLst>
                                          <p:attrName>style.visibility</p:attrName>
                                        </p:attrNameLst>
                                      </p:cBhvr>
                                      <p:to>
                                        <p:strVal val="visible"/>
                                      </p:to>
                                    </p:set>
                                    <p:animEffect transition="in" filter="fade">
                                      <p:cBhvr>
                                        <p:cTn id="97" dur="500"/>
                                        <p:tgtEl>
                                          <p:spTgt spid="112"/>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116"/>
                                        </p:tgtEl>
                                        <p:attrNameLst>
                                          <p:attrName>style.visibility</p:attrName>
                                        </p:attrNameLst>
                                      </p:cBhvr>
                                      <p:to>
                                        <p:strVal val="visible"/>
                                      </p:to>
                                    </p:set>
                                    <p:animEffect transition="in" filter="fade">
                                      <p:cBhvr>
                                        <p:cTn id="102" dur="500"/>
                                        <p:tgtEl>
                                          <p:spTgt spid="116"/>
                                        </p:tgtEl>
                                      </p:cBhvr>
                                    </p:animEffect>
                                  </p:childTnLst>
                                </p:cTn>
                              </p:par>
                              <p:par>
                                <p:cTn id="103" presetID="10" presetClass="exit" presetSubtype="0" fill="hold" grpId="0" nodeType="withEffect">
                                  <p:stCondLst>
                                    <p:cond delay="0"/>
                                  </p:stCondLst>
                                  <p:childTnLst>
                                    <p:animEffect transition="out" filter="fade">
                                      <p:cBhvr>
                                        <p:cTn id="104" dur="500"/>
                                        <p:tgtEl>
                                          <p:spTgt spid="19"/>
                                        </p:tgtEl>
                                      </p:cBhvr>
                                    </p:animEffect>
                                    <p:set>
                                      <p:cBhvr>
                                        <p:cTn id="105" dur="1" fill="hold">
                                          <p:stCondLst>
                                            <p:cond delay="499"/>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9" grpId="0"/>
      <p:bldP spid="43" grpId="0" animBg="1"/>
      <p:bldP spid="43" grpId="1" animBg="1"/>
      <p:bldP spid="43" grpId="2" animBg="1"/>
      <p:bldP spid="44" grpId="0"/>
      <p:bldP spid="44" grpId="1"/>
      <p:bldP spid="45" grpId="0" animBg="1"/>
      <p:bldP spid="45" grpId="1" animBg="1"/>
      <p:bldP spid="48" grpId="0" animBg="1"/>
      <p:bldP spid="48" grpId="1" animBg="1"/>
      <p:bldP spid="49" grpId="0" animBg="1"/>
      <p:bldP spid="49" grpId="1" animBg="1"/>
      <p:bldP spid="50" grpId="0"/>
      <p:bldP spid="50" grpId="1"/>
      <p:bldP spid="112" grpId="0"/>
      <p:bldP spid="116"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Factor Authentication</a:t>
            </a:r>
          </a:p>
        </p:txBody>
      </p:sp>
      <p:pic>
        <p:nvPicPr>
          <p:cNvPr id="3" name="Picture 3" descr="Certificates">
            <a:extLst>
              <a:ext uri="{FF2B5EF4-FFF2-40B4-BE49-F238E27FC236}">
                <a16:creationId xmlns:a16="http://schemas.microsoft.com/office/drawing/2014/main" id="{0643BB34-837C-4D30-A184-ED7617C6A14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893844" y="4698207"/>
            <a:ext cx="962025" cy="9525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mart Phone">
            <a:extLst>
              <a:ext uri="{FF2B5EF4-FFF2-40B4-BE49-F238E27FC236}">
                <a16:creationId xmlns:a16="http://schemas.microsoft.com/office/drawing/2014/main" id="{3B8AF6C0-0BFE-4190-9C29-A8E9F41F7B4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665000" y="4698207"/>
            <a:ext cx="962025" cy="952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Smart Card">
            <a:extLst>
              <a:ext uri="{FF2B5EF4-FFF2-40B4-BE49-F238E27FC236}">
                <a16:creationId xmlns:a16="http://schemas.microsoft.com/office/drawing/2014/main" id="{A7E91C23-351C-4125-8309-65F0129A2EE6}"/>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217444" y="4698207"/>
            <a:ext cx="962025" cy="9525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 descr="Username and Password">
            <a:extLst>
              <a:ext uri="{FF2B5EF4-FFF2-40B4-BE49-F238E27FC236}">
                <a16:creationId xmlns:a16="http://schemas.microsoft.com/office/drawing/2014/main" id="{6C9F30E4-C990-466D-BF44-E886CB73BC8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245644" y="4678362"/>
            <a:ext cx="952500" cy="95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148650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Multi-factor authentication</a:t>
            </a:r>
          </a:p>
        </p:txBody>
      </p:sp>
      <p:sp>
        <p:nvSpPr>
          <p:cNvPr id="9" name="Text Placeholder 4"/>
          <p:cNvSpPr>
            <a:spLocks noGrp="1"/>
          </p:cNvSpPr>
          <p:nvPr>
            <p:ph type="body" sz="quarter" idx="4294967295"/>
          </p:nvPr>
        </p:nvSpPr>
        <p:spPr>
          <a:xfrm>
            <a:off x="404503" y="1363662"/>
            <a:ext cx="5839897" cy="4279633"/>
          </a:xfrm>
        </p:spPr>
        <p:txBody>
          <a:bodyPr/>
          <a:lstStyle/>
          <a:p>
            <a:pPr marL="0" indent="0">
              <a:buNone/>
            </a:pPr>
            <a:r>
              <a:rPr lang="en-US" sz="2400" dirty="0">
                <a:solidFill>
                  <a:schemeClr val="tx2"/>
                </a:solidFill>
              </a:rPr>
              <a:t>Requires the use of more than one verification method</a:t>
            </a:r>
          </a:p>
          <a:p>
            <a:pPr marL="0" indent="0">
              <a:buNone/>
            </a:pPr>
            <a:r>
              <a:rPr lang="en-US" sz="2400" dirty="0">
                <a:solidFill>
                  <a:schemeClr val="tx2"/>
                </a:solidFill>
              </a:rPr>
              <a:t>Adds a critical second layer of security to user sign-ins and transactions. </a:t>
            </a:r>
          </a:p>
          <a:p>
            <a:pPr marL="0" indent="0">
              <a:buNone/>
            </a:pPr>
            <a:r>
              <a:rPr lang="en-US" sz="2400" dirty="0">
                <a:solidFill>
                  <a:schemeClr val="tx2"/>
                </a:solidFill>
              </a:rPr>
              <a:t>Requires any two or more of the following verification methods:</a:t>
            </a:r>
          </a:p>
          <a:p>
            <a:endParaRPr lang="en-US" sz="2400" dirty="0"/>
          </a:p>
          <a:p>
            <a:pPr marL="257175" indent="-257175"/>
            <a:r>
              <a:rPr lang="en-US" sz="2000" dirty="0">
                <a:latin typeface="+mn-lt"/>
              </a:rPr>
              <a:t>Something you know (typically a password)</a:t>
            </a:r>
          </a:p>
          <a:p>
            <a:pPr marL="257175" indent="-257175"/>
            <a:r>
              <a:rPr lang="en-US" sz="2000" dirty="0">
                <a:latin typeface="+mn-lt"/>
              </a:rPr>
              <a:t>Something you have (a trusted device that is     not easily duplicated, like a phone)</a:t>
            </a:r>
          </a:p>
          <a:p>
            <a:pPr marL="257175" indent="-257175"/>
            <a:r>
              <a:rPr lang="en-US" sz="2000" dirty="0">
                <a:latin typeface="+mn-lt"/>
              </a:rPr>
              <a:t>Something you are (biometrics)</a:t>
            </a:r>
          </a:p>
          <a:p>
            <a:endParaRPr lang="en-US" sz="1500" dirty="0"/>
          </a:p>
        </p:txBody>
      </p:sp>
      <p:sp>
        <p:nvSpPr>
          <p:cNvPr id="2" name="Rectangle 1">
            <a:extLst>
              <a:ext uri="{FF2B5EF4-FFF2-40B4-BE49-F238E27FC236}">
                <a16:creationId xmlns:a16="http://schemas.microsoft.com/office/drawing/2014/main" id="{DCF6E6E8-1E2D-4AC7-8625-2F7BD0240E91}"/>
              </a:ext>
            </a:extLst>
          </p:cNvPr>
          <p:cNvSpPr/>
          <p:nvPr/>
        </p:nvSpPr>
        <p:spPr>
          <a:xfrm>
            <a:off x="578571" y="6164262"/>
            <a:ext cx="2155975" cy="369332"/>
          </a:xfrm>
          <a:prstGeom prst="rect">
            <a:avLst/>
          </a:prstGeom>
        </p:spPr>
        <p:txBody>
          <a:bodyPr wrap="none">
            <a:spAutoFit/>
          </a:bodyPr>
          <a:lstStyle/>
          <a:p>
            <a:r>
              <a:rPr lang="en-US" dirty="0">
                <a:hlinkClick r:id="rId3"/>
              </a:rPr>
              <a:t>aka.ms/Azure/MFA</a:t>
            </a:r>
            <a:r>
              <a:rPr lang="en-US" dirty="0"/>
              <a:t> </a:t>
            </a:r>
          </a:p>
        </p:txBody>
      </p:sp>
      <p:pic>
        <p:nvPicPr>
          <p:cNvPr id="5123" name="Picture 3" descr="Certificates">
            <a:extLst>
              <a:ext uri="{FF2B5EF4-FFF2-40B4-BE49-F238E27FC236}">
                <a16:creationId xmlns:a16="http://schemas.microsoft.com/office/drawing/2014/main" id="{8A98F147-F60B-440C-97AD-C3E41C9EB72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691054" y="2963862"/>
            <a:ext cx="962025" cy="95250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Smart Phone">
            <a:extLst>
              <a:ext uri="{FF2B5EF4-FFF2-40B4-BE49-F238E27FC236}">
                <a16:creationId xmlns:a16="http://schemas.microsoft.com/office/drawing/2014/main" id="{ACA21FB3-6C03-4925-998E-1C02FBC1E9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27600" y="1345407"/>
            <a:ext cx="962025" cy="952500"/>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Smart Card">
            <a:extLst>
              <a:ext uri="{FF2B5EF4-FFF2-40B4-BE49-F238E27FC236}">
                <a16:creationId xmlns:a16="http://schemas.microsoft.com/office/drawing/2014/main" id="{183D41A1-7896-4803-BE5F-6E1F89B3D0A2}"/>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238488" y="2680244"/>
            <a:ext cx="962025" cy="95250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Virtual Smart Card">
            <a:extLst>
              <a:ext uri="{FF2B5EF4-FFF2-40B4-BE49-F238E27FC236}">
                <a16:creationId xmlns:a16="http://schemas.microsoft.com/office/drawing/2014/main" id="{FBE16913-AC00-4FBE-93AB-F90C51C65E64}"/>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741444" y="2582862"/>
            <a:ext cx="962025" cy="952500"/>
          </a:xfrm>
          <a:prstGeom prst="rect">
            <a:avLst/>
          </a:prstGeom>
          <a:noFill/>
          <a:extLst>
            <a:ext uri="{909E8E84-426E-40DD-AFC4-6F175D3DCCD1}">
              <a14:hiddenFill xmlns:a14="http://schemas.microsoft.com/office/drawing/2010/main">
                <a:solidFill>
                  <a:srgbClr val="FFFFFF"/>
                </a:solidFill>
              </a14:hiddenFill>
            </a:ext>
          </a:extLst>
        </p:spPr>
      </p:pic>
      <p:pic>
        <p:nvPicPr>
          <p:cNvPr id="5127" name="Picture 7" descr="Username and Password">
            <a:extLst>
              <a:ext uri="{FF2B5EF4-FFF2-40B4-BE49-F238E27FC236}">
                <a16:creationId xmlns:a16="http://schemas.microsoft.com/office/drawing/2014/main" id="{E08498F8-6E4F-47EF-93A5-830F2639FC08}"/>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808244" y="1287462"/>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Username and Password">
            <a:extLst>
              <a:ext uri="{FF2B5EF4-FFF2-40B4-BE49-F238E27FC236}">
                <a16:creationId xmlns:a16="http://schemas.microsoft.com/office/drawing/2014/main" id="{D858E2C8-C9D9-4232-8118-F9DE0766FF6F}"/>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7360444" y="1516062"/>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9FF00C1-8BF6-4B0A-8CC7-5C8A19258FD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08044" y="4905371"/>
            <a:ext cx="4751096" cy="12101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3176642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MFA server vs. Azure AD MFA model</a:t>
            </a:r>
          </a:p>
        </p:txBody>
      </p:sp>
      <p:sp>
        <p:nvSpPr>
          <p:cNvPr id="6" name="Text Placeholder 5"/>
          <p:cNvSpPr txBox="1">
            <a:spLocks/>
          </p:cNvSpPr>
          <p:nvPr/>
        </p:nvSpPr>
        <p:spPr>
          <a:xfrm>
            <a:off x="366169" y="1211263"/>
            <a:ext cx="8622247" cy="683264"/>
          </a:xfrm>
          <a:prstGeom prst="rect">
            <a:avLst/>
          </a:prstGeom>
        </p:spPr>
        <p:txBody>
          <a:bodyPr vert="horz" wrap="square" lIns="164592" tIns="91440" rIns="164592"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dirty="0">
                <a:gradFill>
                  <a:gsLst>
                    <a:gs pos="1250">
                      <a:schemeClr val="tx2"/>
                    </a:gs>
                    <a:gs pos="99000">
                      <a:schemeClr val="tx2"/>
                    </a:gs>
                  </a:gsLst>
                  <a:lin ang="5400000" scaled="0"/>
                </a:gradFill>
              </a:rPr>
              <a:t>Two types of Azure MFA services available:</a:t>
            </a:r>
          </a:p>
        </p:txBody>
      </p:sp>
      <p:grpSp>
        <p:nvGrpSpPr>
          <p:cNvPr id="10" name="Group 9"/>
          <p:cNvGrpSpPr/>
          <p:nvPr/>
        </p:nvGrpSpPr>
        <p:grpSpPr>
          <a:xfrm>
            <a:off x="1988345" y="2278112"/>
            <a:ext cx="8458199" cy="4114699"/>
            <a:chOff x="1950244" y="2278112"/>
            <a:chExt cx="8458199" cy="4114699"/>
          </a:xfrm>
        </p:grpSpPr>
        <p:sp>
          <p:nvSpPr>
            <p:cNvPr id="5" name="Freeform: Shape 4"/>
            <p:cNvSpPr/>
            <p:nvPr/>
          </p:nvSpPr>
          <p:spPr>
            <a:xfrm>
              <a:off x="4858034" y="2478830"/>
              <a:ext cx="5550409" cy="1605736"/>
            </a:xfrm>
            <a:custGeom>
              <a:avLst/>
              <a:gdLst>
                <a:gd name="connsiteX0" fmla="*/ 267628 w 1605736"/>
                <a:gd name="connsiteY0" fmla="*/ 0 h 5169408"/>
                <a:gd name="connsiteX1" fmla="*/ 1338108 w 1605736"/>
                <a:gd name="connsiteY1" fmla="*/ 0 h 5169408"/>
                <a:gd name="connsiteX2" fmla="*/ 1605736 w 1605736"/>
                <a:gd name="connsiteY2" fmla="*/ 267628 h 5169408"/>
                <a:gd name="connsiteX3" fmla="*/ 1605736 w 1605736"/>
                <a:gd name="connsiteY3" fmla="*/ 5169408 h 5169408"/>
                <a:gd name="connsiteX4" fmla="*/ 1605736 w 1605736"/>
                <a:gd name="connsiteY4" fmla="*/ 5169408 h 5169408"/>
                <a:gd name="connsiteX5" fmla="*/ 0 w 1605736"/>
                <a:gd name="connsiteY5" fmla="*/ 5169408 h 5169408"/>
                <a:gd name="connsiteX6" fmla="*/ 0 w 1605736"/>
                <a:gd name="connsiteY6" fmla="*/ 5169408 h 5169408"/>
                <a:gd name="connsiteX7" fmla="*/ 0 w 1605736"/>
                <a:gd name="connsiteY7" fmla="*/ 267628 h 5169408"/>
                <a:gd name="connsiteX8" fmla="*/ 267628 w 1605736"/>
                <a:gd name="connsiteY8" fmla="*/ 0 h 5169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736" h="5169408">
                  <a:moveTo>
                    <a:pt x="1605736" y="861585"/>
                  </a:moveTo>
                  <a:lnTo>
                    <a:pt x="1605736" y="4307823"/>
                  </a:lnTo>
                  <a:cubicBezTo>
                    <a:pt x="1605736" y="4783664"/>
                    <a:pt x="1568517" y="5169408"/>
                    <a:pt x="1522605" y="5169408"/>
                  </a:cubicBezTo>
                  <a:lnTo>
                    <a:pt x="0" y="5169408"/>
                  </a:lnTo>
                  <a:lnTo>
                    <a:pt x="0" y="5169408"/>
                  </a:lnTo>
                  <a:lnTo>
                    <a:pt x="0" y="0"/>
                  </a:lnTo>
                  <a:lnTo>
                    <a:pt x="0" y="0"/>
                  </a:lnTo>
                  <a:lnTo>
                    <a:pt x="1522605" y="0"/>
                  </a:lnTo>
                  <a:cubicBezTo>
                    <a:pt x="1568517" y="0"/>
                    <a:pt x="1605736" y="385744"/>
                    <a:pt x="1605736" y="861585"/>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202211" rIns="326036" bIns="202211" numCol="1" spcCol="1270" anchor="ctr" anchorCtr="0">
              <a:noAutofit/>
            </a:bodyPr>
            <a:lstStyle/>
            <a:p>
              <a:pPr marL="228600" lvl="1" indent="-228600" algn="l" defTabSz="889000">
                <a:lnSpc>
                  <a:spcPct val="90000"/>
                </a:lnSpc>
                <a:spcBef>
                  <a:spcPct val="0"/>
                </a:spcBef>
                <a:spcAft>
                  <a:spcPct val="15000"/>
                </a:spcAft>
                <a:buChar char="•"/>
              </a:pPr>
              <a:r>
                <a:rPr lang="en-US" kern="1200" dirty="0"/>
                <a:t>This adds multi-factor authentication to an Azure AD account. This is a pure cloud service with no on-premises components</a:t>
              </a:r>
            </a:p>
          </p:txBody>
        </p:sp>
        <p:sp>
          <p:nvSpPr>
            <p:cNvPr id="7" name="Freeform: Shape 6"/>
            <p:cNvSpPr/>
            <p:nvPr/>
          </p:nvSpPr>
          <p:spPr>
            <a:xfrm>
              <a:off x="1950244" y="2278112"/>
              <a:ext cx="2907792" cy="2007170"/>
            </a:xfrm>
            <a:custGeom>
              <a:avLst/>
              <a:gdLst>
                <a:gd name="connsiteX0" fmla="*/ 0 w 2907792"/>
                <a:gd name="connsiteY0" fmla="*/ 334535 h 2007170"/>
                <a:gd name="connsiteX1" fmla="*/ 334535 w 2907792"/>
                <a:gd name="connsiteY1" fmla="*/ 0 h 2007170"/>
                <a:gd name="connsiteX2" fmla="*/ 2573257 w 2907792"/>
                <a:gd name="connsiteY2" fmla="*/ 0 h 2007170"/>
                <a:gd name="connsiteX3" fmla="*/ 2907792 w 2907792"/>
                <a:gd name="connsiteY3" fmla="*/ 334535 h 2007170"/>
                <a:gd name="connsiteX4" fmla="*/ 2907792 w 2907792"/>
                <a:gd name="connsiteY4" fmla="*/ 1672635 h 2007170"/>
                <a:gd name="connsiteX5" fmla="*/ 2573257 w 2907792"/>
                <a:gd name="connsiteY5" fmla="*/ 2007170 h 2007170"/>
                <a:gd name="connsiteX6" fmla="*/ 334535 w 2907792"/>
                <a:gd name="connsiteY6" fmla="*/ 2007170 h 2007170"/>
                <a:gd name="connsiteX7" fmla="*/ 0 w 2907792"/>
                <a:gd name="connsiteY7" fmla="*/ 1672635 h 2007170"/>
                <a:gd name="connsiteX8" fmla="*/ 0 w 2907792"/>
                <a:gd name="connsiteY8" fmla="*/ 334535 h 200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7792" h="2007170">
                  <a:moveTo>
                    <a:pt x="0" y="334535"/>
                  </a:moveTo>
                  <a:cubicBezTo>
                    <a:pt x="0" y="149776"/>
                    <a:pt x="149776" y="0"/>
                    <a:pt x="334535" y="0"/>
                  </a:cubicBezTo>
                  <a:lnTo>
                    <a:pt x="2573257" y="0"/>
                  </a:lnTo>
                  <a:cubicBezTo>
                    <a:pt x="2758016" y="0"/>
                    <a:pt x="2907792" y="149776"/>
                    <a:pt x="2907792" y="334535"/>
                  </a:cubicBezTo>
                  <a:lnTo>
                    <a:pt x="2907792" y="1672635"/>
                  </a:lnTo>
                  <a:cubicBezTo>
                    <a:pt x="2907792" y="1857394"/>
                    <a:pt x="2758016" y="2007170"/>
                    <a:pt x="2573257" y="2007170"/>
                  </a:cubicBezTo>
                  <a:lnTo>
                    <a:pt x="334535" y="2007170"/>
                  </a:lnTo>
                  <a:cubicBezTo>
                    <a:pt x="149776" y="2007170"/>
                    <a:pt x="0" y="1857394"/>
                    <a:pt x="0" y="1672635"/>
                  </a:cubicBezTo>
                  <a:lnTo>
                    <a:pt x="0" y="33453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4192" tIns="176087" rIns="254192" bIns="176087" numCol="1" spcCol="1270" anchor="ctr" anchorCtr="0">
              <a:noAutofit/>
            </a:bodyPr>
            <a:lstStyle/>
            <a:p>
              <a:pPr marL="0" lvl="0" indent="0" algn="ctr" defTabSz="1822450">
                <a:lnSpc>
                  <a:spcPct val="90000"/>
                </a:lnSpc>
                <a:spcBef>
                  <a:spcPct val="0"/>
                </a:spcBef>
                <a:spcAft>
                  <a:spcPct val="35000"/>
                </a:spcAft>
                <a:buNone/>
              </a:pPr>
              <a:r>
                <a:rPr lang="en-US" sz="4100" kern="1200" dirty="0">
                  <a:latin typeface="+mj-lt"/>
                </a:rPr>
                <a:t>Azure MFA</a:t>
              </a:r>
            </a:p>
          </p:txBody>
        </p:sp>
        <p:sp>
          <p:nvSpPr>
            <p:cNvPr id="8" name="Freeform: Shape 7"/>
            <p:cNvSpPr/>
            <p:nvPr/>
          </p:nvSpPr>
          <p:spPr>
            <a:xfrm>
              <a:off x="4858034" y="4586358"/>
              <a:ext cx="5550409" cy="1605736"/>
            </a:xfrm>
            <a:custGeom>
              <a:avLst/>
              <a:gdLst>
                <a:gd name="connsiteX0" fmla="*/ 267628 w 1605736"/>
                <a:gd name="connsiteY0" fmla="*/ 0 h 5169408"/>
                <a:gd name="connsiteX1" fmla="*/ 1338108 w 1605736"/>
                <a:gd name="connsiteY1" fmla="*/ 0 h 5169408"/>
                <a:gd name="connsiteX2" fmla="*/ 1605736 w 1605736"/>
                <a:gd name="connsiteY2" fmla="*/ 267628 h 5169408"/>
                <a:gd name="connsiteX3" fmla="*/ 1605736 w 1605736"/>
                <a:gd name="connsiteY3" fmla="*/ 5169408 h 5169408"/>
                <a:gd name="connsiteX4" fmla="*/ 1605736 w 1605736"/>
                <a:gd name="connsiteY4" fmla="*/ 5169408 h 5169408"/>
                <a:gd name="connsiteX5" fmla="*/ 0 w 1605736"/>
                <a:gd name="connsiteY5" fmla="*/ 5169408 h 5169408"/>
                <a:gd name="connsiteX6" fmla="*/ 0 w 1605736"/>
                <a:gd name="connsiteY6" fmla="*/ 5169408 h 5169408"/>
                <a:gd name="connsiteX7" fmla="*/ 0 w 1605736"/>
                <a:gd name="connsiteY7" fmla="*/ 267628 h 5169408"/>
                <a:gd name="connsiteX8" fmla="*/ 267628 w 1605736"/>
                <a:gd name="connsiteY8" fmla="*/ 0 h 5169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736" h="5169408">
                  <a:moveTo>
                    <a:pt x="1605736" y="861585"/>
                  </a:moveTo>
                  <a:lnTo>
                    <a:pt x="1605736" y="4307823"/>
                  </a:lnTo>
                  <a:cubicBezTo>
                    <a:pt x="1605736" y="4783664"/>
                    <a:pt x="1568517" y="5169408"/>
                    <a:pt x="1522605" y="5169408"/>
                  </a:cubicBezTo>
                  <a:lnTo>
                    <a:pt x="0" y="5169408"/>
                  </a:lnTo>
                  <a:lnTo>
                    <a:pt x="0" y="5169408"/>
                  </a:lnTo>
                  <a:lnTo>
                    <a:pt x="0" y="0"/>
                  </a:lnTo>
                  <a:lnTo>
                    <a:pt x="0" y="0"/>
                  </a:lnTo>
                  <a:lnTo>
                    <a:pt x="1522605" y="0"/>
                  </a:lnTo>
                  <a:cubicBezTo>
                    <a:pt x="1568517" y="0"/>
                    <a:pt x="1605736" y="385744"/>
                    <a:pt x="1605736" y="861585"/>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202211" rIns="326036" bIns="202211" numCol="1" spcCol="1270" anchor="ctr" anchorCtr="0">
              <a:noAutofit/>
            </a:bodyPr>
            <a:lstStyle/>
            <a:p>
              <a:pPr marL="228600" lvl="1" indent="-228600" algn="l" defTabSz="889000">
                <a:lnSpc>
                  <a:spcPct val="90000"/>
                </a:lnSpc>
                <a:spcBef>
                  <a:spcPct val="0"/>
                </a:spcBef>
                <a:spcAft>
                  <a:spcPct val="15000"/>
                </a:spcAft>
                <a:buChar char="•"/>
              </a:pPr>
              <a:r>
                <a:rPr lang="en-US" kern="1200" dirty="0"/>
                <a:t>This is an actual server product that you install on-premises, which can add multi-factor authentication to services other than Azure AD</a:t>
              </a:r>
            </a:p>
          </p:txBody>
        </p:sp>
        <p:sp>
          <p:nvSpPr>
            <p:cNvPr id="9" name="Freeform: Shape 8"/>
            <p:cNvSpPr/>
            <p:nvPr/>
          </p:nvSpPr>
          <p:spPr>
            <a:xfrm>
              <a:off x="1950244" y="4385641"/>
              <a:ext cx="2907792" cy="2007170"/>
            </a:xfrm>
            <a:custGeom>
              <a:avLst/>
              <a:gdLst>
                <a:gd name="connsiteX0" fmla="*/ 0 w 2907792"/>
                <a:gd name="connsiteY0" fmla="*/ 334535 h 2007170"/>
                <a:gd name="connsiteX1" fmla="*/ 334535 w 2907792"/>
                <a:gd name="connsiteY1" fmla="*/ 0 h 2007170"/>
                <a:gd name="connsiteX2" fmla="*/ 2573257 w 2907792"/>
                <a:gd name="connsiteY2" fmla="*/ 0 h 2007170"/>
                <a:gd name="connsiteX3" fmla="*/ 2907792 w 2907792"/>
                <a:gd name="connsiteY3" fmla="*/ 334535 h 2007170"/>
                <a:gd name="connsiteX4" fmla="*/ 2907792 w 2907792"/>
                <a:gd name="connsiteY4" fmla="*/ 1672635 h 2007170"/>
                <a:gd name="connsiteX5" fmla="*/ 2573257 w 2907792"/>
                <a:gd name="connsiteY5" fmla="*/ 2007170 h 2007170"/>
                <a:gd name="connsiteX6" fmla="*/ 334535 w 2907792"/>
                <a:gd name="connsiteY6" fmla="*/ 2007170 h 2007170"/>
                <a:gd name="connsiteX7" fmla="*/ 0 w 2907792"/>
                <a:gd name="connsiteY7" fmla="*/ 1672635 h 2007170"/>
                <a:gd name="connsiteX8" fmla="*/ 0 w 2907792"/>
                <a:gd name="connsiteY8" fmla="*/ 334535 h 200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7792" h="2007170">
                  <a:moveTo>
                    <a:pt x="0" y="334535"/>
                  </a:moveTo>
                  <a:cubicBezTo>
                    <a:pt x="0" y="149776"/>
                    <a:pt x="149776" y="0"/>
                    <a:pt x="334535" y="0"/>
                  </a:cubicBezTo>
                  <a:lnTo>
                    <a:pt x="2573257" y="0"/>
                  </a:lnTo>
                  <a:cubicBezTo>
                    <a:pt x="2758016" y="0"/>
                    <a:pt x="2907792" y="149776"/>
                    <a:pt x="2907792" y="334535"/>
                  </a:cubicBezTo>
                  <a:lnTo>
                    <a:pt x="2907792" y="1672635"/>
                  </a:lnTo>
                  <a:cubicBezTo>
                    <a:pt x="2907792" y="1857394"/>
                    <a:pt x="2758016" y="2007170"/>
                    <a:pt x="2573257" y="2007170"/>
                  </a:cubicBezTo>
                  <a:lnTo>
                    <a:pt x="334535" y="2007170"/>
                  </a:lnTo>
                  <a:cubicBezTo>
                    <a:pt x="149776" y="2007170"/>
                    <a:pt x="0" y="1857394"/>
                    <a:pt x="0" y="1672635"/>
                  </a:cubicBezTo>
                  <a:lnTo>
                    <a:pt x="0" y="33453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4192" tIns="176087" rIns="254192" bIns="176087" numCol="1" spcCol="1270" anchor="ctr" anchorCtr="0">
              <a:noAutofit/>
            </a:bodyPr>
            <a:lstStyle/>
            <a:p>
              <a:pPr marL="0" lvl="0" indent="0" algn="ctr" defTabSz="1822450">
                <a:lnSpc>
                  <a:spcPct val="90000"/>
                </a:lnSpc>
                <a:spcBef>
                  <a:spcPct val="0"/>
                </a:spcBef>
                <a:spcAft>
                  <a:spcPct val="35000"/>
                </a:spcAft>
                <a:buNone/>
              </a:pPr>
              <a:r>
                <a:rPr lang="en-US" sz="4100" kern="1200" dirty="0">
                  <a:latin typeface="+mj-lt"/>
                </a:rPr>
                <a:t>Azure MFA server</a:t>
              </a:r>
            </a:p>
          </p:txBody>
        </p:sp>
      </p:grpSp>
    </p:spTree>
    <p:extLst>
      <p:ext uri="{BB962C8B-B14F-4D97-AF65-F5344CB8AC3E}">
        <p14:creationId xmlns:p14="http://schemas.microsoft.com/office/powerpoint/2010/main" val="166846471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66168" y="1212851"/>
            <a:ext cx="11702553" cy="5740033"/>
          </a:xfrm>
        </p:spPr>
        <p:txBody>
          <a:bodyPr/>
          <a:lstStyle/>
          <a:p>
            <a:pPr marL="0" indent="0">
              <a:buNone/>
            </a:pPr>
            <a:r>
              <a:rPr lang="en-US" sz="3200" dirty="0">
                <a:solidFill>
                  <a:schemeClr val="tx2"/>
                </a:solidFill>
              </a:rPr>
              <a:t>Phone Call</a:t>
            </a:r>
          </a:p>
          <a:p>
            <a:r>
              <a:rPr lang="en-US" sz="1800" dirty="0">
                <a:latin typeface="+mn-lt"/>
              </a:rPr>
              <a:t>Call placed to designated phone number (wireless or landline)</a:t>
            </a:r>
          </a:p>
          <a:p>
            <a:r>
              <a:rPr lang="en-US" sz="1800" dirty="0">
                <a:latin typeface="+mn-lt"/>
              </a:rPr>
              <a:t>Simple Acknowledgement (#) or special PIN</a:t>
            </a:r>
            <a:endParaRPr lang="en-US" sz="2000" dirty="0">
              <a:latin typeface="+mn-lt"/>
            </a:endParaRPr>
          </a:p>
          <a:p>
            <a:pPr marL="0" indent="0">
              <a:buNone/>
            </a:pPr>
            <a:r>
              <a:rPr lang="en-US" sz="3200" dirty="0">
                <a:solidFill>
                  <a:schemeClr val="tx2"/>
                </a:solidFill>
              </a:rPr>
              <a:t>Text Message</a:t>
            </a:r>
          </a:p>
          <a:p>
            <a:pPr marL="342846" lvl="1" indent="-342846"/>
            <a:r>
              <a:rPr lang="en-US" sz="1800" dirty="0"/>
              <a:t>SMS message</a:t>
            </a:r>
          </a:p>
          <a:p>
            <a:pPr marL="342846" lvl="1" indent="-342846"/>
            <a:r>
              <a:rPr lang="en-US" sz="1800" dirty="0"/>
              <a:t>One-way or two-way acknowledgement</a:t>
            </a:r>
          </a:p>
          <a:p>
            <a:pPr marL="0" indent="0">
              <a:buNone/>
            </a:pPr>
            <a:r>
              <a:rPr lang="en-US" sz="3200" dirty="0">
                <a:solidFill>
                  <a:schemeClr val="tx2"/>
                </a:solidFill>
              </a:rPr>
              <a:t>Mobile App</a:t>
            </a:r>
          </a:p>
          <a:p>
            <a:pPr marL="342846" lvl="1" indent="-342846"/>
            <a:r>
              <a:rPr lang="en-US" sz="1800" dirty="0"/>
              <a:t>Notification: Verification code is delivered to mobile app</a:t>
            </a:r>
          </a:p>
          <a:p>
            <a:pPr marL="342846" lvl="1" indent="-342846"/>
            <a:r>
              <a:rPr lang="en-US" sz="1800" dirty="0"/>
              <a:t>OATH TOTP </a:t>
            </a:r>
          </a:p>
          <a:p>
            <a:pPr marL="342846" lvl="1" indent="-342846"/>
            <a:r>
              <a:rPr lang="en-US" sz="1800" dirty="0"/>
              <a:t>Verification Code: A verification code is xxx</a:t>
            </a:r>
          </a:p>
          <a:p>
            <a:pPr marL="342846" lvl="1" indent="-342846"/>
            <a:r>
              <a:rPr lang="en-US" sz="1800" dirty="0"/>
              <a:t>Multi-platform: iOS, Android, Windows Phone</a:t>
            </a:r>
          </a:p>
          <a:p>
            <a:pPr marL="0" indent="0">
              <a:buNone/>
            </a:pPr>
            <a:r>
              <a:rPr lang="en-US" sz="3200" dirty="0">
                <a:solidFill>
                  <a:schemeClr val="tx2"/>
                </a:solidFill>
              </a:rPr>
              <a:t>OATH TOTP Hard Tokens (MFA Server Only)</a:t>
            </a:r>
          </a:p>
          <a:p>
            <a:pPr marL="342846" lvl="1" indent="-342846"/>
            <a:r>
              <a:rPr lang="en-US" sz="1800" dirty="0"/>
              <a:t>OTP generated using algorithm based on shared secret and current time</a:t>
            </a:r>
          </a:p>
          <a:p>
            <a:endParaRPr lang="en-US" sz="3200" dirty="0"/>
          </a:p>
        </p:txBody>
      </p:sp>
      <p:sp>
        <p:nvSpPr>
          <p:cNvPr id="4" name="Title 3"/>
          <p:cNvSpPr>
            <a:spLocks noGrp="1"/>
          </p:cNvSpPr>
          <p:nvPr>
            <p:ph type="title"/>
          </p:nvPr>
        </p:nvSpPr>
        <p:spPr/>
        <p:txBody>
          <a:bodyPr/>
          <a:lstStyle/>
          <a:p>
            <a:r>
              <a:rPr lang="en-US" dirty="0"/>
              <a:t>How it works</a:t>
            </a:r>
          </a:p>
        </p:txBody>
      </p:sp>
      <p:sp>
        <p:nvSpPr>
          <p:cNvPr id="48" name="Rectangle 47"/>
          <p:cNvSpPr/>
          <p:nvPr/>
        </p:nvSpPr>
        <p:spPr bwMode="auto">
          <a:xfrm>
            <a:off x="8580196" y="4792662"/>
            <a:ext cx="3885648" cy="854148"/>
          </a:xfrm>
          <a:prstGeom prst="rect">
            <a:avLst/>
          </a:prstGeom>
          <a:noFill/>
          <a:ln w="381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spcBef>
                <a:spcPct val="0"/>
              </a:spcBef>
              <a:spcAft>
                <a:spcPct val="0"/>
              </a:spcAft>
              <a:defRPr/>
            </a:pPr>
            <a:r>
              <a:rPr lang="en-US" sz="2800" dirty="0">
                <a:solidFill>
                  <a:schemeClr val="bg2"/>
                </a:solidFill>
                <a:cs typeface="Segoe UI Semibold" panose="020B0702040204020203" pitchFamily="34" charset="0"/>
              </a:rPr>
              <a:t>Phone calls</a:t>
            </a:r>
          </a:p>
        </p:txBody>
      </p:sp>
      <p:grpSp>
        <p:nvGrpSpPr>
          <p:cNvPr id="2" name="Group 1"/>
          <p:cNvGrpSpPr/>
          <p:nvPr/>
        </p:nvGrpSpPr>
        <p:grpSpPr>
          <a:xfrm>
            <a:off x="9960677" y="2487466"/>
            <a:ext cx="1124685" cy="2152796"/>
            <a:chOff x="9350279" y="2949139"/>
            <a:chExt cx="1124685" cy="2152796"/>
          </a:xfrm>
        </p:grpSpPr>
        <p:sp>
          <p:nvSpPr>
            <p:cNvPr id="49" name="Freeform 48"/>
            <p:cNvSpPr>
              <a:spLocks noEditPoints="1"/>
            </p:cNvSpPr>
            <p:nvPr/>
          </p:nvSpPr>
          <p:spPr bwMode="auto">
            <a:xfrm>
              <a:off x="9350279" y="2949139"/>
              <a:ext cx="1124685" cy="2152796"/>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chemeClr val="bg2"/>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dirty="0">
                <a:solidFill>
                  <a:srgbClr val="505050"/>
                </a:solidFill>
                <a:latin typeface="Segoe UI"/>
              </a:endParaRPr>
            </a:p>
          </p:txBody>
        </p:sp>
        <p:grpSp>
          <p:nvGrpSpPr>
            <p:cNvPr id="9" name="Group 8"/>
            <p:cNvGrpSpPr/>
            <p:nvPr/>
          </p:nvGrpSpPr>
          <p:grpSpPr>
            <a:xfrm>
              <a:off x="9498679" y="3163373"/>
              <a:ext cx="834075" cy="1606029"/>
              <a:chOff x="7158168" y="4000263"/>
              <a:chExt cx="672875" cy="1295637"/>
            </a:xfrm>
          </p:grpSpPr>
          <p:sp>
            <p:nvSpPr>
              <p:cNvPr id="46" name="Rectangle 45"/>
              <p:cNvSpPr/>
              <p:nvPr/>
            </p:nvSpPr>
            <p:spPr bwMode="auto">
              <a:xfrm>
                <a:off x="7158168" y="4000263"/>
                <a:ext cx="672875" cy="129563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3"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latin typeface="Segoe UI"/>
                </a:endParaRPr>
              </a:p>
            </p:txBody>
          </p:sp>
          <p:sp>
            <p:nvSpPr>
              <p:cNvPr id="47" name="Freeform 46"/>
              <p:cNvSpPr>
                <a:spLocks/>
              </p:cNvSpPr>
              <p:nvPr/>
            </p:nvSpPr>
            <p:spPr bwMode="auto">
              <a:xfrm>
                <a:off x="7273333" y="4452029"/>
                <a:ext cx="407126" cy="406627"/>
              </a:xfrm>
              <a:custGeom>
                <a:avLst/>
                <a:gdLst>
                  <a:gd name="T0" fmla="*/ 1465 w 1803"/>
                  <a:gd name="T1" fmla="*/ 1093 h 1802"/>
                  <a:gd name="T2" fmla="*/ 1803 w 1803"/>
                  <a:gd name="T3" fmla="*/ 1385 h 1802"/>
                  <a:gd name="T4" fmla="*/ 1375 w 1803"/>
                  <a:gd name="T5" fmla="*/ 1802 h 1802"/>
                  <a:gd name="T6" fmla="*/ 0 w 1803"/>
                  <a:gd name="T7" fmla="*/ 417 h 1802"/>
                  <a:gd name="T8" fmla="*/ 406 w 1803"/>
                  <a:gd name="T9" fmla="*/ 0 h 1802"/>
                  <a:gd name="T10" fmla="*/ 699 w 1803"/>
                  <a:gd name="T11" fmla="*/ 327 h 1802"/>
                  <a:gd name="T12" fmla="*/ 620 w 1803"/>
                  <a:gd name="T13" fmla="*/ 631 h 1802"/>
                  <a:gd name="T14" fmla="*/ 699 w 1803"/>
                  <a:gd name="T15" fmla="*/ 856 h 1802"/>
                  <a:gd name="T16" fmla="*/ 845 w 1803"/>
                  <a:gd name="T17" fmla="*/ 1025 h 1802"/>
                  <a:gd name="T18" fmla="*/ 1127 w 1803"/>
                  <a:gd name="T19" fmla="*/ 1171 h 1802"/>
                  <a:gd name="T20" fmla="*/ 1465 w 1803"/>
                  <a:gd name="T21" fmla="*/ 1093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3" h="1802">
                    <a:moveTo>
                      <a:pt x="1465" y="1093"/>
                    </a:moveTo>
                    <a:cubicBezTo>
                      <a:pt x="1803" y="1385"/>
                      <a:pt x="1803" y="1385"/>
                      <a:pt x="1803" y="1385"/>
                    </a:cubicBezTo>
                    <a:cubicBezTo>
                      <a:pt x="1736" y="1588"/>
                      <a:pt x="1612" y="1701"/>
                      <a:pt x="1375" y="1802"/>
                    </a:cubicBezTo>
                    <a:cubicBezTo>
                      <a:pt x="845" y="1577"/>
                      <a:pt x="214" y="957"/>
                      <a:pt x="0" y="417"/>
                    </a:cubicBezTo>
                    <a:cubicBezTo>
                      <a:pt x="90" y="169"/>
                      <a:pt x="192" y="57"/>
                      <a:pt x="406" y="0"/>
                    </a:cubicBezTo>
                    <a:cubicBezTo>
                      <a:pt x="699" y="327"/>
                      <a:pt x="699" y="327"/>
                      <a:pt x="699" y="327"/>
                    </a:cubicBezTo>
                    <a:cubicBezTo>
                      <a:pt x="620" y="631"/>
                      <a:pt x="620" y="631"/>
                      <a:pt x="620" y="631"/>
                    </a:cubicBezTo>
                    <a:cubicBezTo>
                      <a:pt x="620" y="710"/>
                      <a:pt x="654" y="800"/>
                      <a:pt x="699" y="856"/>
                    </a:cubicBezTo>
                    <a:cubicBezTo>
                      <a:pt x="721" y="879"/>
                      <a:pt x="767" y="946"/>
                      <a:pt x="845" y="1025"/>
                    </a:cubicBezTo>
                    <a:cubicBezTo>
                      <a:pt x="958" y="1126"/>
                      <a:pt x="1037" y="1171"/>
                      <a:pt x="1127" y="1171"/>
                    </a:cubicBezTo>
                    <a:cubicBezTo>
                      <a:pt x="1161" y="1171"/>
                      <a:pt x="1274" y="1149"/>
                      <a:pt x="1465" y="109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dirty="0">
                  <a:solidFill>
                    <a:srgbClr val="505050"/>
                  </a:solidFill>
                  <a:latin typeface="Segoe UI"/>
                </a:endParaRPr>
              </a:p>
            </p:txBody>
          </p:sp>
        </p:grpSp>
        <p:sp>
          <p:nvSpPr>
            <p:cNvPr id="13" name="Freeform 12"/>
            <p:cNvSpPr>
              <a:spLocks/>
            </p:cNvSpPr>
            <p:nvPr/>
          </p:nvSpPr>
          <p:spPr bwMode="auto">
            <a:xfrm>
              <a:off x="9892279" y="3810093"/>
              <a:ext cx="181605" cy="149825"/>
            </a:xfrm>
            <a:custGeom>
              <a:avLst/>
              <a:gdLst>
                <a:gd name="T0" fmla="*/ 34 w 530"/>
                <a:gd name="T1" fmla="*/ 0 h 439"/>
                <a:gd name="T2" fmla="*/ 0 w 530"/>
                <a:gd name="T3" fmla="*/ 34 h 439"/>
                <a:gd name="T4" fmla="*/ 0 w 530"/>
                <a:gd name="T5" fmla="*/ 57 h 439"/>
                <a:gd name="T6" fmla="*/ 34 w 530"/>
                <a:gd name="T7" fmla="*/ 90 h 439"/>
                <a:gd name="T8" fmla="*/ 440 w 530"/>
                <a:gd name="T9" fmla="*/ 417 h 439"/>
                <a:gd name="T10" fmla="*/ 473 w 530"/>
                <a:gd name="T11" fmla="*/ 439 h 439"/>
                <a:gd name="T12" fmla="*/ 496 w 530"/>
                <a:gd name="T13" fmla="*/ 439 h 439"/>
                <a:gd name="T14" fmla="*/ 530 w 530"/>
                <a:gd name="T15" fmla="*/ 428 h 439"/>
                <a:gd name="T16" fmla="*/ 530 w 530"/>
                <a:gd name="T17" fmla="*/ 406 h 439"/>
                <a:gd name="T18" fmla="*/ 34 w 530"/>
                <a:gd name="T19"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0" h="439">
                  <a:moveTo>
                    <a:pt x="34" y="0"/>
                  </a:moveTo>
                  <a:cubicBezTo>
                    <a:pt x="23" y="0"/>
                    <a:pt x="0" y="11"/>
                    <a:pt x="0" y="34"/>
                  </a:cubicBezTo>
                  <a:cubicBezTo>
                    <a:pt x="0" y="57"/>
                    <a:pt x="0" y="57"/>
                    <a:pt x="0" y="57"/>
                  </a:cubicBezTo>
                  <a:cubicBezTo>
                    <a:pt x="0" y="79"/>
                    <a:pt x="23" y="90"/>
                    <a:pt x="34" y="90"/>
                  </a:cubicBezTo>
                  <a:cubicBezTo>
                    <a:pt x="248" y="90"/>
                    <a:pt x="383" y="203"/>
                    <a:pt x="440" y="417"/>
                  </a:cubicBezTo>
                  <a:cubicBezTo>
                    <a:pt x="440" y="428"/>
                    <a:pt x="451" y="439"/>
                    <a:pt x="473" y="439"/>
                  </a:cubicBezTo>
                  <a:cubicBezTo>
                    <a:pt x="496" y="439"/>
                    <a:pt x="496" y="439"/>
                    <a:pt x="496" y="439"/>
                  </a:cubicBezTo>
                  <a:cubicBezTo>
                    <a:pt x="507" y="439"/>
                    <a:pt x="518" y="439"/>
                    <a:pt x="530" y="428"/>
                  </a:cubicBezTo>
                  <a:cubicBezTo>
                    <a:pt x="530" y="428"/>
                    <a:pt x="530" y="417"/>
                    <a:pt x="530" y="406"/>
                  </a:cubicBezTo>
                  <a:cubicBezTo>
                    <a:pt x="473" y="147"/>
                    <a:pt x="293" y="0"/>
                    <a:pt x="34" y="0"/>
                  </a:cubicBezTo>
                  <a:close/>
                </a:path>
              </a:pathLst>
            </a:custGeom>
            <a:solidFill>
              <a:schemeClr val="bg2"/>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dirty="0">
                <a:solidFill>
                  <a:srgbClr val="505050"/>
                </a:solidFill>
                <a:latin typeface="Segoe UI"/>
              </a:endParaRPr>
            </a:p>
          </p:txBody>
        </p:sp>
        <p:sp>
          <p:nvSpPr>
            <p:cNvPr id="14" name="Freeform 13"/>
            <p:cNvSpPr>
              <a:spLocks/>
            </p:cNvSpPr>
            <p:nvPr/>
          </p:nvSpPr>
          <p:spPr bwMode="auto">
            <a:xfrm>
              <a:off x="9896494" y="3736861"/>
              <a:ext cx="242897" cy="208090"/>
            </a:xfrm>
            <a:custGeom>
              <a:avLst/>
              <a:gdLst>
                <a:gd name="T0" fmla="*/ 34 w 710"/>
                <a:gd name="T1" fmla="*/ 11 h 608"/>
                <a:gd name="T2" fmla="*/ 11 w 710"/>
                <a:gd name="T3" fmla="*/ 11 h 608"/>
                <a:gd name="T4" fmla="*/ 0 w 710"/>
                <a:gd name="T5" fmla="*/ 45 h 608"/>
                <a:gd name="T6" fmla="*/ 0 w 710"/>
                <a:gd name="T7" fmla="*/ 67 h 608"/>
                <a:gd name="T8" fmla="*/ 22 w 710"/>
                <a:gd name="T9" fmla="*/ 101 h 608"/>
                <a:gd name="T10" fmla="*/ 620 w 710"/>
                <a:gd name="T11" fmla="*/ 585 h 608"/>
                <a:gd name="T12" fmla="*/ 654 w 710"/>
                <a:gd name="T13" fmla="*/ 608 h 608"/>
                <a:gd name="T14" fmla="*/ 676 w 710"/>
                <a:gd name="T15" fmla="*/ 608 h 608"/>
                <a:gd name="T16" fmla="*/ 710 w 710"/>
                <a:gd name="T17" fmla="*/ 596 h 608"/>
                <a:gd name="T18" fmla="*/ 710 w 710"/>
                <a:gd name="T19" fmla="*/ 563 h 608"/>
                <a:gd name="T20" fmla="*/ 34 w 710"/>
                <a:gd name="T21" fmla="*/ 11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34" y="11"/>
                  </a:moveTo>
                  <a:cubicBezTo>
                    <a:pt x="22" y="0"/>
                    <a:pt x="11" y="11"/>
                    <a:pt x="11" y="11"/>
                  </a:cubicBezTo>
                  <a:cubicBezTo>
                    <a:pt x="0" y="22"/>
                    <a:pt x="0" y="34"/>
                    <a:pt x="0" y="45"/>
                  </a:cubicBezTo>
                  <a:cubicBezTo>
                    <a:pt x="0" y="67"/>
                    <a:pt x="0" y="67"/>
                    <a:pt x="0" y="67"/>
                  </a:cubicBezTo>
                  <a:cubicBezTo>
                    <a:pt x="0" y="79"/>
                    <a:pt x="11" y="101"/>
                    <a:pt x="22" y="101"/>
                  </a:cubicBezTo>
                  <a:cubicBezTo>
                    <a:pt x="327" y="124"/>
                    <a:pt x="541" y="293"/>
                    <a:pt x="620" y="585"/>
                  </a:cubicBezTo>
                  <a:cubicBezTo>
                    <a:pt x="620" y="596"/>
                    <a:pt x="631" y="608"/>
                    <a:pt x="654" y="608"/>
                  </a:cubicBezTo>
                  <a:cubicBezTo>
                    <a:pt x="676" y="608"/>
                    <a:pt x="676" y="608"/>
                    <a:pt x="676" y="608"/>
                  </a:cubicBezTo>
                  <a:cubicBezTo>
                    <a:pt x="687" y="608"/>
                    <a:pt x="699" y="608"/>
                    <a:pt x="710" y="596"/>
                  </a:cubicBezTo>
                  <a:cubicBezTo>
                    <a:pt x="710" y="585"/>
                    <a:pt x="710" y="574"/>
                    <a:pt x="710" y="563"/>
                  </a:cubicBezTo>
                  <a:cubicBezTo>
                    <a:pt x="586" y="214"/>
                    <a:pt x="372" y="34"/>
                    <a:pt x="34" y="11"/>
                  </a:cubicBezTo>
                  <a:close/>
                </a:path>
              </a:pathLst>
            </a:custGeom>
            <a:solidFill>
              <a:schemeClr val="bg2"/>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dirty="0">
                <a:solidFill>
                  <a:srgbClr val="505050"/>
                </a:solidFill>
                <a:latin typeface="Segoe UI"/>
              </a:endParaRPr>
            </a:p>
          </p:txBody>
        </p:sp>
        <p:sp>
          <p:nvSpPr>
            <p:cNvPr id="15" name="Freeform 14"/>
            <p:cNvSpPr>
              <a:spLocks/>
            </p:cNvSpPr>
            <p:nvPr/>
          </p:nvSpPr>
          <p:spPr bwMode="auto">
            <a:xfrm>
              <a:off x="9899506" y="3675239"/>
              <a:ext cx="300406" cy="254248"/>
            </a:xfrm>
            <a:custGeom>
              <a:avLst/>
              <a:gdLst>
                <a:gd name="T0" fmla="*/ 878 w 878"/>
                <a:gd name="T1" fmla="*/ 698 h 743"/>
                <a:gd name="T2" fmla="*/ 33 w 878"/>
                <a:gd name="T3" fmla="*/ 0 h 743"/>
                <a:gd name="T4" fmla="*/ 11 w 878"/>
                <a:gd name="T5" fmla="*/ 11 h 743"/>
                <a:gd name="T6" fmla="*/ 0 w 878"/>
                <a:gd name="T7" fmla="*/ 34 h 743"/>
                <a:gd name="T8" fmla="*/ 0 w 878"/>
                <a:gd name="T9" fmla="*/ 68 h 743"/>
                <a:gd name="T10" fmla="*/ 33 w 878"/>
                <a:gd name="T11" fmla="*/ 101 h 743"/>
                <a:gd name="T12" fmla="*/ 777 w 878"/>
                <a:gd name="T13" fmla="*/ 721 h 743"/>
                <a:gd name="T14" fmla="*/ 811 w 878"/>
                <a:gd name="T15" fmla="*/ 743 h 743"/>
                <a:gd name="T16" fmla="*/ 845 w 878"/>
                <a:gd name="T17" fmla="*/ 743 h 743"/>
                <a:gd name="T18" fmla="*/ 867 w 878"/>
                <a:gd name="T19" fmla="*/ 732 h 743"/>
                <a:gd name="T20" fmla="*/ 878 w 878"/>
                <a:gd name="T21" fmla="*/ 698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8" h="743">
                  <a:moveTo>
                    <a:pt x="878" y="698"/>
                  </a:moveTo>
                  <a:cubicBezTo>
                    <a:pt x="754" y="270"/>
                    <a:pt x="473" y="34"/>
                    <a:pt x="33" y="0"/>
                  </a:cubicBezTo>
                  <a:cubicBezTo>
                    <a:pt x="22" y="0"/>
                    <a:pt x="11" y="11"/>
                    <a:pt x="11" y="11"/>
                  </a:cubicBezTo>
                  <a:cubicBezTo>
                    <a:pt x="0" y="23"/>
                    <a:pt x="0" y="34"/>
                    <a:pt x="0" y="34"/>
                  </a:cubicBezTo>
                  <a:cubicBezTo>
                    <a:pt x="0" y="68"/>
                    <a:pt x="0" y="68"/>
                    <a:pt x="0" y="68"/>
                  </a:cubicBezTo>
                  <a:cubicBezTo>
                    <a:pt x="0" y="79"/>
                    <a:pt x="11" y="101"/>
                    <a:pt x="33" y="101"/>
                  </a:cubicBezTo>
                  <a:cubicBezTo>
                    <a:pt x="428" y="124"/>
                    <a:pt x="676" y="338"/>
                    <a:pt x="777" y="721"/>
                  </a:cubicBezTo>
                  <a:cubicBezTo>
                    <a:pt x="788" y="732"/>
                    <a:pt x="800" y="743"/>
                    <a:pt x="811" y="743"/>
                  </a:cubicBezTo>
                  <a:cubicBezTo>
                    <a:pt x="845" y="743"/>
                    <a:pt x="845" y="743"/>
                    <a:pt x="845" y="743"/>
                  </a:cubicBezTo>
                  <a:cubicBezTo>
                    <a:pt x="856" y="743"/>
                    <a:pt x="867" y="743"/>
                    <a:pt x="867" y="732"/>
                  </a:cubicBezTo>
                  <a:cubicBezTo>
                    <a:pt x="878" y="721"/>
                    <a:pt x="878" y="710"/>
                    <a:pt x="878" y="698"/>
                  </a:cubicBezTo>
                  <a:close/>
                </a:path>
              </a:pathLst>
            </a:custGeom>
            <a:solidFill>
              <a:schemeClr val="bg2"/>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dirty="0">
                <a:solidFill>
                  <a:srgbClr val="505050"/>
                </a:solidFill>
                <a:latin typeface="Segoe UI"/>
              </a:endParaRPr>
            </a:p>
          </p:txBody>
        </p:sp>
      </p:grpSp>
      <p:sp>
        <p:nvSpPr>
          <p:cNvPr id="16" name="Rectangle 15"/>
          <p:cNvSpPr/>
          <p:nvPr/>
        </p:nvSpPr>
        <p:spPr bwMode="white">
          <a:xfrm>
            <a:off x="90" y="4860033"/>
            <a:ext cx="12434711" cy="12036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3"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latin typeface="Segoe UI"/>
            </a:endParaRPr>
          </a:p>
        </p:txBody>
      </p:sp>
    </p:spTree>
    <p:extLst>
      <p:ext uri="{BB962C8B-B14F-4D97-AF65-F5344CB8AC3E}">
        <p14:creationId xmlns:p14="http://schemas.microsoft.com/office/powerpoint/2010/main" val="196557915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6"/>
          <p:cNvSpPr txBox="1">
            <a:spLocks/>
          </p:cNvSpPr>
          <p:nvPr/>
        </p:nvSpPr>
        <p:spPr>
          <a:xfrm>
            <a:off x="366169" y="295278"/>
            <a:ext cx="11702551" cy="917575"/>
          </a:xfrm>
          <a:prstGeom prst="rect">
            <a:avLst/>
          </a:prstGeom>
        </p:spPr>
        <p:txBody>
          <a:bodyPr vert="horz" lIns="91440" tIns="45720" rIns="91440" bIns="45720" rtlCol="0" anchor="ctr">
            <a:normAutofit/>
          </a:bodyPr>
          <a:lstStyle>
            <a:lvl1pPr algn="l" defTabSz="932317" rtl="0" eaLnBrk="1" latinLnBrk="0" hangingPunct="1">
              <a:lnSpc>
                <a:spcPct val="90000"/>
              </a:lnSpc>
              <a:spcBef>
                <a:spcPct val="0"/>
              </a:spcBef>
              <a:buNone/>
              <a:defRPr sz="4487" kern="1200">
                <a:solidFill>
                  <a:schemeClr val="tx1"/>
                </a:solidFill>
                <a:latin typeface="+mj-lt"/>
                <a:ea typeface="+mj-ea"/>
                <a:cs typeface="+mj-cs"/>
              </a:defRPr>
            </a:lvl1pPr>
          </a:lstStyle>
          <a:p>
            <a:r>
              <a:rPr lang="nn-NO" dirty="0"/>
              <a:t>Azure MFA vs. MFA for Office 365</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1277992972"/>
              </p:ext>
            </p:extLst>
          </p:nvPr>
        </p:nvGraphicFramePr>
        <p:xfrm>
          <a:off x="602395" y="1204915"/>
          <a:ext cx="11230099" cy="5599207"/>
        </p:xfrm>
        <a:graphic>
          <a:graphicData uri="http://schemas.openxmlformats.org/drawingml/2006/table">
            <a:tbl>
              <a:tblPr firstRow="1" bandRow="1">
                <a:tableStyleId>{7DF18680-E054-41AD-8BC1-D1AEF772440D}</a:tableStyleId>
              </a:tblPr>
              <a:tblGrid>
                <a:gridCol w="4708275">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016624">
                  <a:extLst>
                    <a:ext uri="{9D8B030D-6E8A-4147-A177-3AD203B41FA5}">
                      <a16:colId xmlns:a16="http://schemas.microsoft.com/office/drawing/2014/main" val="20002"/>
                    </a:ext>
                  </a:extLst>
                </a:gridCol>
              </a:tblGrid>
              <a:tr h="387347">
                <a:tc>
                  <a:txBody>
                    <a:bodyPr/>
                    <a:lstStyle/>
                    <a:p>
                      <a:endParaRPr lang="en-US" sz="16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300" b="0" i="0" dirty="0">
                          <a:latin typeface="Segoe UI Semibold" panose="020B0702040204020203" pitchFamily="34" charset="0"/>
                          <a:cs typeface="Segoe UI Semibold" panose="020B0702040204020203" pitchFamily="34" charset="0"/>
                        </a:rPr>
                        <a:t>MFA for</a:t>
                      </a:r>
                      <a:r>
                        <a:rPr lang="en-US" sz="1300" b="0" i="0" baseline="0" dirty="0">
                          <a:latin typeface="Segoe UI Semibold" panose="020B0702040204020203" pitchFamily="34" charset="0"/>
                          <a:cs typeface="Segoe UI Semibold" panose="020B0702040204020203" pitchFamily="34" charset="0"/>
                        </a:rPr>
                        <a:t> Office 365/Azure administrators</a:t>
                      </a:r>
                      <a:endParaRPr lang="en-US" sz="1300" b="0" i="0" dirty="0">
                        <a:latin typeface="Segoe UI Semibold" panose="020B0702040204020203" pitchFamily="34" charset="0"/>
                        <a:cs typeface="Segoe UI Semibold" panose="020B0702040204020203" pitchFamily="34" charset="0"/>
                      </a:endParaRPr>
                    </a:p>
                  </a:txBody>
                  <a:tcPr marL="93221" marR="93221" marT="46610" marB="46610" anchor="ctr"/>
                </a:tc>
                <a:tc>
                  <a:txBody>
                    <a:bodyPr/>
                    <a:lstStyle/>
                    <a:p>
                      <a:pPr algn="ctr"/>
                      <a:r>
                        <a:rPr lang="en-US" sz="1300" b="0" i="0" dirty="0">
                          <a:latin typeface="Segoe UI Semibold" panose="020B0702040204020203" pitchFamily="34" charset="0"/>
                          <a:cs typeface="Segoe UI Semibold" panose="020B0702040204020203" pitchFamily="34" charset="0"/>
                        </a:rPr>
                        <a:t>Azure multi-factor</a:t>
                      </a:r>
                      <a:r>
                        <a:rPr lang="en-US" sz="1300" b="0" i="0" baseline="0" dirty="0">
                          <a:latin typeface="Segoe UI Semibold" panose="020B0702040204020203" pitchFamily="34" charset="0"/>
                          <a:cs typeface="Segoe UI Semibold" panose="020B0702040204020203" pitchFamily="34" charset="0"/>
                        </a:rPr>
                        <a:t> authentication</a:t>
                      </a:r>
                      <a:endParaRPr lang="en-US" sz="1300" b="0" i="0" dirty="0">
                        <a:latin typeface="Segoe UI Semibold" panose="020B0702040204020203" pitchFamily="34" charset="0"/>
                        <a:cs typeface="Segoe UI Semibold" panose="020B0702040204020203" pitchFamily="34" charset="0"/>
                      </a:endParaRPr>
                    </a:p>
                  </a:txBody>
                  <a:tcPr marL="93221" marR="93221" marT="46610" marB="46610" anchor="ctr"/>
                </a:tc>
                <a:extLst>
                  <a:ext uri="{0D108BD9-81ED-4DB2-BD59-A6C34878D82A}">
                    <a16:rowId xmlns:a16="http://schemas.microsoft.com/office/drawing/2014/main" val="10000"/>
                  </a:ext>
                </a:extLst>
              </a:tr>
              <a:tr h="306580">
                <a:tc>
                  <a:txBody>
                    <a:bodyPr/>
                    <a:lstStyle/>
                    <a:p>
                      <a:r>
                        <a:rPr lang="en-US" sz="1200" dirty="0">
                          <a:latin typeface="Segoe UI" panose="020B0502040204020203" pitchFamily="34" charset="0"/>
                          <a:cs typeface="Segoe UI" panose="020B0502040204020203" pitchFamily="34" charset="0"/>
                        </a:rPr>
                        <a:t>Administrators can enable/enforce</a:t>
                      </a:r>
                      <a:r>
                        <a:rPr lang="en-US" sz="1200" baseline="0" dirty="0">
                          <a:latin typeface="Segoe UI" panose="020B0502040204020203" pitchFamily="34" charset="0"/>
                          <a:cs typeface="Segoe UI" panose="020B0502040204020203" pitchFamily="34" charset="0"/>
                        </a:rPr>
                        <a:t> MFA to end users</a:t>
                      </a: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01"/>
                  </a:ext>
                </a:extLst>
              </a:tr>
              <a:tr h="3065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Use</a:t>
                      </a:r>
                      <a:r>
                        <a:rPr lang="en-US" sz="1200" baseline="0" dirty="0">
                          <a:latin typeface="Segoe UI" panose="020B0502040204020203" pitchFamily="34" charset="0"/>
                          <a:cs typeface="Segoe UI" panose="020B0502040204020203" pitchFamily="34" charset="0"/>
                        </a:rPr>
                        <a:t> mobile app (online and OTP) as second authentication factor</a:t>
                      </a: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02"/>
                  </a:ext>
                </a:extLst>
              </a:tr>
              <a:tr h="3065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Use</a:t>
                      </a:r>
                      <a:r>
                        <a:rPr lang="en-US" sz="1200" baseline="0" dirty="0">
                          <a:latin typeface="Segoe UI" panose="020B0502040204020203" pitchFamily="34" charset="0"/>
                          <a:cs typeface="Segoe UI" panose="020B0502040204020203" pitchFamily="34" charset="0"/>
                        </a:rPr>
                        <a:t> phone call as second authentication factor</a:t>
                      </a: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03"/>
                  </a:ext>
                </a:extLst>
              </a:tr>
              <a:tr h="3065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Use</a:t>
                      </a:r>
                      <a:r>
                        <a:rPr lang="en-US" sz="1200" baseline="0" dirty="0">
                          <a:latin typeface="Segoe UI" panose="020B0502040204020203" pitchFamily="34" charset="0"/>
                          <a:cs typeface="Segoe UI" panose="020B0502040204020203" pitchFamily="34" charset="0"/>
                        </a:rPr>
                        <a:t> SMS as second authentication factor</a:t>
                      </a: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04"/>
                  </a:ext>
                </a:extLst>
              </a:tr>
              <a:tr h="306580">
                <a:tc>
                  <a:txBody>
                    <a:bodyPr/>
                    <a:lstStyle/>
                    <a:p>
                      <a:r>
                        <a:rPr lang="en-US" sz="1200" dirty="0">
                          <a:latin typeface="Segoe UI" panose="020B0502040204020203" pitchFamily="34" charset="0"/>
                          <a:cs typeface="Segoe UI" panose="020B0502040204020203" pitchFamily="34" charset="0"/>
                        </a:rPr>
                        <a:t>Application</a:t>
                      </a:r>
                      <a:r>
                        <a:rPr lang="en-US" sz="1200" baseline="0" dirty="0">
                          <a:latin typeface="Segoe UI" panose="020B0502040204020203" pitchFamily="34" charset="0"/>
                          <a:cs typeface="Segoe UI" panose="020B0502040204020203" pitchFamily="34" charset="0"/>
                        </a:rPr>
                        <a:t> passwords for non-browser clients (e.g., Outlook, Lync)</a:t>
                      </a: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05"/>
                  </a:ext>
                </a:extLst>
              </a:tr>
              <a:tr h="306580">
                <a:tc>
                  <a:txBody>
                    <a:bodyPr/>
                    <a:lstStyle/>
                    <a:p>
                      <a:r>
                        <a:rPr lang="en-US" sz="1200" dirty="0">
                          <a:latin typeface="Segoe UI" panose="020B0502040204020203" pitchFamily="34" charset="0"/>
                          <a:cs typeface="Segoe UI" panose="020B0502040204020203" pitchFamily="34" charset="0"/>
                        </a:rPr>
                        <a:t>Default Microsoft greetings during authentication phone calls</a:t>
                      </a: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06"/>
                  </a:ext>
                </a:extLst>
              </a:tr>
              <a:tr h="3065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Suspend MFA from</a:t>
                      </a:r>
                      <a:r>
                        <a:rPr lang="en-US" sz="1200" baseline="0" dirty="0">
                          <a:latin typeface="Segoe UI" panose="020B0502040204020203" pitchFamily="34" charset="0"/>
                          <a:cs typeface="Segoe UI" panose="020B0502040204020203" pitchFamily="34" charset="0"/>
                        </a:rPr>
                        <a:t> known devices</a:t>
                      </a: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07"/>
                  </a:ext>
                </a:extLst>
              </a:tr>
              <a:tr h="3065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Custom</a:t>
                      </a:r>
                      <a:r>
                        <a:rPr lang="en-US" sz="1200" baseline="0" dirty="0">
                          <a:latin typeface="Segoe UI" panose="020B0502040204020203" pitchFamily="34" charset="0"/>
                          <a:cs typeface="Segoe UI" panose="020B0502040204020203" pitchFamily="34" charset="0"/>
                        </a:rPr>
                        <a:t> </a:t>
                      </a:r>
                      <a:r>
                        <a:rPr lang="en-US" sz="1200" dirty="0">
                          <a:latin typeface="Segoe UI" panose="020B0502040204020203" pitchFamily="34" charset="0"/>
                          <a:cs typeface="Segoe UI" panose="020B0502040204020203" pitchFamily="34" charset="0"/>
                        </a:rPr>
                        <a:t>greetings during authentication phone calls</a:t>
                      </a:r>
                    </a:p>
                  </a:txBody>
                  <a:tcPr marL="93221" marR="93221" marT="46610" marB="46610"/>
                </a:tc>
                <a:tc>
                  <a:txBody>
                    <a:bodyPr/>
                    <a:lstStyle/>
                    <a:p>
                      <a:pPr algn="ct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08"/>
                  </a:ext>
                </a:extLst>
              </a:tr>
              <a:tr h="306580">
                <a:tc>
                  <a:txBody>
                    <a:bodyPr/>
                    <a:lstStyle/>
                    <a:p>
                      <a:r>
                        <a:rPr lang="en-US" sz="1200" dirty="0">
                          <a:latin typeface="Segoe UI" panose="020B0502040204020203" pitchFamily="34" charset="0"/>
                          <a:cs typeface="Segoe UI" panose="020B0502040204020203" pitchFamily="34" charset="0"/>
                        </a:rPr>
                        <a:t>Fraud alert</a:t>
                      </a:r>
                    </a:p>
                  </a:txBody>
                  <a:tcPr marL="93221" marR="93221" marT="46610" marB="46610"/>
                </a:tc>
                <a:tc>
                  <a:txBody>
                    <a:bodyPr/>
                    <a:lstStyle/>
                    <a:p>
                      <a:pPr algn="ct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09"/>
                  </a:ext>
                </a:extLst>
              </a:tr>
              <a:tr h="306580">
                <a:tc>
                  <a:txBody>
                    <a:bodyPr/>
                    <a:lstStyle/>
                    <a:p>
                      <a:r>
                        <a:rPr lang="en-US" sz="1200" dirty="0">
                          <a:latin typeface="Segoe UI" panose="020B0502040204020203" pitchFamily="34" charset="0"/>
                          <a:cs typeface="Segoe UI" panose="020B0502040204020203" pitchFamily="34" charset="0"/>
                        </a:rPr>
                        <a:t>MFA</a:t>
                      </a:r>
                      <a:r>
                        <a:rPr lang="en-US" sz="1200" baseline="0" dirty="0">
                          <a:latin typeface="Segoe UI" panose="020B0502040204020203" pitchFamily="34" charset="0"/>
                          <a:cs typeface="Segoe UI" panose="020B0502040204020203" pitchFamily="34" charset="0"/>
                        </a:rPr>
                        <a:t> SDK</a:t>
                      </a: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10"/>
                  </a:ext>
                </a:extLst>
              </a:tr>
              <a:tr h="306580">
                <a:tc>
                  <a:txBody>
                    <a:bodyPr/>
                    <a:lstStyle/>
                    <a:p>
                      <a:r>
                        <a:rPr lang="en-US" sz="1200" dirty="0">
                          <a:latin typeface="Segoe UI" panose="020B0502040204020203" pitchFamily="34" charset="0"/>
                          <a:cs typeface="Segoe UI" panose="020B0502040204020203" pitchFamily="34" charset="0"/>
                        </a:rPr>
                        <a:t>Security reports</a:t>
                      </a:r>
                    </a:p>
                  </a:txBody>
                  <a:tcPr marL="93221" marR="93221" marT="46610" marB="46610"/>
                </a:tc>
                <a:tc>
                  <a:txBody>
                    <a:bodyPr/>
                    <a:lstStyle/>
                    <a:p>
                      <a:pPr algn="ct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 </a:t>
                      </a:r>
                    </a:p>
                  </a:txBody>
                  <a:tcPr marL="93221" marR="93221" marT="46610" marB="46610"/>
                </a:tc>
                <a:extLst>
                  <a:ext uri="{0D108BD9-81ED-4DB2-BD59-A6C34878D82A}">
                    <a16:rowId xmlns:a16="http://schemas.microsoft.com/office/drawing/2014/main" val="10011"/>
                  </a:ext>
                </a:extLst>
              </a:tr>
              <a:tr h="306580">
                <a:tc>
                  <a:txBody>
                    <a:bodyPr/>
                    <a:lstStyle/>
                    <a:p>
                      <a:r>
                        <a:rPr lang="en-US" sz="1200" baseline="0" dirty="0">
                          <a:latin typeface="Segoe UI" panose="020B0502040204020203" pitchFamily="34" charset="0"/>
                          <a:cs typeface="Segoe UI" panose="020B0502040204020203" pitchFamily="34" charset="0"/>
                        </a:rPr>
                        <a:t>MFA for on-premises applications/MFA server</a:t>
                      </a: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12"/>
                  </a:ext>
                </a:extLst>
              </a:tr>
              <a:tr h="3065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effectLst/>
                          <a:latin typeface="Segoe UI" panose="020B0502040204020203" pitchFamily="34" charset="0"/>
                          <a:cs typeface="Segoe UI" panose="020B0502040204020203" pitchFamily="34" charset="0"/>
                        </a:rPr>
                        <a:t>One-time bypass</a:t>
                      </a:r>
                      <a:endParaRPr lang="en-US" sz="1200" kern="1200" dirty="0">
                        <a:solidFill>
                          <a:schemeClr val="tx1"/>
                        </a:solidFill>
                        <a:effectLst/>
                        <a:latin typeface="Segoe UI" panose="020B0502040204020203" pitchFamily="34" charset="0"/>
                        <a:ea typeface="+mn-ea"/>
                        <a:cs typeface="Segoe UI" panose="020B0502040204020203" pitchFamily="34" charset="0"/>
                      </a:endParaRPr>
                    </a:p>
                  </a:txBody>
                  <a:tcPr marL="93221" marR="93221" marT="46610" marB="46610"/>
                </a:tc>
                <a:tc>
                  <a:txBody>
                    <a:bodyPr/>
                    <a:lstStyle/>
                    <a:p>
                      <a:pPr algn="ct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13"/>
                  </a:ext>
                </a:extLst>
              </a:tr>
              <a:tr h="306580">
                <a:tc>
                  <a:txBody>
                    <a:bodyPr/>
                    <a:lstStyle/>
                    <a:p>
                      <a:r>
                        <a:rPr lang="en-US" sz="1200" dirty="0">
                          <a:latin typeface="Segoe UI" panose="020B0502040204020203" pitchFamily="34" charset="0"/>
                          <a:cs typeface="Segoe UI" panose="020B0502040204020203" pitchFamily="34" charset="0"/>
                        </a:rPr>
                        <a:t>Block/unblock users</a:t>
                      </a:r>
                    </a:p>
                  </a:txBody>
                  <a:tcPr marL="93221" marR="93221" marT="46610" marB="46610"/>
                </a:tc>
                <a:tc>
                  <a:txBody>
                    <a:bodyPr/>
                    <a:lstStyle/>
                    <a:p>
                      <a:pPr algn="ct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14"/>
                  </a:ext>
                </a:extLst>
              </a:tr>
              <a:tr h="306580">
                <a:tc>
                  <a:txBody>
                    <a:bodyPr/>
                    <a:lstStyle/>
                    <a:p>
                      <a:r>
                        <a:rPr lang="en-US" sz="1200" kern="1200" dirty="0">
                          <a:latin typeface="Segoe UI" panose="020B0502040204020203" pitchFamily="34" charset="0"/>
                          <a:cs typeface="Segoe UI" panose="020B0502040204020203" pitchFamily="34" charset="0"/>
                        </a:rPr>
                        <a:t>Customizable caller ID for authentication phone calls</a:t>
                      </a:r>
                      <a:endParaRPr lang="en-US" sz="1200" kern="1200" dirty="0">
                        <a:solidFill>
                          <a:schemeClr val="dk1"/>
                        </a:solidFill>
                        <a:latin typeface="Segoe UI" panose="020B0502040204020203" pitchFamily="34" charset="0"/>
                        <a:ea typeface="+mn-ea"/>
                        <a:cs typeface="Segoe UI" panose="020B0502040204020203" pitchFamily="34" charset="0"/>
                      </a:endParaRPr>
                    </a:p>
                  </a:txBody>
                  <a:tcPr marL="93221" marR="93221" marT="46610" marB="46610"/>
                </a:tc>
                <a:tc>
                  <a:txBody>
                    <a:bodyPr/>
                    <a:lstStyle/>
                    <a:p>
                      <a:pPr algn="ct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15"/>
                  </a:ext>
                </a:extLst>
              </a:tr>
              <a:tr h="306580">
                <a:tc>
                  <a:txBody>
                    <a:bodyPr/>
                    <a:lstStyle/>
                    <a:p>
                      <a:pPr marL="0" algn="l" defTabSz="914400" rtl="0" eaLnBrk="1" latinLnBrk="0" hangingPunct="1"/>
                      <a:r>
                        <a:rPr lang="en-US" sz="1200" kern="1200" dirty="0">
                          <a:latin typeface="Segoe UI" panose="020B0502040204020203" pitchFamily="34" charset="0"/>
                          <a:cs typeface="Segoe UI" panose="020B0502040204020203" pitchFamily="34" charset="0"/>
                        </a:rPr>
                        <a:t>Event confirmation</a:t>
                      </a:r>
                      <a:endParaRPr lang="en-US" sz="1200" kern="1200" dirty="0">
                        <a:solidFill>
                          <a:schemeClr val="dk1"/>
                        </a:solidFill>
                        <a:latin typeface="Segoe UI" panose="020B0502040204020203" pitchFamily="34" charset="0"/>
                        <a:ea typeface="+mn-ea"/>
                        <a:cs typeface="Segoe UI" panose="020B0502040204020203" pitchFamily="34" charset="0"/>
                      </a:endParaRPr>
                    </a:p>
                  </a:txBody>
                  <a:tcPr marL="93221" marR="93221" marT="46610" marB="46610"/>
                </a:tc>
                <a:tc>
                  <a:txBody>
                    <a:bodyPr/>
                    <a:lstStyle/>
                    <a:p>
                      <a:pPr algn="ct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16"/>
                  </a:ext>
                </a:extLst>
              </a:tr>
              <a:tr h="306580">
                <a:tc>
                  <a:txBody>
                    <a:bodyPr/>
                    <a:lstStyle/>
                    <a:p>
                      <a:r>
                        <a:rPr lang="en-US" sz="1200" kern="1200" dirty="0">
                          <a:latin typeface="Segoe UI" panose="020B0502040204020203" pitchFamily="34" charset="0"/>
                          <a:cs typeface="Segoe UI" panose="020B0502040204020203" pitchFamily="34" charset="0"/>
                        </a:rPr>
                        <a:t>Trusted IPs</a:t>
                      </a:r>
                      <a:endParaRPr lang="en-US" sz="1200" kern="1200" dirty="0">
                        <a:solidFill>
                          <a:schemeClr val="dk1"/>
                        </a:solidFill>
                        <a:latin typeface="Segoe UI" panose="020B0502040204020203" pitchFamily="34" charset="0"/>
                        <a:ea typeface="+mn-ea"/>
                        <a:cs typeface="Segoe UI" panose="020B0502040204020203" pitchFamily="34" charset="0"/>
                      </a:endParaRPr>
                    </a:p>
                  </a:txBody>
                  <a:tcPr marL="93221" marR="93221" marT="46610" marB="46610"/>
                </a:tc>
                <a:tc>
                  <a:txBody>
                    <a:bodyPr/>
                    <a:lstStyle/>
                    <a:p>
                      <a:pPr algn="ctr"/>
                      <a:endParaRPr lang="en-US" sz="1200" dirty="0">
                        <a:latin typeface="Segoe UI" panose="020B0502040204020203" pitchFamily="34" charset="0"/>
                        <a:cs typeface="Segoe UI" panose="020B0502040204020203" pitchFamily="34" charset="0"/>
                      </a:endParaRPr>
                    </a:p>
                  </a:txBody>
                  <a:tcPr marL="93221" marR="93221" marT="46610" marB="46610"/>
                </a:tc>
                <a:tc>
                  <a:txBody>
                    <a:bodyPr/>
                    <a:lstStyle/>
                    <a:p>
                      <a:pPr algn="ctr"/>
                      <a:r>
                        <a:rPr lang="en-US" sz="1200" dirty="0">
                          <a:latin typeface="Segoe UI" panose="020B0502040204020203" pitchFamily="34" charset="0"/>
                          <a:cs typeface="Segoe UI" panose="020B0502040204020203" pitchFamily="34" charset="0"/>
                        </a:rPr>
                        <a:t>Yes</a:t>
                      </a:r>
                    </a:p>
                  </a:txBody>
                  <a:tcPr marL="93221" marR="93221" marT="46610" marB="4661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318818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ditional Access</a:t>
            </a:r>
          </a:p>
        </p:txBody>
      </p:sp>
      <p:grpSp>
        <p:nvGrpSpPr>
          <p:cNvPr id="29" name="Group 28">
            <a:extLst>
              <a:ext uri="{FF2B5EF4-FFF2-40B4-BE49-F238E27FC236}">
                <a16:creationId xmlns:a16="http://schemas.microsoft.com/office/drawing/2014/main" id="{D265F59B-226D-414F-B55D-0F7F1D5754AC}"/>
              </a:ext>
            </a:extLst>
          </p:cNvPr>
          <p:cNvGrpSpPr/>
          <p:nvPr/>
        </p:nvGrpSpPr>
        <p:grpSpPr>
          <a:xfrm>
            <a:off x="4845844" y="3421062"/>
            <a:ext cx="3352800" cy="3396644"/>
            <a:chOff x="2873757" y="1463979"/>
            <a:chExt cx="3935261" cy="3930044"/>
          </a:xfrm>
        </p:grpSpPr>
        <p:sp>
          <p:nvSpPr>
            <p:cNvPr id="30" name="Freeform: Shape 29">
              <a:extLst>
                <a:ext uri="{FF2B5EF4-FFF2-40B4-BE49-F238E27FC236}">
                  <a16:creationId xmlns:a16="http://schemas.microsoft.com/office/drawing/2014/main" id="{C33CE136-6EA3-4763-90C5-55BF3FB191C9}"/>
                </a:ext>
              </a:extLst>
            </p:cNvPr>
            <p:cNvSpPr/>
            <p:nvPr/>
          </p:nvSpPr>
          <p:spPr bwMode="auto">
            <a:xfrm>
              <a:off x="6080484" y="2489200"/>
              <a:ext cx="728534" cy="1892300"/>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1" name="Oval 30">
              <a:extLst>
                <a:ext uri="{FF2B5EF4-FFF2-40B4-BE49-F238E27FC236}">
                  <a16:creationId xmlns:a16="http://schemas.microsoft.com/office/drawing/2014/main" id="{8021BEE2-C45D-4649-9699-D93E0E7DC70C}"/>
                </a:ext>
              </a:extLst>
            </p:cNvPr>
            <p:cNvSpPr/>
            <p:nvPr/>
          </p:nvSpPr>
          <p:spPr bwMode="auto">
            <a:xfrm>
              <a:off x="2873757" y="1463979"/>
              <a:ext cx="3930268" cy="3930044"/>
            </a:xfrm>
            <a:prstGeom prst="ellipse">
              <a:avLst/>
            </a:prstGeom>
            <a:noFill/>
            <a:ln w="228600" cap="flat" cmpd="sng" algn="ctr">
              <a:solidFill>
                <a:srgbClr val="0078D7"/>
              </a:solidFill>
              <a:prstDash val="solid"/>
              <a:headEnd type="none"/>
              <a:tailEnd type="none"/>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D48DDF1D-0BF1-4396-B164-DCBE9AF2635F}"/>
                </a:ext>
              </a:extLst>
            </p:cNvPr>
            <p:cNvSpPr/>
            <p:nvPr/>
          </p:nvSpPr>
          <p:spPr bwMode="auto">
            <a:xfrm>
              <a:off x="5312236" y="2759381"/>
              <a:ext cx="1339238" cy="1339238"/>
            </a:xfrm>
            <a:prstGeom prst="ellipse">
              <a:avLst/>
            </a:prstGeom>
            <a:solidFill>
              <a:schemeClr val="accent4"/>
            </a:solidFill>
            <a:ln w="19050" cap="rnd">
              <a:solidFill>
                <a:srgbClr val="00B0F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gradFill>
                  <a:gsLst>
                    <a:gs pos="0">
                      <a:srgbClr val="FFFFFF"/>
                    </a:gs>
                    <a:gs pos="100000">
                      <a:srgbClr val="FFFFFF"/>
                    </a:gs>
                  </a:gsLst>
                  <a:lin ang="5400000" scaled="0"/>
                </a:gradFill>
                <a:cs typeface="Segoe UI" pitchFamily="34" charset="0"/>
              </a:endParaRPr>
            </a:p>
          </p:txBody>
        </p:sp>
        <p:grpSp>
          <p:nvGrpSpPr>
            <p:cNvPr id="33" name="Group 32">
              <a:extLst>
                <a:ext uri="{FF2B5EF4-FFF2-40B4-BE49-F238E27FC236}">
                  <a16:creationId xmlns:a16="http://schemas.microsoft.com/office/drawing/2014/main" id="{1431EFEE-EA52-43C5-AA06-A1E1F55B6363}"/>
                </a:ext>
              </a:extLst>
            </p:cNvPr>
            <p:cNvGrpSpPr/>
            <p:nvPr/>
          </p:nvGrpSpPr>
          <p:grpSpPr>
            <a:xfrm rot="7443536">
              <a:off x="3418347" y="3378043"/>
              <a:ext cx="1407673" cy="1932398"/>
              <a:chOff x="5553745" y="2621551"/>
              <a:chExt cx="1407673" cy="1932398"/>
            </a:xfrm>
          </p:grpSpPr>
          <p:sp>
            <p:nvSpPr>
              <p:cNvPr id="37" name="Freeform: Shape 36">
                <a:extLst>
                  <a:ext uri="{FF2B5EF4-FFF2-40B4-BE49-F238E27FC236}">
                    <a16:creationId xmlns:a16="http://schemas.microsoft.com/office/drawing/2014/main" id="{5D00076C-4CB2-43FA-8B57-600A7CBBE40C}"/>
                  </a:ext>
                </a:extLst>
              </p:cNvPr>
              <p:cNvSpPr/>
              <p:nvPr/>
            </p:nvSpPr>
            <p:spPr bwMode="auto">
              <a:xfrm>
                <a:off x="6232884" y="2621551"/>
                <a:ext cx="728534" cy="1932398"/>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 name="Oval 37">
                <a:extLst>
                  <a:ext uri="{FF2B5EF4-FFF2-40B4-BE49-F238E27FC236}">
                    <a16:creationId xmlns:a16="http://schemas.microsoft.com/office/drawing/2014/main" id="{4722AF64-6909-46A4-A367-DEE6DDD1EF35}"/>
                  </a:ext>
                </a:extLst>
              </p:cNvPr>
              <p:cNvSpPr/>
              <p:nvPr/>
            </p:nvSpPr>
            <p:spPr bwMode="auto">
              <a:xfrm>
                <a:off x="5553745" y="2911781"/>
                <a:ext cx="1339238" cy="1339238"/>
              </a:xfrm>
              <a:prstGeom prst="ellipse">
                <a:avLst/>
              </a:prstGeom>
              <a:solidFill>
                <a:schemeClr val="accent4"/>
              </a:solidFill>
              <a:ln w="19050" cap="rnd">
                <a:solidFill>
                  <a:srgbClr val="00B0F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A636F6AB-73DD-4791-8962-14F37D34CF85}"/>
                </a:ext>
              </a:extLst>
            </p:cNvPr>
            <p:cNvGrpSpPr/>
            <p:nvPr/>
          </p:nvGrpSpPr>
          <p:grpSpPr>
            <a:xfrm rot="14861745">
              <a:off x="3691207" y="1366766"/>
              <a:ext cx="1407673" cy="1932398"/>
              <a:chOff x="5553745" y="2621551"/>
              <a:chExt cx="1407673" cy="1932398"/>
            </a:xfrm>
          </p:grpSpPr>
          <p:sp>
            <p:nvSpPr>
              <p:cNvPr id="35" name="Freeform: Shape 34">
                <a:extLst>
                  <a:ext uri="{FF2B5EF4-FFF2-40B4-BE49-F238E27FC236}">
                    <a16:creationId xmlns:a16="http://schemas.microsoft.com/office/drawing/2014/main" id="{CB1D109F-4326-4480-AC1E-20A2EE725A17}"/>
                  </a:ext>
                </a:extLst>
              </p:cNvPr>
              <p:cNvSpPr/>
              <p:nvPr/>
            </p:nvSpPr>
            <p:spPr bwMode="auto">
              <a:xfrm>
                <a:off x="6232884" y="2621551"/>
                <a:ext cx="728534" cy="1932398"/>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6" name="Oval 35">
                <a:extLst>
                  <a:ext uri="{FF2B5EF4-FFF2-40B4-BE49-F238E27FC236}">
                    <a16:creationId xmlns:a16="http://schemas.microsoft.com/office/drawing/2014/main" id="{ACB04AE8-2243-450F-A245-5FCFE3AC5379}"/>
                  </a:ext>
                </a:extLst>
              </p:cNvPr>
              <p:cNvSpPr/>
              <p:nvPr/>
            </p:nvSpPr>
            <p:spPr bwMode="auto">
              <a:xfrm>
                <a:off x="5553745" y="2911781"/>
                <a:ext cx="1339238" cy="1339238"/>
              </a:xfrm>
              <a:prstGeom prst="ellipse">
                <a:avLst/>
              </a:prstGeom>
              <a:solidFill>
                <a:schemeClr val="accent4"/>
              </a:solidFill>
              <a:ln w="19050" cap="rnd">
                <a:solidFill>
                  <a:srgbClr val="00B0F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141091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rc 27">
            <a:extLst>
              <a:ext uri="{FF2B5EF4-FFF2-40B4-BE49-F238E27FC236}">
                <a16:creationId xmlns:a16="http://schemas.microsoft.com/office/drawing/2014/main" id="{3632CE59-654C-4272-956C-9459248CA940}"/>
              </a:ext>
            </a:extLst>
          </p:cNvPr>
          <p:cNvSpPr/>
          <p:nvPr/>
        </p:nvSpPr>
        <p:spPr>
          <a:xfrm>
            <a:off x="3829413" y="3061025"/>
            <a:ext cx="2126072" cy="2126072"/>
          </a:xfrm>
          <a:prstGeom prst="arc">
            <a:avLst>
              <a:gd name="adj1" fmla="val 2249539"/>
              <a:gd name="adj2" fmla="val 5840073"/>
            </a:avLst>
          </a:prstGeom>
          <a:ln>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Arc 28">
            <a:extLst>
              <a:ext uri="{FF2B5EF4-FFF2-40B4-BE49-F238E27FC236}">
                <a16:creationId xmlns:a16="http://schemas.microsoft.com/office/drawing/2014/main" id="{B426C5CA-1DE1-44AE-AB45-CDBA24158C17}"/>
              </a:ext>
            </a:extLst>
          </p:cNvPr>
          <p:cNvSpPr/>
          <p:nvPr/>
        </p:nvSpPr>
        <p:spPr>
          <a:xfrm rot="20984159">
            <a:off x="3847380" y="2948005"/>
            <a:ext cx="2187278" cy="2126072"/>
          </a:xfrm>
          <a:prstGeom prst="arc">
            <a:avLst>
              <a:gd name="adj1" fmla="val 17443363"/>
              <a:gd name="adj2" fmla="val 20404202"/>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Rectangle 29">
            <a:extLst>
              <a:ext uri="{FF2B5EF4-FFF2-40B4-BE49-F238E27FC236}">
                <a16:creationId xmlns:a16="http://schemas.microsoft.com/office/drawing/2014/main" id="{FBCE6EF0-54E9-4A3F-B4AD-233CEA26C6D7}"/>
              </a:ext>
            </a:extLst>
          </p:cNvPr>
          <p:cNvSpPr/>
          <p:nvPr/>
        </p:nvSpPr>
        <p:spPr>
          <a:xfrm>
            <a:off x="7598593" y="3076553"/>
            <a:ext cx="1188146" cy="282385"/>
          </a:xfrm>
          <a:prstGeom prst="rect">
            <a:avLst/>
          </a:prstGeom>
        </p:spPr>
        <p:txBody>
          <a:bodyPr wrap="none">
            <a:spAutoFit/>
          </a:bodyPr>
          <a:lstStyle/>
          <a:p>
            <a:pPr defTabSz="896215">
              <a:lnSpc>
                <a:spcPct val="90000"/>
              </a:lnSpc>
              <a:defRPr/>
            </a:pPr>
            <a:r>
              <a:rPr lang="en-US" sz="1372" kern="0">
                <a:solidFill>
                  <a:srgbClr val="353535"/>
                </a:solidFill>
                <a:latin typeface="Segoe UI"/>
                <a:ea typeface="ＭＳ Ｐゴシック" charset="0"/>
              </a:rPr>
              <a:t>Require MFA</a:t>
            </a:r>
          </a:p>
        </p:txBody>
      </p:sp>
      <p:grpSp>
        <p:nvGrpSpPr>
          <p:cNvPr id="31" name="Controls: MFA">
            <a:extLst>
              <a:ext uri="{FF2B5EF4-FFF2-40B4-BE49-F238E27FC236}">
                <a16:creationId xmlns:a16="http://schemas.microsoft.com/office/drawing/2014/main" id="{A25A487D-23A8-4431-B5E5-A90AE5A62DE9}"/>
              </a:ext>
            </a:extLst>
          </p:cNvPr>
          <p:cNvGrpSpPr/>
          <p:nvPr/>
        </p:nvGrpSpPr>
        <p:grpSpPr>
          <a:xfrm>
            <a:off x="6753834" y="2768582"/>
            <a:ext cx="896425" cy="896425"/>
            <a:chOff x="6689925" y="2070504"/>
            <a:chExt cx="896425" cy="896425"/>
          </a:xfrm>
        </p:grpSpPr>
        <p:grpSp>
          <p:nvGrpSpPr>
            <p:cNvPr id="32" name="Group 31">
              <a:extLst>
                <a:ext uri="{FF2B5EF4-FFF2-40B4-BE49-F238E27FC236}">
                  <a16:creationId xmlns:a16="http://schemas.microsoft.com/office/drawing/2014/main" id="{368F845A-8CD9-46F0-B171-FB37F80C64E5}"/>
                </a:ext>
              </a:extLst>
            </p:cNvPr>
            <p:cNvGrpSpPr/>
            <p:nvPr/>
          </p:nvGrpSpPr>
          <p:grpSpPr>
            <a:xfrm>
              <a:off x="6689925" y="2070504"/>
              <a:ext cx="896425" cy="896425"/>
              <a:chOff x="8603515" y="2504434"/>
              <a:chExt cx="1600200" cy="1600200"/>
            </a:xfrm>
          </p:grpSpPr>
          <p:sp>
            <p:nvSpPr>
              <p:cNvPr id="34" name="Oval 33">
                <a:extLst>
                  <a:ext uri="{FF2B5EF4-FFF2-40B4-BE49-F238E27FC236}">
                    <a16:creationId xmlns:a16="http://schemas.microsoft.com/office/drawing/2014/main" id="{5706AEF7-321C-4BBD-BF56-B70B747EFCF2}"/>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Circle: Hollow 34">
                <a:extLst>
                  <a:ext uri="{FF2B5EF4-FFF2-40B4-BE49-F238E27FC236}">
                    <a16:creationId xmlns:a16="http://schemas.microsoft.com/office/drawing/2014/main" id="{9819A53C-F696-4764-883D-6853594EA22A}"/>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33" name="Picture 32">
              <a:extLst>
                <a:ext uri="{FF2B5EF4-FFF2-40B4-BE49-F238E27FC236}">
                  <a16:creationId xmlns:a16="http://schemas.microsoft.com/office/drawing/2014/main" id="{3084C61E-2A7D-4CDB-9FF1-07586EFE30C6}"/>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884430" y="2240837"/>
              <a:ext cx="549135" cy="549135"/>
            </a:xfrm>
            <a:prstGeom prst="rect">
              <a:avLst/>
            </a:prstGeom>
          </p:spPr>
        </p:pic>
      </p:grpSp>
      <p:sp>
        <p:nvSpPr>
          <p:cNvPr id="44" name="Rectangle 43">
            <a:extLst>
              <a:ext uri="{FF2B5EF4-FFF2-40B4-BE49-F238E27FC236}">
                <a16:creationId xmlns:a16="http://schemas.microsoft.com/office/drawing/2014/main" id="{65BE90E8-9A02-44ED-AC7C-F20182F3AE51}"/>
              </a:ext>
            </a:extLst>
          </p:cNvPr>
          <p:cNvSpPr/>
          <p:nvPr/>
        </p:nvSpPr>
        <p:spPr>
          <a:xfrm>
            <a:off x="7092310" y="2279865"/>
            <a:ext cx="1157689" cy="282385"/>
          </a:xfrm>
          <a:prstGeom prst="rect">
            <a:avLst/>
          </a:prstGeom>
        </p:spPr>
        <p:txBody>
          <a:bodyPr wrap="none">
            <a:spAutoFit/>
          </a:bodyPr>
          <a:lstStyle/>
          <a:p>
            <a:pPr defTabSz="896215">
              <a:lnSpc>
                <a:spcPct val="90000"/>
              </a:lnSpc>
              <a:defRPr/>
            </a:pPr>
            <a:r>
              <a:rPr lang="en-US" sz="1372" kern="100">
                <a:solidFill>
                  <a:srgbClr val="353535"/>
                </a:solidFill>
                <a:latin typeface="Segoe UI"/>
                <a:ea typeface="ＭＳ Ｐゴシック" charset="0"/>
              </a:rPr>
              <a:t>Allow access</a:t>
            </a:r>
          </a:p>
        </p:txBody>
      </p:sp>
      <p:grpSp>
        <p:nvGrpSpPr>
          <p:cNvPr id="45" name="Controls: Allow access">
            <a:extLst>
              <a:ext uri="{FF2B5EF4-FFF2-40B4-BE49-F238E27FC236}">
                <a16:creationId xmlns:a16="http://schemas.microsoft.com/office/drawing/2014/main" id="{D556FB08-97FC-4957-99DC-DD73A746BD7B}"/>
              </a:ext>
            </a:extLst>
          </p:cNvPr>
          <p:cNvGrpSpPr/>
          <p:nvPr/>
        </p:nvGrpSpPr>
        <p:grpSpPr>
          <a:xfrm>
            <a:off x="6248304" y="1971955"/>
            <a:ext cx="896425" cy="896425"/>
            <a:chOff x="6184395" y="1273877"/>
            <a:chExt cx="896425" cy="896425"/>
          </a:xfrm>
        </p:grpSpPr>
        <p:grpSp>
          <p:nvGrpSpPr>
            <p:cNvPr id="46" name="Group 45">
              <a:extLst>
                <a:ext uri="{FF2B5EF4-FFF2-40B4-BE49-F238E27FC236}">
                  <a16:creationId xmlns:a16="http://schemas.microsoft.com/office/drawing/2014/main" id="{93E0F46E-1694-49CC-917A-78D44818476C}"/>
                </a:ext>
              </a:extLst>
            </p:cNvPr>
            <p:cNvGrpSpPr/>
            <p:nvPr/>
          </p:nvGrpSpPr>
          <p:grpSpPr>
            <a:xfrm>
              <a:off x="6184395" y="1273877"/>
              <a:ext cx="896425" cy="896425"/>
              <a:chOff x="8603515" y="2504434"/>
              <a:chExt cx="1600200" cy="1600200"/>
            </a:xfrm>
          </p:grpSpPr>
          <p:sp>
            <p:nvSpPr>
              <p:cNvPr id="48" name="Oval 47">
                <a:extLst>
                  <a:ext uri="{FF2B5EF4-FFF2-40B4-BE49-F238E27FC236}">
                    <a16:creationId xmlns:a16="http://schemas.microsoft.com/office/drawing/2014/main" id="{B0CB8277-EEAF-48EB-9DD6-52BBF662135B}"/>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Circle: Hollow 48">
                <a:extLst>
                  <a:ext uri="{FF2B5EF4-FFF2-40B4-BE49-F238E27FC236}">
                    <a16:creationId xmlns:a16="http://schemas.microsoft.com/office/drawing/2014/main" id="{222BAA91-0158-4631-91B8-50F046154E29}"/>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7" name="Freeform: Shape 46">
              <a:extLst>
                <a:ext uri="{FF2B5EF4-FFF2-40B4-BE49-F238E27FC236}">
                  <a16:creationId xmlns:a16="http://schemas.microsoft.com/office/drawing/2014/main" id="{B38AF456-D204-431B-A6AF-DEC3B9D393C3}"/>
                </a:ext>
              </a:extLst>
            </p:cNvPr>
            <p:cNvSpPr>
              <a:spLocks noChangeAspect="1"/>
            </p:cNvSpPr>
            <p:nvPr/>
          </p:nvSpPr>
          <p:spPr bwMode="auto">
            <a:xfrm>
              <a:off x="6415344" y="1497983"/>
              <a:ext cx="448212" cy="448213"/>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no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0" name="Rectangle 49">
            <a:extLst>
              <a:ext uri="{FF2B5EF4-FFF2-40B4-BE49-F238E27FC236}">
                <a16:creationId xmlns:a16="http://schemas.microsoft.com/office/drawing/2014/main" id="{F74ACC76-A2A2-4CC6-9818-346B38E2CFED}"/>
              </a:ext>
            </a:extLst>
          </p:cNvPr>
          <p:cNvSpPr/>
          <p:nvPr/>
        </p:nvSpPr>
        <p:spPr>
          <a:xfrm>
            <a:off x="7615222" y="4897968"/>
            <a:ext cx="1127232" cy="282385"/>
          </a:xfrm>
          <a:prstGeom prst="rect">
            <a:avLst/>
          </a:prstGeom>
        </p:spPr>
        <p:txBody>
          <a:bodyPr wrap="none">
            <a:spAutoFit/>
          </a:bodyPr>
          <a:lstStyle/>
          <a:p>
            <a:pPr defTabSz="896215">
              <a:lnSpc>
                <a:spcPct val="90000"/>
              </a:lnSpc>
              <a:defRPr/>
            </a:pPr>
            <a:r>
              <a:rPr lang="en-US" sz="1372" kern="0">
                <a:solidFill>
                  <a:srgbClr val="353535"/>
                </a:solidFill>
                <a:latin typeface="Segoe UI"/>
                <a:ea typeface="ＭＳ Ｐゴシック" charset="0"/>
              </a:rPr>
              <a:t>Deny access</a:t>
            </a:r>
          </a:p>
        </p:txBody>
      </p:sp>
      <p:grpSp>
        <p:nvGrpSpPr>
          <p:cNvPr id="51" name="Controls: Deny">
            <a:extLst>
              <a:ext uri="{FF2B5EF4-FFF2-40B4-BE49-F238E27FC236}">
                <a16:creationId xmlns:a16="http://schemas.microsoft.com/office/drawing/2014/main" id="{196D1742-D8B1-4C9E-9A1D-CA5F8BD1F339}"/>
              </a:ext>
            </a:extLst>
          </p:cNvPr>
          <p:cNvGrpSpPr/>
          <p:nvPr/>
        </p:nvGrpSpPr>
        <p:grpSpPr>
          <a:xfrm>
            <a:off x="6753834" y="4589148"/>
            <a:ext cx="896425" cy="896425"/>
            <a:chOff x="6689925" y="3891070"/>
            <a:chExt cx="896425" cy="896425"/>
          </a:xfrm>
        </p:grpSpPr>
        <p:grpSp>
          <p:nvGrpSpPr>
            <p:cNvPr id="52" name="Group 51">
              <a:extLst>
                <a:ext uri="{FF2B5EF4-FFF2-40B4-BE49-F238E27FC236}">
                  <a16:creationId xmlns:a16="http://schemas.microsoft.com/office/drawing/2014/main" id="{08A86069-4291-4AD0-9BC4-714BFCD4D15D}"/>
                </a:ext>
              </a:extLst>
            </p:cNvPr>
            <p:cNvGrpSpPr/>
            <p:nvPr/>
          </p:nvGrpSpPr>
          <p:grpSpPr>
            <a:xfrm>
              <a:off x="6689925" y="3891070"/>
              <a:ext cx="896425" cy="896425"/>
              <a:chOff x="8603515" y="2504434"/>
              <a:chExt cx="1600200" cy="1600200"/>
            </a:xfrm>
          </p:grpSpPr>
          <p:sp>
            <p:nvSpPr>
              <p:cNvPr id="54" name="Oval 53">
                <a:extLst>
                  <a:ext uri="{FF2B5EF4-FFF2-40B4-BE49-F238E27FC236}">
                    <a16:creationId xmlns:a16="http://schemas.microsoft.com/office/drawing/2014/main" id="{E3B1E025-61A4-4969-9B80-7298100604DD}"/>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Circle: Hollow 54">
                <a:extLst>
                  <a:ext uri="{FF2B5EF4-FFF2-40B4-BE49-F238E27FC236}">
                    <a16:creationId xmlns:a16="http://schemas.microsoft.com/office/drawing/2014/main" id="{E3F47B32-1277-422D-A983-F8B873401288}"/>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3" name="Freeform: Shape 52">
              <a:extLst>
                <a:ext uri="{FF2B5EF4-FFF2-40B4-BE49-F238E27FC236}">
                  <a16:creationId xmlns:a16="http://schemas.microsoft.com/office/drawing/2014/main" id="{277A7CB7-D78E-4C37-A8F1-CCB3510A0666}"/>
                </a:ext>
              </a:extLst>
            </p:cNvPr>
            <p:cNvSpPr>
              <a:spLocks noChangeAspect="1"/>
            </p:cNvSpPr>
            <p:nvPr/>
          </p:nvSpPr>
          <p:spPr bwMode="auto">
            <a:xfrm>
              <a:off x="6915722" y="4116639"/>
              <a:ext cx="448212" cy="448213"/>
            </a:xfrm>
            <a:custGeom>
              <a:avLst/>
              <a:gdLst>
                <a:gd name="connsiteX0" fmla="*/ 368104 w 1250088"/>
                <a:gd name="connsiteY0" fmla="*/ 281747 h 1250088"/>
                <a:gd name="connsiteX1" fmla="*/ 281747 w 1250088"/>
                <a:gd name="connsiteY1" fmla="*/ 368104 h 1250088"/>
                <a:gd name="connsiteX2" fmla="*/ 538687 w 1250088"/>
                <a:gd name="connsiteY2" fmla="*/ 625044 h 1250088"/>
                <a:gd name="connsiteX3" fmla="*/ 281747 w 1250088"/>
                <a:gd name="connsiteY3" fmla="*/ 881984 h 1250088"/>
                <a:gd name="connsiteX4" fmla="*/ 368104 w 1250088"/>
                <a:gd name="connsiteY4" fmla="*/ 968341 h 1250088"/>
                <a:gd name="connsiteX5" fmla="*/ 625044 w 1250088"/>
                <a:gd name="connsiteY5" fmla="*/ 711401 h 1250088"/>
                <a:gd name="connsiteX6" fmla="*/ 881984 w 1250088"/>
                <a:gd name="connsiteY6" fmla="*/ 968341 h 1250088"/>
                <a:gd name="connsiteX7" fmla="*/ 968341 w 1250088"/>
                <a:gd name="connsiteY7" fmla="*/ 881984 h 1250088"/>
                <a:gd name="connsiteX8" fmla="*/ 711401 w 1250088"/>
                <a:gd name="connsiteY8" fmla="*/ 625044 h 1250088"/>
                <a:gd name="connsiteX9" fmla="*/ 968341 w 1250088"/>
                <a:gd name="connsiteY9" fmla="*/ 368104 h 1250088"/>
                <a:gd name="connsiteX10" fmla="*/ 881984 w 1250088"/>
                <a:gd name="connsiteY10" fmla="*/ 281747 h 1250088"/>
                <a:gd name="connsiteX11" fmla="*/ 625044 w 1250088"/>
                <a:gd name="connsiteY11" fmla="*/ 538687 h 1250088"/>
                <a:gd name="connsiteX12" fmla="*/ 625044 w 1250088"/>
                <a:gd name="connsiteY12" fmla="*/ 0 h 1250088"/>
                <a:gd name="connsiteX13" fmla="*/ 1250088 w 1250088"/>
                <a:gd name="connsiteY13" fmla="*/ 625044 h 1250088"/>
                <a:gd name="connsiteX14" fmla="*/ 625044 w 1250088"/>
                <a:gd name="connsiteY14" fmla="*/ 1250088 h 1250088"/>
                <a:gd name="connsiteX15" fmla="*/ 0 w 1250088"/>
                <a:gd name="connsiteY15" fmla="*/ 625044 h 1250088"/>
                <a:gd name="connsiteX16" fmla="*/ 625044 w 1250088"/>
                <a:gd name="connsiteY16" fmla="*/ 0 h 12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88" h="1250088">
                  <a:moveTo>
                    <a:pt x="368104" y="281747"/>
                  </a:moveTo>
                  <a:lnTo>
                    <a:pt x="281747" y="368104"/>
                  </a:lnTo>
                  <a:lnTo>
                    <a:pt x="538687" y="625044"/>
                  </a:lnTo>
                  <a:lnTo>
                    <a:pt x="281747" y="881984"/>
                  </a:lnTo>
                  <a:lnTo>
                    <a:pt x="368104" y="968341"/>
                  </a:lnTo>
                  <a:lnTo>
                    <a:pt x="625044" y="711401"/>
                  </a:lnTo>
                  <a:lnTo>
                    <a:pt x="881984" y="968341"/>
                  </a:lnTo>
                  <a:lnTo>
                    <a:pt x="968341" y="881984"/>
                  </a:lnTo>
                  <a:lnTo>
                    <a:pt x="711401" y="625044"/>
                  </a:lnTo>
                  <a:lnTo>
                    <a:pt x="968341" y="368104"/>
                  </a:lnTo>
                  <a:lnTo>
                    <a:pt x="881984" y="281747"/>
                  </a:lnTo>
                  <a:lnTo>
                    <a:pt x="625044" y="538687"/>
                  </a:lnTo>
                  <a:close/>
                  <a:moveTo>
                    <a:pt x="625044" y="0"/>
                  </a:moveTo>
                  <a:cubicBezTo>
                    <a:pt x="970246" y="0"/>
                    <a:pt x="1250088" y="279842"/>
                    <a:pt x="1250088" y="625044"/>
                  </a:cubicBezTo>
                  <a:cubicBezTo>
                    <a:pt x="1250088" y="970246"/>
                    <a:pt x="970246" y="1250088"/>
                    <a:pt x="625044" y="1250088"/>
                  </a:cubicBezTo>
                  <a:cubicBezTo>
                    <a:pt x="279842" y="1250088"/>
                    <a:pt x="0" y="970246"/>
                    <a:pt x="0" y="625044"/>
                  </a:cubicBezTo>
                  <a:cubicBezTo>
                    <a:pt x="0" y="279842"/>
                    <a:pt x="279842" y="0"/>
                    <a:pt x="625044" y="0"/>
                  </a:cubicBezTo>
                  <a:close/>
                </a:path>
              </a:pathLst>
            </a:custGeom>
            <a:solidFill>
              <a:srgbClr val="0078D7"/>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8ACBBDBE-C861-4A39-8845-6636BDEAF19D}"/>
              </a:ext>
            </a:extLst>
          </p:cNvPr>
          <p:cNvSpPr/>
          <p:nvPr/>
        </p:nvSpPr>
        <p:spPr>
          <a:xfrm>
            <a:off x="7813032" y="3890859"/>
            <a:ext cx="1350050" cy="472437"/>
          </a:xfrm>
          <a:prstGeom prst="rect">
            <a:avLst/>
          </a:prstGeom>
        </p:spPr>
        <p:txBody>
          <a:bodyPr wrap="none">
            <a:spAutoFit/>
          </a:bodyPr>
          <a:lstStyle/>
          <a:p>
            <a:pPr defTabSz="896215">
              <a:lnSpc>
                <a:spcPct val="90000"/>
              </a:lnSpc>
              <a:defRPr/>
            </a:pPr>
            <a:r>
              <a:rPr lang="en-US" sz="1372" kern="0">
                <a:solidFill>
                  <a:srgbClr val="353535"/>
                </a:solidFill>
                <a:latin typeface="Segoe UI"/>
                <a:ea typeface="ＭＳ Ｐゴシック" charset="0"/>
              </a:rPr>
              <a:t>Force </a:t>
            </a:r>
            <a:br>
              <a:rPr lang="en-US" sz="1372" kern="0">
                <a:solidFill>
                  <a:srgbClr val="353535"/>
                </a:solidFill>
                <a:latin typeface="Segoe UI"/>
                <a:ea typeface="ＭＳ Ｐゴシック" charset="0"/>
              </a:rPr>
            </a:br>
            <a:r>
              <a:rPr lang="en-US" sz="1372" kern="0">
                <a:solidFill>
                  <a:srgbClr val="353535"/>
                </a:solidFill>
                <a:latin typeface="Segoe UI"/>
                <a:ea typeface="ＭＳ Ｐゴシック" charset="0"/>
              </a:rPr>
              <a:t>password reset</a:t>
            </a:r>
          </a:p>
        </p:txBody>
      </p:sp>
      <p:grpSp>
        <p:nvGrpSpPr>
          <p:cNvPr id="57" name="Controls: Force password reset">
            <a:extLst>
              <a:ext uri="{FF2B5EF4-FFF2-40B4-BE49-F238E27FC236}">
                <a16:creationId xmlns:a16="http://schemas.microsoft.com/office/drawing/2014/main" id="{83B23DF7-5DC8-4AD3-BD01-3BD736E97BC9}"/>
              </a:ext>
            </a:extLst>
          </p:cNvPr>
          <p:cNvGrpSpPr/>
          <p:nvPr/>
        </p:nvGrpSpPr>
        <p:grpSpPr>
          <a:xfrm>
            <a:off x="6951644" y="3678865"/>
            <a:ext cx="896425" cy="896425"/>
            <a:chOff x="6887735" y="2980787"/>
            <a:chExt cx="896425" cy="896425"/>
          </a:xfrm>
        </p:grpSpPr>
        <p:grpSp>
          <p:nvGrpSpPr>
            <p:cNvPr id="58" name="Group 57">
              <a:extLst>
                <a:ext uri="{FF2B5EF4-FFF2-40B4-BE49-F238E27FC236}">
                  <a16:creationId xmlns:a16="http://schemas.microsoft.com/office/drawing/2014/main" id="{D3472F3A-A60E-4B05-A43F-85A9A88E384C}"/>
                </a:ext>
              </a:extLst>
            </p:cNvPr>
            <p:cNvGrpSpPr/>
            <p:nvPr/>
          </p:nvGrpSpPr>
          <p:grpSpPr>
            <a:xfrm>
              <a:off x="6887735" y="2980787"/>
              <a:ext cx="896425" cy="896425"/>
              <a:chOff x="8603515" y="2504434"/>
              <a:chExt cx="1600200" cy="1600200"/>
            </a:xfrm>
          </p:grpSpPr>
          <p:sp>
            <p:nvSpPr>
              <p:cNvPr id="65" name="Oval 64">
                <a:extLst>
                  <a:ext uri="{FF2B5EF4-FFF2-40B4-BE49-F238E27FC236}">
                    <a16:creationId xmlns:a16="http://schemas.microsoft.com/office/drawing/2014/main" id="{902AA62D-1112-4083-8521-66046CD3F470}"/>
                  </a:ext>
                </a:extLst>
              </p:cNvPr>
              <p:cNvSpPr/>
              <p:nvPr/>
            </p:nvSpPr>
            <p:spPr bwMode="auto">
              <a:xfrm>
                <a:off x="8672095" y="2573014"/>
                <a:ext cx="1463041" cy="146304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Circle: Hollow 65">
                <a:extLst>
                  <a:ext uri="{FF2B5EF4-FFF2-40B4-BE49-F238E27FC236}">
                    <a16:creationId xmlns:a16="http://schemas.microsoft.com/office/drawing/2014/main" id="{C053E86F-B766-421F-8BA7-5225E2ACCA23}"/>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9" name="Group 58">
              <a:extLst>
                <a:ext uri="{FF2B5EF4-FFF2-40B4-BE49-F238E27FC236}">
                  <a16:creationId xmlns:a16="http://schemas.microsoft.com/office/drawing/2014/main" id="{C5E16FB8-0F91-4A80-9C94-FC0B29BAE47A}"/>
                </a:ext>
              </a:extLst>
            </p:cNvPr>
            <p:cNvGrpSpPr/>
            <p:nvPr/>
          </p:nvGrpSpPr>
          <p:grpSpPr>
            <a:xfrm>
              <a:off x="6965525" y="3299914"/>
              <a:ext cx="704934" cy="268928"/>
              <a:chOff x="9292873" y="3800013"/>
              <a:chExt cx="719069" cy="274320"/>
            </a:xfrm>
          </p:grpSpPr>
          <p:grpSp>
            <p:nvGrpSpPr>
              <p:cNvPr id="60" name="Group 59">
                <a:extLst>
                  <a:ext uri="{FF2B5EF4-FFF2-40B4-BE49-F238E27FC236}">
                    <a16:creationId xmlns:a16="http://schemas.microsoft.com/office/drawing/2014/main" id="{B54A8AB9-A2B8-491A-8086-6CCD3B81B305}"/>
                  </a:ext>
                </a:extLst>
              </p:cNvPr>
              <p:cNvGrpSpPr>
                <a:grpSpLocks noChangeAspect="1"/>
              </p:cNvGrpSpPr>
              <p:nvPr/>
            </p:nvGrpSpPr>
            <p:grpSpPr>
              <a:xfrm>
                <a:off x="9492252" y="3822873"/>
                <a:ext cx="519690" cy="228600"/>
                <a:chOff x="8169311" y="5982085"/>
                <a:chExt cx="1251679" cy="550587"/>
              </a:xfrm>
            </p:grpSpPr>
            <p:sp>
              <p:nvSpPr>
                <p:cNvPr id="63" name="Rectangle 62">
                  <a:extLst>
                    <a:ext uri="{FF2B5EF4-FFF2-40B4-BE49-F238E27FC236}">
                      <a16:creationId xmlns:a16="http://schemas.microsoft.com/office/drawing/2014/main" id="{4C2B9553-6A05-48AC-9C0B-0169D131EB5A}"/>
                    </a:ext>
                  </a:extLst>
                </p:cNvPr>
                <p:cNvSpPr/>
                <p:nvPr/>
              </p:nvSpPr>
              <p:spPr bwMode="auto">
                <a:xfrm>
                  <a:off x="8169311" y="5982085"/>
                  <a:ext cx="1251679" cy="256707"/>
                </a:xfrm>
                <a:prstGeom prst="rect">
                  <a:avLst/>
                </a:prstGeom>
                <a:solidFill>
                  <a:srgbClr val="0078D7"/>
                </a:solidFill>
                <a:ln w="10795" cap="flat" cmpd="sng" algn="ctr">
                  <a:solidFill>
                    <a:srgbClr val="FFFFFF"/>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179243" defTabSz="913927" fontAlgn="base">
                    <a:lnSpc>
                      <a:spcPct val="90000"/>
                    </a:lnSpc>
                    <a:spcAft>
                      <a:spcPct val="0"/>
                    </a:spcAft>
                    <a:defRPr/>
                  </a:pPr>
                  <a:endParaRPr lang="en-US" sz="1029" kern="0">
                    <a:solidFill>
                      <a:srgbClr val="FFFFFF"/>
                    </a:solidFill>
                    <a:latin typeface="Segoe UI"/>
                  </a:endParaRPr>
                </a:p>
              </p:txBody>
            </p:sp>
            <p:sp>
              <p:nvSpPr>
                <p:cNvPr id="64" name="Rectangle 63">
                  <a:extLst>
                    <a:ext uri="{FF2B5EF4-FFF2-40B4-BE49-F238E27FC236}">
                      <a16:creationId xmlns:a16="http://schemas.microsoft.com/office/drawing/2014/main" id="{9920BDA1-ED10-45AD-845B-E664FF9B3F79}"/>
                    </a:ext>
                  </a:extLst>
                </p:cNvPr>
                <p:cNvSpPr/>
                <p:nvPr/>
              </p:nvSpPr>
              <p:spPr bwMode="auto">
                <a:xfrm>
                  <a:off x="8169311" y="6275965"/>
                  <a:ext cx="1251679" cy="256707"/>
                </a:xfrm>
                <a:prstGeom prst="rect">
                  <a:avLst/>
                </a:prstGeom>
                <a:solidFill>
                  <a:srgbClr val="0078D7"/>
                </a:solidFill>
                <a:ln w="10795" cap="flat" cmpd="sng" algn="ctr">
                  <a:solidFill>
                    <a:srgbClr val="FFFFFF"/>
                  </a:solidFill>
                  <a:prstDash val="solid"/>
                  <a:headEnd type="none" w="med" len="med"/>
                  <a:tailEnd type="none" w="med" len="med"/>
                </a:ln>
                <a:effectLst/>
              </p:spPr>
              <p:txBody>
                <a:bodyPr vert="horz" wrap="square" lIns="0" tIns="0" rIns="0" bIns="0" numCol="1" rtlCol="0" anchor="t" anchorCtr="0" compatLnSpc="1">
                  <a:prstTxWarp prst="textNoShape">
                    <a:avLst/>
                  </a:prstTxWarp>
                </a:bodyPr>
                <a:lstStyle/>
                <a:p>
                  <a:pPr defTabSz="913927" fontAlgn="base">
                    <a:lnSpc>
                      <a:spcPct val="90000"/>
                    </a:lnSpc>
                    <a:spcAft>
                      <a:spcPct val="0"/>
                    </a:spcAft>
                    <a:defRPr/>
                  </a:pPr>
                  <a:r>
                    <a:rPr lang="en-US" sz="1176" kern="0">
                      <a:solidFill>
                        <a:srgbClr val="FFFFFF"/>
                      </a:solidFill>
                      <a:latin typeface="Segoe UI"/>
                    </a:rPr>
                    <a:t>  ******</a:t>
                  </a:r>
                </a:p>
              </p:txBody>
            </p:sp>
          </p:grpSp>
          <p:sp>
            <p:nvSpPr>
              <p:cNvPr id="61" name="Oval 60">
                <a:extLst>
                  <a:ext uri="{FF2B5EF4-FFF2-40B4-BE49-F238E27FC236}">
                    <a16:creationId xmlns:a16="http://schemas.microsoft.com/office/drawing/2014/main" id="{3AAEFC33-6B88-4BEA-99E7-099C414A73D5}"/>
                  </a:ext>
                </a:extLst>
              </p:cNvPr>
              <p:cNvSpPr/>
              <p:nvPr/>
            </p:nvSpPr>
            <p:spPr bwMode="auto">
              <a:xfrm>
                <a:off x="9292873" y="3800013"/>
                <a:ext cx="274320" cy="274320"/>
              </a:xfrm>
              <a:prstGeom prst="ellipse">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a:endParaRPr>
              </a:p>
            </p:txBody>
          </p:sp>
          <p:sp>
            <p:nvSpPr>
              <p:cNvPr id="62" name="Freeform: Shape 61">
                <a:extLst>
                  <a:ext uri="{FF2B5EF4-FFF2-40B4-BE49-F238E27FC236}">
                    <a16:creationId xmlns:a16="http://schemas.microsoft.com/office/drawing/2014/main" id="{DF56ED48-C1CB-4855-B150-8837F9A5D999}"/>
                  </a:ext>
                </a:extLst>
              </p:cNvPr>
              <p:cNvSpPr>
                <a:spLocks noChangeAspect="1"/>
              </p:cNvSpPr>
              <p:nvPr/>
            </p:nvSpPr>
            <p:spPr bwMode="auto">
              <a:xfrm>
                <a:off x="9304039" y="3812370"/>
                <a:ext cx="249606" cy="249606"/>
              </a:xfrm>
              <a:custGeom>
                <a:avLst/>
                <a:gdLst>
                  <a:gd name="connsiteX0" fmla="*/ 368104 w 1250088"/>
                  <a:gd name="connsiteY0" fmla="*/ 281747 h 1250088"/>
                  <a:gd name="connsiteX1" fmla="*/ 281747 w 1250088"/>
                  <a:gd name="connsiteY1" fmla="*/ 368104 h 1250088"/>
                  <a:gd name="connsiteX2" fmla="*/ 538687 w 1250088"/>
                  <a:gd name="connsiteY2" fmla="*/ 625044 h 1250088"/>
                  <a:gd name="connsiteX3" fmla="*/ 281747 w 1250088"/>
                  <a:gd name="connsiteY3" fmla="*/ 881984 h 1250088"/>
                  <a:gd name="connsiteX4" fmla="*/ 368104 w 1250088"/>
                  <a:gd name="connsiteY4" fmla="*/ 968341 h 1250088"/>
                  <a:gd name="connsiteX5" fmla="*/ 625044 w 1250088"/>
                  <a:gd name="connsiteY5" fmla="*/ 711401 h 1250088"/>
                  <a:gd name="connsiteX6" fmla="*/ 881984 w 1250088"/>
                  <a:gd name="connsiteY6" fmla="*/ 968341 h 1250088"/>
                  <a:gd name="connsiteX7" fmla="*/ 968341 w 1250088"/>
                  <a:gd name="connsiteY7" fmla="*/ 881984 h 1250088"/>
                  <a:gd name="connsiteX8" fmla="*/ 711401 w 1250088"/>
                  <a:gd name="connsiteY8" fmla="*/ 625044 h 1250088"/>
                  <a:gd name="connsiteX9" fmla="*/ 968341 w 1250088"/>
                  <a:gd name="connsiteY9" fmla="*/ 368104 h 1250088"/>
                  <a:gd name="connsiteX10" fmla="*/ 881984 w 1250088"/>
                  <a:gd name="connsiteY10" fmla="*/ 281747 h 1250088"/>
                  <a:gd name="connsiteX11" fmla="*/ 625044 w 1250088"/>
                  <a:gd name="connsiteY11" fmla="*/ 538687 h 1250088"/>
                  <a:gd name="connsiteX12" fmla="*/ 625044 w 1250088"/>
                  <a:gd name="connsiteY12" fmla="*/ 0 h 1250088"/>
                  <a:gd name="connsiteX13" fmla="*/ 1250088 w 1250088"/>
                  <a:gd name="connsiteY13" fmla="*/ 625044 h 1250088"/>
                  <a:gd name="connsiteX14" fmla="*/ 625044 w 1250088"/>
                  <a:gd name="connsiteY14" fmla="*/ 1250088 h 1250088"/>
                  <a:gd name="connsiteX15" fmla="*/ 0 w 1250088"/>
                  <a:gd name="connsiteY15" fmla="*/ 625044 h 1250088"/>
                  <a:gd name="connsiteX16" fmla="*/ 625044 w 1250088"/>
                  <a:gd name="connsiteY16" fmla="*/ 0 h 12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88" h="1250088">
                    <a:moveTo>
                      <a:pt x="368104" y="281747"/>
                    </a:moveTo>
                    <a:lnTo>
                      <a:pt x="281747" y="368104"/>
                    </a:lnTo>
                    <a:lnTo>
                      <a:pt x="538687" y="625044"/>
                    </a:lnTo>
                    <a:lnTo>
                      <a:pt x="281747" y="881984"/>
                    </a:lnTo>
                    <a:lnTo>
                      <a:pt x="368104" y="968341"/>
                    </a:lnTo>
                    <a:lnTo>
                      <a:pt x="625044" y="711401"/>
                    </a:lnTo>
                    <a:lnTo>
                      <a:pt x="881984" y="968341"/>
                    </a:lnTo>
                    <a:lnTo>
                      <a:pt x="968341" y="881984"/>
                    </a:lnTo>
                    <a:lnTo>
                      <a:pt x="711401" y="625044"/>
                    </a:lnTo>
                    <a:lnTo>
                      <a:pt x="968341" y="368104"/>
                    </a:lnTo>
                    <a:lnTo>
                      <a:pt x="881984" y="281747"/>
                    </a:lnTo>
                    <a:lnTo>
                      <a:pt x="625044" y="538687"/>
                    </a:lnTo>
                    <a:close/>
                    <a:moveTo>
                      <a:pt x="625044" y="0"/>
                    </a:moveTo>
                    <a:cubicBezTo>
                      <a:pt x="970246" y="0"/>
                      <a:pt x="1250088" y="279842"/>
                      <a:pt x="1250088" y="625044"/>
                    </a:cubicBezTo>
                    <a:cubicBezTo>
                      <a:pt x="1250088" y="970246"/>
                      <a:pt x="970246" y="1250088"/>
                      <a:pt x="625044" y="1250088"/>
                    </a:cubicBezTo>
                    <a:cubicBezTo>
                      <a:pt x="279842" y="1250088"/>
                      <a:pt x="0" y="970246"/>
                      <a:pt x="0" y="625044"/>
                    </a:cubicBezTo>
                    <a:cubicBezTo>
                      <a:pt x="0" y="279842"/>
                      <a:pt x="279842" y="0"/>
                      <a:pt x="6250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67" name="Rectangle 66">
            <a:extLst>
              <a:ext uri="{FF2B5EF4-FFF2-40B4-BE49-F238E27FC236}">
                <a16:creationId xmlns:a16="http://schemas.microsoft.com/office/drawing/2014/main" id="{954FEAEC-4784-4EB5-B867-338B67FFFD59}"/>
              </a:ext>
            </a:extLst>
          </p:cNvPr>
          <p:cNvSpPr/>
          <p:nvPr/>
        </p:nvSpPr>
        <p:spPr>
          <a:xfrm>
            <a:off x="7109693" y="5711590"/>
            <a:ext cx="1109599" cy="282385"/>
          </a:xfrm>
          <a:prstGeom prst="rect">
            <a:avLst/>
          </a:prstGeom>
        </p:spPr>
        <p:txBody>
          <a:bodyPr wrap="none">
            <a:spAutoFit/>
          </a:bodyPr>
          <a:lstStyle/>
          <a:p>
            <a:pPr defTabSz="896215">
              <a:lnSpc>
                <a:spcPct val="90000"/>
              </a:lnSpc>
              <a:defRPr/>
            </a:pPr>
            <a:r>
              <a:rPr lang="en-US" sz="1372" kern="0">
                <a:solidFill>
                  <a:srgbClr val="353535"/>
                </a:solidFill>
                <a:latin typeface="Segoe UI"/>
                <a:ea typeface="ＭＳ Ｐゴシック" charset="0"/>
              </a:rPr>
              <a:t>Limit access</a:t>
            </a:r>
          </a:p>
        </p:txBody>
      </p:sp>
      <p:grpSp>
        <p:nvGrpSpPr>
          <p:cNvPr id="68" name="Controls: Limit access">
            <a:extLst>
              <a:ext uri="{FF2B5EF4-FFF2-40B4-BE49-F238E27FC236}">
                <a16:creationId xmlns:a16="http://schemas.microsoft.com/office/drawing/2014/main" id="{77EC3942-7E98-418A-A8E8-0F995D84FDA5}"/>
              </a:ext>
            </a:extLst>
          </p:cNvPr>
          <p:cNvGrpSpPr/>
          <p:nvPr/>
        </p:nvGrpSpPr>
        <p:grpSpPr>
          <a:xfrm>
            <a:off x="6248304" y="5391586"/>
            <a:ext cx="896425" cy="896425"/>
            <a:chOff x="6184395" y="4693508"/>
            <a:chExt cx="896425" cy="896425"/>
          </a:xfrm>
        </p:grpSpPr>
        <p:grpSp>
          <p:nvGrpSpPr>
            <p:cNvPr id="69" name="Group 68">
              <a:extLst>
                <a:ext uri="{FF2B5EF4-FFF2-40B4-BE49-F238E27FC236}">
                  <a16:creationId xmlns:a16="http://schemas.microsoft.com/office/drawing/2014/main" id="{7A9E6331-AFD4-4AD2-82C9-2126A1C9AE70}"/>
                </a:ext>
              </a:extLst>
            </p:cNvPr>
            <p:cNvGrpSpPr/>
            <p:nvPr/>
          </p:nvGrpSpPr>
          <p:grpSpPr>
            <a:xfrm>
              <a:off x="6184395" y="4693508"/>
              <a:ext cx="896425" cy="896425"/>
              <a:chOff x="8603515" y="2504434"/>
              <a:chExt cx="1600200" cy="1600200"/>
            </a:xfrm>
          </p:grpSpPr>
          <p:sp>
            <p:nvSpPr>
              <p:cNvPr id="74" name="Oval 73">
                <a:extLst>
                  <a:ext uri="{FF2B5EF4-FFF2-40B4-BE49-F238E27FC236}">
                    <a16:creationId xmlns:a16="http://schemas.microsoft.com/office/drawing/2014/main" id="{E1A152C8-412C-494B-9093-66F43CEAB6CF}"/>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Circle: Hollow 74">
                <a:extLst>
                  <a:ext uri="{FF2B5EF4-FFF2-40B4-BE49-F238E27FC236}">
                    <a16:creationId xmlns:a16="http://schemas.microsoft.com/office/drawing/2014/main" id="{EDD51636-D4E9-4B7D-9A70-966A020E11B4}"/>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D3851346-E1E9-438D-9606-F0F85A1BC0C3}"/>
                </a:ext>
              </a:extLst>
            </p:cNvPr>
            <p:cNvGrpSpPr/>
            <p:nvPr/>
          </p:nvGrpSpPr>
          <p:grpSpPr>
            <a:xfrm>
              <a:off x="6421307" y="4884326"/>
              <a:ext cx="448213" cy="472342"/>
              <a:chOff x="4098925" y="2751141"/>
              <a:chExt cx="1798639" cy="1895477"/>
            </a:xfrm>
            <a:solidFill>
              <a:srgbClr val="505050"/>
            </a:solidFill>
          </p:grpSpPr>
          <p:sp>
            <p:nvSpPr>
              <p:cNvPr id="71" name="Freeform 1">
                <a:extLst>
                  <a:ext uri="{FF2B5EF4-FFF2-40B4-BE49-F238E27FC236}">
                    <a16:creationId xmlns:a16="http://schemas.microsoft.com/office/drawing/2014/main" id="{0F4404E0-4DD2-4192-8D05-66E82AA8F4C5}"/>
                  </a:ext>
                </a:extLst>
              </p:cNvPr>
              <p:cNvSpPr>
                <a:spLocks noChangeArrowheads="1"/>
              </p:cNvSpPr>
              <p:nvPr/>
            </p:nvSpPr>
            <p:spPr bwMode="auto">
              <a:xfrm>
                <a:off x="4098925" y="2751141"/>
                <a:ext cx="1214439" cy="1603377"/>
              </a:xfrm>
              <a:custGeom>
                <a:avLst/>
                <a:gdLst>
                  <a:gd name="T0" fmla="*/ 3374 w 3375"/>
                  <a:gd name="T1" fmla="*/ 4194 h 4456"/>
                  <a:gd name="T2" fmla="*/ 3374 w 3375"/>
                  <a:gd name="T3" fmla="*/ 3400 h 4456"/>
                  <a:gd name="T4" fmla="*/ 3037 w 3375"/>
                  <a:gd name="T5" fmla="*/ 3400 h 4456"/>
                  <a:gd name="T6" fmla="*/ 3037 w 3375"/>
                  <a:gd name="T7" fmla="*/ 4109 h 4456"/>
                  <a:gd name="T8" fmla="*/ 346 w 3375"/>
                  <a:gd name="T9" fmla="*/ 4109 h 4456"/>
                  <a:gd name="T10" fmla="*/ 346 w 3375"/>
                  <a:gd name="T11" fmla="*/ 2127 h 4456"/>
                  <a:gd name="T12" fmla="*/ 3037 w 3375"/>
                  <a:gd name="T13" fmla="*/ 2127 h 4456"/>
                  <a:gd name="T14" fmla="*/ 3037 w 3375"/>
                  <a:gd name="T15" fmla="*/ 2819 h 4456"/>
                  <a:gd name="T16" fmla="*/ 3374 w 3375"/>
                  <a:gd name="T17" fmla="*/ 2819 h 4456"/>
                  <a:gd name="T18" fmla="*/ 3374 w 3375"/>
                  <a:gd name="T19" fmla="*/ 2043 h 4456"/>
                  <a:gd name="T20" fmla="*/ 3113 w 3375"/>
                  <a:gd name="T21" fmla="*/ 1781 h 4456"/>
                  <a:gd name="T22" fmla="*/ 2851 w 3375"/>
                  <a:gd name="T23" fmla="*/ 1781 h 4456"/>
                  <a:gd name="T24" fmla="*/ 2851 w 3375"/>
                  <a:gd name="T25" fmla="*/ 1131 h 4456"/>
                  <a:gd name="T26" fmla="*/ 2540 w 3375"/>
                  <a:gd name="T27" fmla="*/ 321 h 4456"/>
                  <a:gd name="T28" fmla="*/ 1688 w 3375"/>
                  <a:gd name="T29" fmla="*/ 0 h 4456"/>
                  <a:gd name="T30" fmla="*/ 540 w 3375"/>
                  <a:gd name="T31" fmla="*/ 1157 h 4456"/>
                  <a:gd name="T32" fmla="*/ 540 w 3375"/>
                  <a:gd name="T33" fmla="*/ 1781 h 4456"/>
                  <a:gd name="T34" fmla="*/ 261 w 3375"/>
                  <a:gd name="T35" fmla="*/ 1781 h 4456"/>
                  <a:gd name="T36" fmla="*/ 0 w 3375"/>
                  <a:gd name="T37" fmla="*/ 2043 h 4456"/>
                  <a:gd name="T38" fmla="*/ 0 w 3375"/>
                  <a:gd name="T39" fmla="*/ 4194 h 4456"/>
                  <a:gd name="T40" fmla="*/ 261 w 3375"/>
                  <a:gd name="T41" fmla="*/ 4455 h 4456"/>
                  <a:gd name="T42" fmla="*/ 3113 w 3375"/>
                  <a:gd name="T43" fmla="*/ 4455 h 4456"/>
                  <a:gd name="T44" fmla="*/ 3374 w 3375"/>
                  <a:gd name="T45" fmla="*/ 4194 h 4456"/>
                  <a:gd name="T46" fmla="*/ 877 w 3375"/>
                  <a:gd name="T47" fmla="*/ 1173 h 4456"/>
                  <a:gd name="T48" fmla="*/ 1688 w 3375"/>
                  <a:gd name="T49" fmla="*/ 346 h 4456"/>
                  <a:gd name="T50" fmla="*/ 2295 w 3375"/>
                  <a:gd name="T51" fmla="*/ 566 h 4456"/>
                  <a:gd name="T52" fmla="*/ 2515 w 3375"/>
                  <a:gd name="T53" fmla="*/ 1131 h 4456"/>
                  <a:gd name="T54" fmla="*/ 2515 w 3375"/>
                  <a:gd name="T55" fmla="*/ 1790 h 4456"/>
                  <a:gd name="T56" fmla="*/ 877 w 3375"/>
                  <a:gd name="T57" fmla="*/ 1790 h 4456"/>
                  <a:gd name="T58" fmla="*/ 877 w 3375"/>
                  <a:gd name="T59" fmla="*/ 1173 h 4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75" h="4456">
                    <a:moveTo>
                      <a:pt x="3374" y="4194"/>
                    </a:moveTo>
                    <a:lnTo>
                      <a:pt x="3374" y="3400"/>
                    </a:lnTo>
                    <a:lnTo>
                      <a:pt x="3037" y="3400"/>
                    </a:lnTo>
                    <a:lnTo>
                      <a:pt x="3037" y="4109"/>
                    </a:lnTo>
                    <a:lnTo>
                      <a:pt x="346" y="4109"/>
                    </a:lnTo>
                    <a:lnTo>
                      <a:pt x="346" y="2127"/>
                    </a:lnTo>
                    <a:lnTo>
                      <a:pt x="3037" y="2127"/>
                    </a:lnTo>
                    <a:lnTo>
                      <a:pt x="3037" y="2819"/>
                    </a:lnTo>
                    <a:lnTo>
                      <a:pt x="3374" y="2819"/>
                    </a:lnTo>
                    <a:lnTo>
                      <a:pt x="3374" y="2043"/>
                    </a:lnTo>
                    <a:cubicBezTo>
                      <a:pt x="3374" y="1899"/>
                      <a:pt x="3256" y="1781"/>
                      <a:pt x="3113" y="1781"/>
                    </a:cubicBezTo>
                    <a:lnTo>
                      <a:pt x="2851" y="1781"/>
                    </a:lnTo>
                    <a:cubicBezTo>
                      <a:pt x="2851" y="1587"/>
                      <a:pt x="2851" y="1283"/>
                      <a:pt x="2851" y="1131"/>
                    </a:cubicBezTo>
                    <a:cubicBezTo>
                      <a:pt x="2860" y="912"/>
                      <a:pt x="2775" y="574"/>
                      <a:pt x="2540" y="321"/>
                    </a:cubicBezTo>
                    <a:cubicBezTo>
                      <a:pt x="2329" y="110"/>
                      <a:pt x="2050" y="0"/>
                      <a:pt x="1688" y="0"/>
                    </a:cubicBezTo>
                    <a:cubicBezTo>
                      <a:pt x="818" y="0"/>
                      <a:pt x="557" y="752"/>
                      <a:pt x="540" y="1157"/>
                    </a:cubicBezTo>
                    <a:lnTo>
                      <a:pt x="540" y="1781"/>
                    </a:lnTo>
                    <a:lnTo>
                      <a:pt x="261" y="1781"/>
                    </a:lnTo>
                    <a:cubicBezTo>
                      <a:pt x="118" y="1781"/>
                      <a:pt x="0" y="1899"/>
                      <a:pt x="0" y="2043"/>
                    </a:cubicBezTo>
                    <a:lnTo>
                      <a:pt x="0" y="4194"/>
                    </a:lnTo>
                    <a:cubicBezTo>
                      <a:pt x="0" y="4337"/>
                      <a:pt x="118" y="4455"/>
                      <a:pt x="261" y="4455"/>
                    </a:cubicBezTo>
                    <a:lnTo>
                      <a:pt x="3113" y="4455"/>
                    </a:lnTo>
                    <a:cubicBezTo>
                      <a:pt x="3256" y="4455"/>
                      <a:pt x="3374" y="4337"/>
                      <a:pt x="3374" y="4194"/>
                    </a:cubicBezTo>
                    <a:close/>
                    <a:moveTo>
                      <a:pt x="877" y="1173"/>
                    </a:moveTo>
                    <a:cubicBezTo>
                      <a:pt x="877" y="1140"/>
                      <a:pt x="920" y="346"/>
                      <a:pt x="1688" y="346"/>
                    </a:cubicBezTo>
                    <a:cubicBezTo>
                      <a:pt x="1949" y="346"/>
                      <a:pt x="2152" y="422"/>
                      <a:pt x="2295" y="566"/>
                    </a:cubicBezTo>
                    <a:cubicBezTo>
                      <a:pt x="2472" y="752"/>
                      <a:pt x="2515" y="1005"/>
                      <a:pt x="2515" y="1131"/>
                    </a:cubicBezTo>
                    <a:cubicBezTo>
                      <a:pt x="2515" y="1292"/>
                      <a:pt x="2515" y="1595"/>
                      <a:pt x="2515" y="1790"/>
                    </a:cubicBezTo>
                    <a:lnTo>
                      <a:pt x="877" y="1790"/>
                    </a:lnTo>
                    <a:lnTo>
                      <a:pt x="877" y="1173"/>
                    </a:lnTo>
                    <a:close/>
                  </a:path>
                </a:pathLst>
              </a:custGeom>
              <a:solidFill>
                <a:srgbClr val="FFFFFF"/>
              </a:solidFill>
              <a:ln w="9525" cap="flat">
                <a:solidFill>
                  <a:srgbClr val="0078D7"/>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215">
                  <a:defRPr/>
                </a:pPr>
                <a:endParaRPr lang="en-US" sz="1765" kern="0">
                  <a:solidFill>
                    <a:sysClr val="windowText" lastClr="000000"/>
                  </a:solidFill>
                  <a:latin typeface="Segoe UI"/>
                </a:endParaRPr>
              </a:p>
            </p:txBody>
          </p:sp>
          <p:sp>
            <p:nvSpPr>
              <p:cNvPr id="72" name="Freeform 2">
                <a:extLst>
                  <a:ext uri="{FF2B5EF4-FFF2-40B4-BE49-F238E27FC236}">
                    <a16:creationId xmlns:a16="http://schemas.microsoft.com/office/drawing/2014/main" id="{FFBE4687-5E5A-4635-81D8-1001B3B74532}"/>
                  </a:ext>
                </a:extLst>
              </p:cNvPr>
              <p:cNvSpPr>
                <a:spLocks noChangeArrowheads="1"/>
              </p:cNvSpPr>
              <p:nvPr/>
            </p:nvSpPr>
            <p:spPr bwMode="auto">
              <a:xfrm>
                <a:off x="4710112" y="3143252"/>
                <a:ext cx="1187452" cy="1503366"/>
              </a:xfrm>
              <a:custGeom>
                <a:avLst/>
                <a:gdLst>
                  <a:gd name="T0" fmla="*/ 3113 w 3300"/>
                  <a:gd name="T1" fmla="*/ 0 h 4177"/>
                  <a:gd name="T2" fmla="*/ 1316 w 3300"/>
                  <a:gd name="T3" fmla="*/ 0 h 4177"/>
                  <a:gd name="T4" fmla="*/ 1316 w 3300"/>
                  <a:gd name="T5" fmla="*/ 211 h 4177"/>
                  <a:gd name="T6" fmla="*/ 3079 w 3300"/>
                  <a:gd name="T7" fmla="*/ 211 h 4177"/>
                  <a:gd name="T8" fmla="*/ 3079 w 3300"/>
                  <a:gd name="T9" fmla="*/ 3965 h 4177"/>
                  <a:gd name="T10" fmla="*/ 211 w 3300"/>
                  <a:gd name="T11" fmla="*/ 3965 h 4177"/>
                  <a:gd name="T12" fmla="*/ 211 w 3300"/>
                  <a:gd name="T13" fmla="*/ 3484 h 4177"/>
                  <a:gd name="T14" fmla="*/ 0 w 3300"/>
                  <a:gd name="T15" fmla="*/ 3484 h 4177"/>
                  <a:gd name="T16" fmla="*/ 0 w 3300"/>
                  <a:gd name="T17" fmla="*/ 3999 h 4177"/>
                  <a:gd name="T18" fmla="*/ 177 w 3300"/>
                  <a:gd name="T19" fmla="*/ 4176 h 4177"/>
                  <a:gd name="T20" fmla="*/ 3113 w 3300"/>
                  <a:gd name="T21" fmla="*/ 4176 h 4177"/>
                  <a:gd name="T22" fmla="*/ 3290 w 3300"/>
                  <a:gd name="T23" fmla="*/ 3999 h 4177"/>
                  <a:gd name="T24" fmla="*/ 3290 w 3300"/>
                  <a:gd name="T25" fmla="*/ 186 h 4177"/>
                  <a:gd name="T26" fmla="*/ 3113 w 3300"/>
                  <a:gd name="T27" fmla="*/ 0 h 4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00" h="4177">
                    <a:moveTo>
                      <a:pt x="3113" y="0"/>
                    </a:moveTo>
                    <a:lnTo>
                      <a:pt x="1316" y="0"/>
                    </a:lnTo>
                    <a:lnTo>
                      <a:pt x="1316" y="211"/>
                    </a:lnTo>
                    <a:lnTo>
                      <a:pt x="3079" y="211"/>
                    </a:lnTo>
                    <a:lnTo>
                      <a:pt x="3079" y="3965"/>
                    </a:lnTo>
                    <a:lnTo>
                      <a:pt x="211" y="3965"/>
                    </a:lnTo>
                    <a:lnTo>
                      <a:pt x="211" y="3484"/>
                    </a:lnTo>
                    <a:lnTo>
                      <a:pt x="0" y="3484"/>
                    </a:lnTo>
                    <a:lnTo>
                      <a:pt x="0" y="3999"/>
                    </a:lnTo>
                    <a:cubicBezTo>
                      <a:pt x="0" y="4101"/>
                      <a:pt x="84" y="4176"/>
                      <a:pt x="177" y="4176"/>
                    </a:cubicBezTo>
                    <a:lnTo>
                      <a:pt x="3113" y="4176"/>
                    </a:lnTo>
                    <a:cubicBezTo>
                      <a:pt x="3214" y="4176"/>
                      <a:pt x="3290" y="4092"/>
                      <a:pt x="3290" y="3999"/>
                    </a:cubicBezTo>
                    <a:lnTo>
                      <a:pt x="3290" y="186"/>
                    </a:lnTo>
                    <a:cubicBezTo>
                      <a:pt x="3299" y="84"/>
                      <a:pt x="3214" y="0"/>
                      <a:pt x="3113"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215">
                  <a:defRPr/>
                </a:pPr>
                <a:endParaRPr lang="en-US" sz="1765" kern="0">
                  <a:solidFill>
                    <a:sysClr val="windowText" lastClr="000000"/>
                  </a:solidFill>
                  <a:latin typeface="Segoe UI"/>
                </a:endParaRPr>
              </a:p>
            </p:txBody>
          </p:sp>
          <p:sp>
            <p:nvSpPr>
              <p:cNvPr id="73" name="Freeform 3">
                <a:extLst>
                  <a:ext uri="{FF2B5EF4-FFF2-40B4-BE49-F238E27FC236}">
                    <a16:creationId xmlns:a16="http://schemas.microsoft.com/office/drawing/2014/main" id="{F543EFDC-41DE-4E43-861A-6BE21FE5C673}"/>
                  </a:ext>
                </a:extLst>
              </p:cNvPr>
              <p:cNvSpPr>
                <a:spLocks noChangeArrowheads="1"/>
              </p:cNvSpPr>
              <p:nvPr/>
            </p:nvSpPr>
            <p:spPr bwMode="auto">
              <a:xfrm>
                <a:off x="4597402" y="3698874"/>
                <a:ext cx="1017588" cy="368302"/>
              </a:xfrm>
              <a:custGeom>
                <a:avLst/>
                <a:gdLst>
                  <a:gd name="T0" fmla="*/ 2826 w 2827"/>
                  <a:gd name="T1" fmla="*/ 489 h 1022"/>
                  <a:gd name="T2" fmla="*/ 2218 w 2827"/>
                  <a:gd name="T3" fmla="*/ 0 h 1022"/>
                  <a:gd name="T4" fmla="*/ 2218 w 2827"/>
                  <a:gd name="T5" fmla="*/ 320 h 1022"/>
                  <a:gd name="T6" fmla="*/ 793 w 2827"/>
                  <a:gd name="T7" fmla="*/ 320 h 1022"/>
                  <a:gd name="T8" fmla="*/ 413 w 2827"/>
                  <a:gd name="T9" fmla="*/ 76 h 1022"/>
                  <a:gd name="T10" fmla="*/ 0 w 2827"/>
                  <a:gd name="T11" fmla="*/ 489 h 1022"/>
                  <a:gd name="T12" fmla="*/ 413 w 2827"/>
                  <a:gd name="T13" fmla="*/ 902 h 1022"/>
                  <a:gd name="T14" fmla="*/ 793 w 2827"/>
                  <a:gd name="T15" fmla="*/ 658 h 1022"/>
                  <a:gd name="T16" fmla="*/ 2218 w 2827"/>
                  <a:gd name="T17" fmla="*/ 658 h 1022"/>
                  <a:gd name="T18" fmla="*/ 2218 w 2827"/>
                  <a:gd name="T19" fmla="*/ 1021 h 1022"/>
                  <a:gd name="T20" fmla="*/ 2826 w 2827"/>
                  <a:gd name="T21" fmla="*/ 489 h 1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27" h="1022">
                    <a:moveTo>
                      <a:pt x="2826" y="489"/>
                    </a:moveTo>
                    <a:lnTo>
                      <a:pt x="2218" y="0"/>
                    </a:lnTo>
                    <a:lnTo>
                      <a:pt x="2218" y="320"/>
                    </a:lnTo>
                    <a:lnTo>
                      <a:pt x="793" y="320"/>
                    </a:lnTo>
                    <a:cubicBezTo>
                      <a:pt x="726" y="178"/>
                      <a:pt x="582" y="76"/>
                      <a:pt x="413" y="76"/>
                    </a:cubicBezTo>
                    <a:cubicBezTo>
                      <a:pt x="185" y="76"/>
                      <a:pt x="0" y="262"/>
                      <a:pt x="0" y="489"/>
                    </a:cubicBezTo>
                    <a:cubicBezTo>
                      <a:pt x="0" y="717"/>
                      <a:pt x="185" y="902"/>
                      <a:pt x="413" y="902"/>
                    </a:cubicBezTo>
                    <a:cubicBezTo>
                      <a:pt x="582" y="902"/>
                      <a:pt x="726" y="801"/>
                      <a:pt x="793" y="658"/>
                    </a:cubicBezTo>
                    <a:lnTo>
                      <a:pt x="2218" y="658"/>
                    </a:lnTo>
                    <a:lnTo>
                      <a:pt x="2218" y="1021"/>
                    </a:lnTo>
                    <a:lnTo>
                      <a:pt x="2826" y="489"/>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215">
                  <a:defRPr/>
                </a:pPr>
                <a:endParaRPr lang="en-US" sz="1765" kern="0">
                  <a:solidFill>
                    <a:sysClr val="windowText" lastClr="000000"/>
                  </a:solidFill>
                  <a:latin typeface="Segoe UI"/>
                </a:endParaRPr>
              </a:p>
            </p:txBody>
          </p:sp>
        </p:grpSp>
      </p:grpSp>
      <p:sp>
        <p:nvSpPr>
          <p:cNvPr id="76" name="Rectangle 75">
            <a:extLst>
              <a:ext uri="{FF2B5EF4-FFF2-40B4-BE49-F238E27FC236}">
                <a16:creationId xmlns:a16="http://schemas.microsoft.com/office/drawing/2014/main" id="{9DAA7547-BAB3-4880-8460-683A99B4D0FF}"/>
              </a:ext>
            </a:extLst>
          </p:cNvPr>
          <p:cNvSpPr/>
          <p:nvPr/>
        </p:nvSpPr>
        <p:spPr>
          <a:xfrm>
            <a:off x="6209741" y="1250778"/>
            <a:ext cx="1234377" cy="418191"/>
          </a:xfrm>
          <a:prstGeom prst="rect">
            <a:avLst/>
          </a:prstGeom>
        </p:spPr>
        <p:txBody>
          <a:bodyPr wrap="none">
            <a:spAutoFit/>
          </a:bodyPr>
          <a:lstStyle/>
          <a:p>
            <a:pPr algn="ctr" defTabSz="896215">
              <a:lnSpc>
                <a:spcPct val="90000"/>
              </a:lnSpc>
              <a:defRPr/>
            </a:pPr>
            <a:r>
              <a:rPr lang="en-US" sz="2353" kern="0" spc="-69">
                <a:solidFill>
                  <a:srgbClr val="353535"/>
                </a:solidFill>
                <a:latin typeface="Segoe UI"/>
                <a:ea typeface="ＭＳ Ｐゴシック" charset="0"/>
                <a:cs typeface="Segoe UI Semibold" panose="020B0702040204020203" pitchFamily="34" charset="0"/>
              </a:rPr>
              <a:t>Controls</a:t>
            </a:r>
          </a:p>
        </p:txBody>
      </p:sp>
      <p:sp>
        <p:nvSpPr>
          <p:cNvPr id="77" name="Text Placeholder 1">
            <a:extLst>
              <a:ext uri="{FF2B5EF4-FFF2-40B4-BE49-F238E27FC236}">
                <a16:creationId xmlns:a16="http://schemas.microsoft.com/office/drawing/2014/main" id="{1B20BDC6-D46F-4133-93DB-5326D92CB196}"/>
              </a:ext>
            </a:extLst>
          </p:cNvPr>
          <p:cNvSpPr txBox="1">
            <a:spLocks/>
          </p:cNvSpPr>
          <p:nvPr/>
        </p:nvSpPr>
        <p:spPr>
          <a:xfrm>
            <a:off x="9682199" y="3497610"/>
            <a:ext cx="2285999" cy="393954"/>
          </a:xfrm>
          <a:prstGeom prst="rect">
            <a:avLst/>
          </a:prstGeom>
        </p:spPr>
        <p:txBody>
          <a:bodyPr wrap="square" lIns="91440" tIns="91440" rIns="91440" bIns="91440">
            <a:spAutoFit/>
          </a:bodyPr>
          <a:lstStyle>
            <a:defPPr>
              <a:defRPr lang="en-US"/>
            </a:defPPr>
            <a:lvl1pPr marR="0" lvl="0" indent="0" algn="ctr" defTabSz="839375" fontAlgn="auto">
              <a:lnSpc>
                <a:spcPct val="85000"/>
              </a:lnSpc>
              <a:spcBef>
                <a:spcPts val="0"/>
              </a:spcBef>
              <a:spcAft>
                <a:spcPts val="540"/>
              </a:spcAft>
              <a:buClrTx/>
              <a:buSzTx/>
              <a:buFont typeface="Arial" pitchFamily="34" charset="0"/>
              <a:buNone/>
              <a:tabLst/>
              <a:defRPr kumimoji="0" sz="1600" b="0" i="0" u="none" strike="noStrike" cap="none" spc="-30" normalizeH="0" baseline="0">
                <a:ln>
                  <a:noFill/>
                </a:ln>
                <a:effectLst/>
                <a:uLnTx/>
                <a:uFillTx/>
                <a:latin typeface="Segoe UI Semilight"/>
              </a:defRPr>
            </a:lvl1pPr>
            <a:lvl2pPr marL="601375" marR="0" indent="-248394" defTabSz="960165" fontAlgn="auto">
              <a:lnSpc>
                <a:spcPct val="90000"/>
              </a:lnSpc>
              <a:spcBef>
                <a:spcPct val="20000"/>
              </a:spcBef>
              <a:spcAft>
                <a:spcPts val="0"/>
              </a:spcAft>
              <a:buClrTx/>
              <a:buSzPct val="90000"/>
              <a:buFont typeface="Arial" pitchFamily="34" charset="0"/>
              <a:buChar char="•"/>
              <a:tabLst/>
              <a:defRPr sz="2471" spc="0" baseline="0">
                <a:gradFill>
                  <a:gsLst>
                    <a:gs pos="1250">
                      <a:schemeClr val="tx1"/>
                    </a:gs>
                    <a:gs pos="100000">
                      <a:schemeClr val="tx1"/>
                    </a:gs>
                  </a:gsLst>
                  <a:lin ang="5400000" scaled="0"/>
                </a:gradFill>
              </a:defRPr>
            </a:lvl2pPr>
            <a:lvl3pPr marL="823623" marR="0" indent="-235321" defTabSz="960165" fontAlgn="auto">
              <a:lnSpc>
                <a:spcPct val="90000"/>
              </a:lnSpc>
              <a:spcBef>
                <a:spcPct val="20000"/>
              </a:spcBef>
              <a:spcAft>
                <a:spcPts val="0"/>
              </a:spcAft>
              <a:buClrTx/>
              <a:buSzPct val="90000"/>
              <a:buFont typeface="Arial" pitchFamily="34" charset="0"/>
              <a:buChar char="•"/>
              <a:tabLst/>
              <a:defRPr sz="2059" spc="0" baseline="0">
                <a:gradFill>
                  <a:gsLst>
                    <a:gs pos="1250">
                      <a:schemeClr val="tx1"/>
                    </a:gs>
                    <a:gs pos="100000">
                      <a:schemeClr val="tx1"/>
                    </a:gs>
                  </a:gsLst>
                  <a:lin ang="5400000" scaled="0"/>
                </a:gradFill>
              </a:defRPr>
            </a:lvl3pPr>
            <a:lvl4pPr marL="1058944" marR="0" indent="-235321" defTabSz="960165" fontAlgn="auto">
              <a:lnSpc>
                <a:spcPct val="90000"/>
              </a:lnSpc>
              <a:spcBef>
                <a:spcPct val="20000"/>
              </a:spcBef>
              <a:spcAft>
                <a:spcPts val="0"/>
              </a:spcAft>
              <a:buClrTx/>
              <a:buSzPct val="90000"/>
              <a:buFont typeface="Arial" pitchFamily="34" charset="0"/>
              <a:buChar char="•"/>
              <a:tabLst/>
              <a:defRPr sz="1853" spc="0" baseline="0">
                <a:gradFill>
                  <a:gsLst>
                    <a:gs pos="1250">
                      <a:schemeClr val="tx1"/>
                    </a:gs>
                    <a:gs pos="100000">
                      <a:schemeClr val="tx1"/>
                    </a:gs>
                  </a:gsLst>
                  <a:lin ang="5400000" scaled="0"/>
                </a:gradFill>
              </a:defRPr>
            </a:lvl4pPr>
            <a:lvl5pPr marL="1294265" marR="0" indent="-235321" defTabSz="960165" fontAlgn="auto">
              <a:lnSpc>
                <a:spcPct val="90000"/>
              </a:lnSpc>
              <a:spcBef>
                <a:spcPct val="20000"/>
              </a:spcBef>
              <a:spcAft>
                <a:spcPts val="0"/>
              </a:spcAft>
              <a:buClrTx/>
              <a:buSzPct val="90000"/>
              <a:buFont typeface="Arial" pitchFamily="34" charset="0"/>
              <a:buChar char="•"/>
              <a:tabLst/>
              <a:defRPr sz="1853" spc="0" baseline="0">
                <a:gradFill>
                  <a:gsLst>
                    <a:gs pos="1250">
                      <a:schemeClr val="tx1"/>
                    </a:gs>
                    <a:gs pos="100000">
                      <a:schemeClr val="tx1"/>
                    </a:gs>
                  </a:gsLst>
                  <a:lin ang="5400000" scaled="0"/>
                </a:gradFill>
              </a:defRPr>
            </a:lvl5pPr>
            <a:lvl6pPr marL="2640452" indent="-240042" defTabSz="960165">
              <a:spcBef>
                <a:spcPct val="20000"/>
              </a:spcBef>
              <a:buFont typeface="Arial" pitchFamily="34" charset="0"/>
              <a:buChar char="•"/>
              <a:defRPr sz="2059"/>
            </a:lvl6pPr>
            <a:lvl7pPr marL="3120536" indent="-240042" defTabSz="960165">
              <a:spcBef>
                <a:spcPct val="20000"/>
              </a:spcBef>
              <a:buFont typeface="Arial" pitchFamily="34" charset="0"/>
              <a:buChar char="•"/>
              <a:defRPr sz="2059"/>
            </a:lvl7pPr>
            <a:lvl8pPr marL="3600618" indent="-240042" defTabSz="960165">
              <a:spcBef>
                <a:spcPct val="20000"/>
              </a:spcBef>
              <a:buFont typeface="Arial" pitchFamily="34" charset="0"/>
              <a:buChar char="•"/>
              <a:defRPr sz="2059"/>
            </a:lvl8pPr>
            <a:lvl9pPr marL="4080701" indent="-240042" defTabSz="960165">
              <a:spcBef>
                <a:spcPct val="20000"/>
              </a:spcBef>
              <a:buFont typeface="Arial" pitchFamily="34" charset="0"/>
              <a:buChar char="•"/>
              <a:defRPr sz="2059"/>
            </a:lvl9pPr>
          </a:lstStyle>
          <a:p>
            <a:pPr marL="0" marR="0" lvl="0" indent="0" algn="ctr" defTabSz="839375" eaLnBrk="1" fontAlgn="auto" latinLnBrk="0" hangingPunct="1">
              <a:lnSpc>
                <a:spcPct val="85000"/>
              </a:lnSpc>
              <a:spcBef>
                <a:spcPts val="0"/>
              </a:spcBef>
              <a:spcAft>
                <a:spcPts val="540"/>
              </a:spcAft>
              <a:buClrTx/>
              <a:buSzTx/>
              <a:buFont typeface="Arial" pitchFamily="34" charset="0"/>
              <a:buNone/>
              <a:tabLst/>
              <a:defRPr/>
            </a:pPr>
            <a:r>
              <a:rPr kumimoji="0" lang="en-US" sz="1600" b="0" i="0" u="none" strike="noStrike" kern="0" cap="none" spc="0" normalizeH="0" noProof="0">
                <a:ln>
                  <a:noFill/>
                </a:ln>
                <a:solidFill>
                  <a:srgbClr val="353535"/>
                </a:solidFill>
                <a:effectLst/>
                <a:uLnTx/>
                <a:uFillTx/>
                <a:latin typeface="Segoe UI Semilight"/>
              </a:rPr>
              <a:t>On-premises apps</a:t>
            </a:r>
          </a:p>
        </p:txBody>
      </p:sp>
      <p:sp>
        <p:nvSpPr>
          <p:cNvPr id="78" name="Text Placeholder 1">
            <a:extLst>
              <a:ext uri="{FF2B5EF4-FFF2-40B4-BE49-F238E27FC236}">
                <a16:creationId xmlns:a16="http://schemas.microsoft.com/office/drawing/2014/main" id="{BCC62879-484F-4D63-973E-126B9CA91E22}"/>
              </a:ext>
            </a:extLst>
          </p:cNvPr>
          <p:cNvSpPr txBox="1">
            <a:spLocks/>
          </p:cNvSpPr>
          <p:nvPr/>
        </p:nvSpPr>
        <p:spPr>
          <a:xfrm>
            <a:off x="9682198" y="5344883"/>
            <a:ext cx="2286000" cy="393954"/>
          </a:xfrm>
          <a:prstGeom prst="rect">
            <a:avLst/>
          </a:prstGeom>
        </p:spPr>
        <p:txBody>
          <a:bodyPr wrap="square" lIns="91440" tIns="91440" rIns="91440" bIns="91440">
            <a:spAutoFit/>
          </a:bodyPr>
          <a:lstStyle>
            <a:defPPr>
              <a:defRPr lang="en-US"/>
            </a:defPPr>
            <a:lvl1pPr marR="0" lvl="0" indent="0" algn="ctr" defTabSz="839375" fontAlgn="auto">
              <a:lnSpc>
                <a:spcPct val="85000"/>
              </a:lnSpc>
              <a:spcBef>
                <a:spcPts val="0"/>
              </a:spcBef>
              <a:spcAft>
                <a:spcPts val="540"/>
              </a:spcAft>
              <a:buClrTx/>
              <a:buSzTx/>
              <a:buFont typeface="Arial" pitchFamily="34" charset="0"/>
              <a:buNone/>
              <a:tabLst/>
              <a:defRPr kumimoji="0" sz="1600" b="0" i="0" u="none" strike="noStrike" cap="none" spc="-30" normalizeH="0" baseline="0">
                <a:ln>
                  <a:noFill/>
                </a:ln>
                <a:effectLst/>
                <a:uLnTx/>
                <a:uFillTx/>
                <a:latin typeface="Segoe UI Semilight"/>
              </a:defRPr>
            </a:lvl1pPr>
            <a:lvl2pPr marL="601375" marR="0" indent="-248394" defTabSz="960165" fontAlgn="auto">
              <a:lnSpc>
                <a:spcPct val="90000"/>
              </a:lnSpc>
              <a:spcBef>
                <a:spcPct val="20000"/>
              </a:spcBef>
              <a:spcAft>
                <a:spcPts val="0"/>
              </a:spcAft>
              <a:buClrTx/>
              <a:buSzPct val="90000"/>
              <a:buFont typeface="Arial" pitchFamily="34" charset="0"/>
              <a:buChar char="•"/>
              <a:tabLst/>
              <a:defRPr sz="2471" spc="0" baseline="0">
                <a:gradFill>
                  <a:gsLst>
                    <a:gs pos="1250">
                      <a:schemeClr val="tx1"/>
                    </a:gs>
                    <a:gs pos="100000">
                      <a:schemeClr val="tx1"/>
                    </a:gs>
                  </a:gsLst>
                  <a:lin ang="5400000" scaled="0"/>
                </a:gradFill>
              </a:defRPr>
            </a:lvl2pPr>
            <a:lvl3pPr marL="823623" marR="0" indent="-235321" defTabSz="960165" fontAlgn="auto">
              <a:lnSpc>
                <a:spcPct val="90000"/>
              </a:lnSpc>
              <a:spcBef>
                <a:spcPct val="20000"/>
              </a:spcBef>
              <a:spcAft>
                <a:spcPts val="0"/>
              </a:spcAft>
              <a:buClrTx/>
              <a:buSzPct val="90000"/>
              <a:buFont typeface="Arial" pitchFamily="34" charset="0"/>
              <a:buChar char="•"/>
              <a:tabLst/>
              <a:defRPr sz="2059" spc="0" baseline="0">
                <a:gradFill>
                  <a:gsLst>
                    <a:gs pos="1250">
                      <a:schemeClr val="tx1"/>
                    </a:gs>
                    <a:gs pos="100000">
                      <a:schemeClr val="tx1"/>
                    </a:gs>
                  </a:gsLst>
                  <a:lin ang="5400000" scaled="0"/>
                </a:gradFill>
              </a:defRPr>
            </a:lvl3pPr>
            <a:lvl4pPr marL="1058944" marR="0" indent="-235321" defTabSz="960165" fontAlgn="auto">
              <a:lnSpc>
                <a:spcPct val="90000"/>
              </a:lnSpc>
              <a:spcBef>
                <a:spcPct val="20000"/>
              </a:spcBef>
              <a:spcAft>
                <a:spcPts val="0"/>
              </a:spcAft>
              <a:buClrTx/>
              <a:buSzPct val="90000"/>
              <a:buFont typeface="Arial" pitchFamily="34" charset="0"/>
              <a:buChar char="•"/>
              <a:tabLst/>
              <a:defRPr sz="1853" spc="0" baseline="0">
                <a:gradFill>
                  <a:gsLst>
                    <a:gs pos="1250">
                      <a:schemeClr val="tx1"/>
                    </a:gs>
                    <a:gs pos="100000">
                      <a:schemeClr val="tx1"/>
                    </a:gs>
                  </a:gsLst>
                  <a:lin ang="5400000" scaled="0"/>
                </a:gradFill>
              </a:defRPr>
            </a:lvl4pPr>
            <a:lvl5pPr marL="1294265" marR="0" indent="-235321" defTabSz="960165" fontAlgn="auto">
              <a:lnSpc>
                <a:spcPct val="90000"/>
              </a:lnSpc>
              <a:spcBef>
                <a:spcPct val="20000"/>
              </a:spcBef>
              <a:spcAft>
                <a:spcPts val="0"/>
              </a:spcAft>
              <a:buClrTx/>
              <a:buSzPct val="90000"/>
              <a:buFont typeface="Arial" pitchFamily="34" charset="0"/>
              <a:buChar char="•"/>
              <a:tabLst/>
              <a:defRPr sz="1853" spc="0" baseline="0">
                <a:gradFill>
                  <a:gsLst>
                    <a:gs pos="1250">
                      <a:schemeClr val="tx1"/>
                    </a:gs>
                    <a:gs pos="100000">
                      <a:schemeClr val="tx1"/>
                    </a:gs>
                  </a:gsLst>
                  <a:lin ang="5400000" scaled="0"/>
                </a:gradFill>
              </a:defRPr>
            </a:lvl5pPr>
            <a:lvl6pPr marL="2640452" indent="-240042" defTabSz="960165">
              <a:spcBef>
                <a:spcPct val="20000"/>
              </a:spcBef>
              <a:buFont typeface="Arial" pitchFamily="34" charset="0"/>
              <a:buChar char="•"/>
              <a:defRPr sz="2059"/>
            </a:lvl6pPr>
            <a:lvl7pPr marL="3120536" indent="-240042" defTabSz="960165">
              <a:spcBef>
                <a:spcPct val="20000"/>
              </a:spcBef>
              <a:buFont typeface="Arial" pitchFamily="34" charset="0"/>
              <a:buChar char="•"/>
              <a:defRPr sz="2059"/>
            </a:lvl7pPr>
            <a:lvl8pPr marL="3600618" indent="-240042" defTabSz="960165">
              <a:spcBef>
                <a:spcPct val="20000"/>
              </a:spcBef>
              <a:buFont typeface="Arial" pitchFamily="34" charset="0"/>
              <a:buChar char="•"/>
              <a:defRPr sz="2059"/>
            </a:lvl8pPr>
            <a:lvl9pPr marL="4080701" indent="-240042" defTabSz="960165">
              <a:spcBef>
                <a:spcPct val="20000"/>
              </a:spcBef>
              <a:buFont typeface="Arial" pitchFamily="34" charset="0"/>
              <a:buChar char="•"/>
              <a:defRPr sz="2059"/>
            </a:lvl9pPr>
          </a:lstStyle>
          <a:p>
            <a:pPr marL="0" marR="0" lvl="0" indent="0" algn="ctr" defTabSz="839375" eaLnBrk="1" fontAlgn="auto" latinLnBrk="0" hangingPunct="1">
              <a:lnSpc>
                <a:spcPct val="85000"/>
              </a:lnSpc>
              <a:spcBef>
                <a:spcPts val="0"/>
              </a:spcBef>
              <a:spcAft>
                <a:spcPts val="540"/>
              </a:spcAft>
              <a:buClrTx/>
              <a:buSzTx/>
              <a:buFont typeface="Arial" pitchFamily="34" charset="0"/>
              <a:buNone/>
              <a:tabLst/>
              <a:defRPr/>
            </a:pPr>
            <a:r>
              <a:rPr kumimoji="0" lang="en-US" sz="1600" b="0" i="0" u="none" strike="noStrike" kern="0" cap="none" spc="0" normalizeH="0" noProof="0">
                <a:ln>
                  <a:noFill/>
                </a:ln>
                <a:solidFill>
                  <a:srgbClr val="353535"/>
                </a:solidFill>
                <a:effectLst/>
                <a:uLnTx/>
                <a:uFillTx/>
                <a:latin typeface="Segoe UI Semilight"/>
              </a:rPr>
              <a:t>Web apps</a:t>
            </a:r>
          </a:p>
        </p:txBody>
      </p:sp>
      <p:grpSp>
        <p:nvGrpSpPr>
          <p:cNvPr id="80" name="Group 79">
            <a:extLst>
              <a:ext uri="{FF2B5EF4-FFF2-40B4-BE49-F238E27FC236}">
                <a16:creationId xmlns:a16="http://schemas.microsoft.com/office/drawing/2014/main" id="{3FD62FCF-30A0-45BE-9D80-BA288401F694}"/>
              </a:ext>
            </a:extLst>
          </p:cNvPr>
          <p:cNvGrpSpPr/>
          <p:nvPr/>
        </p:nvGrpSpPr>
        <p:grpSpPr>
          <a:xfrm>
            <a:off x="10215511" y="4473367"/>
            <a:ext cx="1219374" cy="739200"/>
            <a:chOff x="9588118" y="4270005"/>
            <a:chExt cx="916134" cy="555372"/>
          </a:xfrm>
        </p:grpSpPr>
        <p:sp>
          <p:nvSpPr>
            <p:cNvPr id="87" name="Freeform 5">
              <a:extLst>
                <a:ext uri="{FF2B5EF4-FFF2-40B4-BE49-F238E27FC236}">
                  <a16:creationId xmlns:a16="http://schemas.microsoft.com/office/drawing/2014/main" id="{99D48A9D-24BB-47F3-826A-FA107BE3CD9D}"/>
                </a:ext>
              </a:extLst>
            </p:cNvPr>
            <p:cNvSpPr>
              <a:spLocks/>
            </p:cNvSpPr>
            <p:nvPr/>
          </p:nvSpPr>
          <p:spPr bwMode="auto">
            <a:xfrm>
              <a:off x="9588118" y="4270005"/>
              <a:ext cx="916134" cy="55537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5875">
              <a:solidFill>
                <a:srgbClr val="0078D7"/>
              </a:solidFill>
            </a:ln>
            <a:extLst/>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normalizeH="0" noProof="0">
                <a:ln>
                  <a:noFill/>
                </a:ln>
                <a:solidFill>
                  <a:srgbClr val="505050"/>
                </a:solidFill>
                <a:effectLst/>
                <a:uLnTx/>
                <a:uFillTx/>
                <a:latin typeface="Segoe UI"/>
              </a:endParaRPr>
            </a:p>
          </p:txBody>
        </p:sp>
        <p:grpSp>
          <p:nvGrpSpPr>
            <p:cNvPr id="88" name="Group 87">
              <a:extLst>
                <a:ext uri="{FF2B5EF4-FFF2-40B4-BE49-F238E27FC236}">
                  <a16:creationId xmlns:a16="http://schemas.microsoft.com/office/drawing/2014/main" id="{F9387C93-AA83-4456-8C11-B83E8101C643}"/>
                </a:ext>
              </a:extLst>
            </p:cNvPr>
            <p:cNvGrpSpPr>
              <a:grpSpLocks noChangeAspect="1"/>
            </p:cNvGrpSpPr>
            <p:nvPr/>
          </p:nvGrpSpPr>
          <p:grpSpPr>
            <a:xfrm>
              <a:off x="9899357" y="4409567"/>
              <a:ext cx="337648" cy="332810"/>
              <a:chOff x="9168011" y="5170684"/>
              <a:chExt cx="665163" cy="655637"/>
            </a:xfrm>
          </p:grpSpPr>
          <p:sp>
            <p:nvSpPr>
              <p:cNvPr id="89" name="Freeform 44">
                <a:extLst>
                  <a:ext uri="{FF2B5EF4-FFF2-40B4-BE49-F238E27FC236}">
                    <a16:creationId xmlns:a16="http://schemas.microsoft.com/office/drawing/2014/main" id="{21BB39CD-C471-4DA2-B727-0773005DA76B}"/>
                  </a:ext>
                </a:extLst>
              </p:cNvPr>
              <p:cNvSpPr>
                <a:spLocks/>
              </p:cNvSpPr>
              <p:nvPr/>
            </p:nvSpPr>
            <p:spPr bwMode="auto">
              <a:xfrm>
                <a:off x="9168012" y="5170684"/>
                <a:ext cx="244474" cy="266700"/>
              </a:xfrm>
              <a:custGeom>
                <a:avLst/>
                <a:gdLst>
                  <a:gd name="T0" fmla="*/ 82 w 82"/>
                  <a:gd name="T1" fmla="*/ 76 h 82"/>
                  <a:gd name="T2" fmla="*/ 76 w 82"/>
                  <a:gd name="T3" fmla="*/ 82 h 82"/>
                  <a:gd name="T4" fmla="*/ 6 w 82"/>
                  <a:gd name="T5" fmla="*/ 82 h 82"/>
                  <a:gd name="T6" fmla="*/ 0 w 82"/>
                  <a:gd name="T7" fmla="*/ 76 h 82"/>
                  <a:gd name="T8" fmla="*/ 0 w 82"/>
                  <a:gd name="T9" fmla="*/ 5 h 82"/>
                  <a:gd name="T10" fmla="*/ 6 w 82"/>
                  <a:gd name="T11" fmla="*/ 0 h 82"/>
                  <a:gd name="T12" fmla="*/ 76 w 82"/>
                  <a:gd name="T13" fmla="*/ 0 h 82"/>
                  <a:gd name="T14" fmla="*/ 82 w 82"/>
                  <a:gd name="T15" fmla="*/ 5 h 82"/>
                  <a:gd name="T16" fmla="*/ 82 w 82"/>
                  <a:gd name="T1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2">
                    <a:moveTo>
                      <a:pt x="82" y="76"/>
                    </a:moveTo>
                    <a:cubicBezTo>
                      <a:pt x="82" y="79"/>
                      <a:pt x="79" y="82"/>
                      <a:pt x="76" y="82"/>
                    </a:cubicBezTo>
                    <a:cubicBezTo>
                      <a:pt x="6" y="82"/>
                      <a:pt x="6" y="82"/>
                      <a:pt x="6" y="82"/>
                    </a:cubicBezTo>
                    <a:cubicBezTo>
                      <a:pt x="2" y="82"/>
                      <a:pt x="0" y="79"/>
                      <a:pt x="0" y="76"/>
                    </a:cubicBezTo>
                    <a:cubicBezTo>
                      <a:pt x="0" y="5"/>
                      <a:pt x="0" y="5"/>
                      <a:pt x="0" y="5"/>
                    </a:cubicBezTo>
                    <a:cubicBezTo>
                      <a:pt x="0" y="2"/>
                      <a:pt x="2" y="0"/>
                      <a:pt x="6" y="0"/>
                    </a:cubicBezTo>
                    <a:cubicBezTo>
                      <a:pt x="76" y="0"/>
                      <a:pt x="76" y="0"/>
                      <a:pt x="76" y="0"/>
                    </a:cubicBezTo>
                    <a:cubicBezTo>
                      <a:pt x="79" y="0"/>
                      <a:pt x="82" y="2"/>
                      <a:pt x="82" y="5"/>
                    </a:cubicBezTo>
                    <a:lnTo>
                      <a:pt x="82" y="76"/>
                    </a:lnTo>
                    <a:close/>
                  </a:path>
                </a:pathLst>
              </a:custGeom>
              <a:noFill/>
              <a:ln w="12700" cap="flat">
                <a:solidFill>
                  <a:srgbClr val="0078D7"/>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normalizeH="0" noProof="0">
                  <a:ln w="12700">
                    <a:solidFill>
                      <a:srgbClr val="353535"/>
                    </a:solidFill>
                  </a:ln>
                  <a:solidFill>
                    <a:srgbClr val="002050"/>
                  </a:solidFill>
                  <a:effectLst/>
                  <a:uLnTx/>
                  <a:uFillTx/>
                </a:endParaRPr>
              </a:p>
            </p:txBody>
          </p:sp>
          <p:sp>
            <p:nvSpPr>
              <p:cNvPr id="90" name="Freeform 45">
                <a:extLst>
                  <a:ext uri="{FF2B5EF4-FFF2-40B4-BE49-F238E27FC236}">
                    <a16:creationId xmlns:a16="http://schemas.microsoft.com/office/drawing/2014/main" id="{A7815B9B-FCE4-4F8D-8075-28A8D8F365BA}"/>
                  </a:ext>
                </a:extLst>
              </p:cNvPr>
              <p:cNvSpPr>
                <a:spLocks/>
              </p:cNvSpPr>
              <p:nvPr/>
            </p:nvSpPr>
            <p:spPr bwMode="auto">
              <a:xfrm>
                <a:off x="9168014" y="5481833"/>
                <a:ext cx="244474" cy="133350"/>
              </a:xfrm>
              <a:custGeom>
                <a:avLst/>
                <a:gdLst>
                  <a:gd name="T0" fmla="*/ 82 w 82"/>
                  <a:gd name="T1" fmla="*/ 38 h 41"/>
                  <a:gd name="T2" fmla="*/ 76 w 82"/>
                  <a:gd name="T3" fmla="*/ 41 h 41"/>
                  <a:gd name="T4" fmla="*/ 6 w 82"/>
                  <a:gd name="T5" fmla="*/ 41 h 41"/>
                  <a:gd name="T6" fmla="*/ 0 w 82"/>
                  <a:gd name="T7" fmla="*/ 38 h 41"/>
                  <a:gd name="T8" fmla="*/ 0 w 82"/>
                  <a:gd name="T9" fmla="*/ 3 h 41"/>
                  <a:gd name="T10" fmla="*/ 6 w 82"/>
                  <a:gd name="T11" fmla="*/ 0 h 41"/>
                  <a:gd name="T12" fmla="*/ 76 w 82"/>
                  <a:gd name="T13" fmla="*/ 0 h 41"/>
                  <a:gd name="T14" fmla="*/ 82 w 82"/>
                  <a:gd name="T15" fmla="*/ 3 h 41"/>
                  <a:gd name="T16" fmla="*/ 82 w 82"/>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1">
                    <a:moveTo>
                      <a:pt x="82" y="38"/>
                    </a:moveTo>
                    <a:cubicBezTo>
                      <a:pt x="82" y="39"/>
                      <a:pt x="79" y="41"/>
                      <a:pt x="76" y="41"/>
                    </a:cubicBezTo>
                    <a:cubicBezTo>
                      <a:pt x="6" y="41"/>
                      <a:pt x="6" y="41"/>
                      <a:pt x="6" y="41"/>
                    </a:cubicBezTo>
                    <a:cubicBezTo>
                      <a:pt x="2" y="41"/>
                      <a:pt x="0" y="39"/>
                      <a:pt x="0" y="38"/>
                    </a:cubicBezTo>
                    <a:cubicBezTo>
                      <a:pt x="0" y="3"/>
                      <a:pt x="0" y="3"/>
                      <a:pt x="0" y="3"/>
                    </a:cubicBezTo>
                    <a:cubicBezTo>
                      <a:pt x="0" y="1"/>
                      <a:pt x="2" y="0"/>
                      <a:pt x="6" y="0"/>
                    </a:cubicBezTo>
                    <a:cubicBezTo>
                      <a:pt x="76" y="0"/>
                      <a:pt x="76" y="0"/>
                      <a:pt x="76" y="0"/>
                    </a:cubicBezTo>
                    <a:cubicBezTo>
                      <a:pt x="79" y="0"/>
                      <a:pt x="82" y="1"/>
                      <a:pt x="82" y="3"/>
                    </a:cubicBezTo>
                    <a:lnTo>
                      <a:pt x="82" y="3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normalizeH="0" noProof="0">
                  <a:ln w="12700">
                    <a:solidFill>
                      <a:srgbClr val="353535"/>
                    </a:solidFill>
                  </a:ln>
                  <a:solidFill>
                    <a:srgbClr val="002050"/>
                  </a:solidFill>
                  <a:effectLst/>
                  <a:uLnTx/>
                  <a:uFillTx/>
                </a:endParaRPr>
              </a:p>
            </p:txBody>
          </p:sp>
          <p:sp>
            <p:nvSpPr>
              <p:cNvPr id="91" name="Freeform 46">
                <a:extLst>
                  <a:ext uri="{FF2B5EF4-FFF2-40B4-BE49-F238E27FC236}">
                    <a16:creationId xmlns:a16="http://schemas.microsoft.com/office/drawing/2014/main" id="{AF6D02BE-CD26-4530-A645-D4786D63FB24}"/>
                  </a:ext>
                </a:extLst>
              </p:cNvPr>
              <p:cNvSpPr>
                <a:spLocks/>
              </p:cNvSpPr>
              <p:nvPr/>
            </p:nvSpPr>
            <p:spPr bwMode="auto">
              <a:xfrm>
                <a:off x="9456935" y="5170684"/>
                <a:ext cx="376238" cy="444499"/>
              </a:xfrm>
              <a:custGeom>
                <a:avLst/>
                <a:gdLst>
                  <a:gd name="T0" fmla="*/ 126 w 126"/>
                  <a:gd name="T1" fmla="*/ 127 h 137"/>
                  <a:gd name="T2" fmla="*/ 117 w 126"/>
                  <a:gd name="T3" fmla="*/ 137 h 137"/>
                  <a:gd name="T4" fmla="*/ 9 w 126"/>
                  <a:gd name="T5" fmla="*/ 137 h 137"/>
                  <a:gd name="T6" fmla="*/ 0 w 126"/>
                  <a:gd name="T7" fmla="*/ 127 h 137"/>
                  <a:gd name="T8" fmla="*/ 0 w 126"/>
                  <a:gd name="T9" fmla="*/ 9 h 137"/>
                  <a:gd name="T10" fmla="*/ 9 w 126"/>
                  <a:gd name="T11" fmla="*/ 0 h 137"/>
                  <a:gd name="T12" fmla="*/ 117 w 126"/>
                  <a:gd name="T13" fmla="*/ 0 h 137"/>
                  <a:gd name="T14" fmla="*/ 126 w 126"/>
                  <a:gd name="T15" fmla="*/ 9 h 137"/>
                  <a:gd name="T16" fmla="*/ 126 w 126"/>
                  <a:gd name="T17"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7">
                    <a:moveTo>
                      <a:pt x="126" y="127"/>
                    </a:moveTo>
                    <a:cubicBezTo>
                      <a:pt x="126" y="133"/>
                      <a:pt x="122" y="137"/>
                      <a:pt x="117" y="137"/>
                    </a:cubicBezTo>
                    <a:cubicBezTo>
                      <a:pt x="9" y="137"/>
                      <a:pt x="9" y="137"/>
                      <a:pt x="9" y="137"/>
                    </a:cubicBezTo>
                    <a:cubicBezTo>
                      <a:pt x="4" y="137"/>
                      <a:pt x="0" y="133"/>
                      <a:pt x="0" y="127"/>
                    </a:cubicBezTo>
                    <a:cubicBezTo>
                      <a:pt x="0" y="9"/>
                      <a:pt x="0" y="9"/>
                      <a:pt x="0" y="9"/>
                    </a:cubicBezTo>
                    <a:cubicBezTo>
                      <a:pt x="0" y="4"/>
                      <a:pt x="4" y="0"/>
                      <a:pt x="9" y="0"/>
                    </a:cubicBezTo>
                    <a:cubicBezTo>
                      <a:pt x="117" y="0"/>
                      <a:pt x="117" y="0"/>
                      <a:pt x="117" y="0"/>
                    </a:cubicBezTo>
                    <a:cubicBezTo>
                      <a:pt x="122" y="0"/>
                      <a:pt x="126" y="4"/>
                      <a:pt x="126" y="9"/>
                    </a:cubicBezTo>
                    <a:lnTo>
                      <a:pt x="126" y="127"/>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normalizeH="0" noProof="0">
                  <a:ln w="12700">
                    <a:solidFill>
                      <a:srgbClr val="353535"/>
                    </a:solidFill>
                  </a:ln>
                  <a:solidFill>
                    <a:srgbClr val="002050"/>
                  </a:solidFill>
                  <a:effectLst/>
                  <a:uLnTx/>
                  <a:uFillTx/>
                </a:endParaRPr>
              </a:p>
            </p:txBody>
          </p:sp>
          <p:sp>
            <p:nvSpPr>
              <p:cNvPr id="92" name="Freeform 47">
                <a:extLst>
                  <a:ext uri="{FF2B5EF4-FFF2-40B4-BE49-F238E27FC236}">
                    <a16:creationId xmlns:a16="http://schemas.microsoft.com/office/drawing/2014/main" id="{409672BE-EDC0-4269-B46C-7A30B6D3F1AE}"/>
                  </a:ext>
                </a:extLst>
              </p:cNvPr>
              <p:cNvSpPr>
                <a:spLocks/>
              </p:cNvSpPr>
              <p:nvPr/>
            </p:nvSpPr>
            <p:spPr bwMode="auto">
              <a:xfrm>
                <a:off x="9168011" y="5667570"/>
                <a:ext cx="665163" cy="158751"/>
              </a:xfrm>
              <a:custGeom>
                <a:avLst/>
                <a:gdLst>
                  <a:gd name="T0" fmla="*/ 223 w 223"/>
                  <a:gd name="T1" fmla="*/ 46 h 49"/>
                  <a:gd name="T2" fmla="*/ 208 w 223"/>
                  <a:gd name="T3" fmla="*/ 49 h 49"/>
                  <a:gd name="T4" fmla="*/ 15 w 223"/>
                  <a:gd name="T5" fmla="*/ 49 h 49"/>
                  <a:gd name="T6" fmla="*/ 0 w 223"/>
                  <a:gd name="T7" fmla="*/ 46 h 49"/>
                  <a:gd name="T8" fmla="*/ 0 w 223"/>
                  <a:gd name="T9" fmla="*/ 3 h 49"/>
                  <a:gd name="T10" fmla="*/ 15 w 223"/>
                  <a:gd name="T11" fmla="*/ 0 h 49"/>
                  <a:gd name="T12" fmla="*/ 208 w 223"/>
                  <a:gd name="T13" fmla="*/ 0 h 49"/>
                  <a:gd name="T14" fmla="*/ 223 w 223"/>
                  <a:gd name="T15" fmla="*/ 3 h 49"/>
                  <a:gd name="T16" fmla="*/ 223 w 223"/>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9">
                    <a:moveTo>
                      <a:pt x="223" y="46"/>
                    </a:moveTo>
                    <a:cubicBezTo>
                      <a:pt x="223" y="48"/>
                      <a:pt x="216" y="49"/>
                      <a:pt x="208" y="49"/>
                    </a:cubicBezTo>
                    <a:cubicBezTo>
                      <a:pt x="15" y="49"/>
                      <a:pt x="15" y="49"/>
                      <a:pt x="15" y="49"/>
                    </a:cubicBezTo>
                    <a:cubicBezTo>
                      <a:pt x="7" y="49"/>
                      <a:pt x="0" y="48"/>
                      <a:pt x="0" y="46"/>
                    </a:cubicBezTo>
                    <a:cubicBezTo>
                      <a:pt x="0" y="3"/>
                      <a:pt x="0" y="3"/>
                      <a:pt x="0" y="3"/>
                    </a:cubicBezTo>
                    <a:cubicBezTo>
                      <a:pt x="0" y="1"/>
                      <a:pt x="7" y="0"/>
                      <a:pt x="15" y="0"/>
                    </a:cubicBezTo>
                    <a:cubicBezTo>
                      <a:pt x="208" y="0"/>
                      <a:pt x="208" y="0"/>
                      <a:pt x="208" y="0"/>
                    </a:cubicBezTo>
                    <a:cubicBezTo>
                      <a:pt x="216" y="0"/>
                      <a:pt x="223" y="1"/>
                      <a:pt x="223" y="3"/>
                    </a:cubicBezTo>
                    <a:lnTo>
                      <a:pt x="223" y="46"/>
                    </a:lnTo>
                    <a:close/>
                  </a:path>
                </a:pathLst>
              </a:custGeom>
              <a:noFill/>
              <a:ln w="12700" cap="flat">
                <a:solidFill>
                  <a:srgbClr val="0078D7"/>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normalizeH="0" noProof="0">
                  <a:ln w="12700">
                    <a:solidFill>
                      <a:srgbClr val="353535"/>
                    </a:solidFill>
                  </a:ln>
                  <a:solidFill>
                    <a:srgbClr val="002050"/>
                  </a:solidFill>
                  <a:effectLst/>
                  <a:uLnTx/>
                  <a:uFillTx/>
                </a:endParaRPr>
              </a:p>
            </p:txBody>
          </p:sp>
        </p:grpSp>
      </p:grpSp>
      <p:grpSp>
        <p:nvGrpSpPr>
          <p:cNvPr id="81" name="Group 23">
            <a:extLst>
              <a:ext uri="{FF2B5EF4-FFF2-40B4-BE49-F238E27FC236}">
                <a16:creationId xmlns:a16="http://schemas.microsoft.com/office/drawing/2014/main" id="{9B5CF718-6D21-4943-A1F3-D25D603EEB7E}"/>
              </a:ext>
            </a:extLst>
          </p:cNvPr>
          <p:cNvGrpSpPr>
            <a:grpSpLocks noChangeAspect="1"/>
          </p:cNvGrpSpPr>
          <p:nvPr/>
        </p:nvGrpSpPr>
        <p:grpSpPr bwMode="auto">
          <a:xfrm>
            <a:off x="10451125" y="2729339"/>
            <a:ext cx="748147" cy="643035"/>
            <a:chOff x="3796" y="2099"/>
            <a:chExt cx="242" cy="208"/>
          </a:xfrm>
        </p:grpSpPr>
        <p:sp>
          <p:nvSpPr>
            <p:cNvPr id="82" name="Freeform 24">
              <a:extLst>
                <a:ext uri="{FF2B5EF4-FFF2-40B4-BE49-F238E27FC236}">
                  <a16:creationId xmlns:a16="http://schemas.microsoft.com/office/drawing/2014/main" id="{38B317F5-6843-44EF-BD2F-031292E05747}"/>
                </a:ext>
              </a:extLst>
            </p:cNvPr>
            <p:cNvSpPr>
              <a:spLocks/>
            </p:cNvSpPr>
            <p:nvPr/>
          </p:nvSpPr>
          <p:spPr bwMode="auto">
            <a:xfrm>
              <a:off x="3796" y="2099"/>
              <a:ext cx="242" cy="208"/>
            </a:xfrm>
            <a:custGeom>
              <a:avLst/>
              <a:gdLst>
                <a:gd name="T0" fmla="*/ 0 w 242"/>
                <a:gd name="T1" fmla="*/ 0 h 208"/>
                <a:gd name="T2" fmla="*/ 242 w 242"/>
                <a:gd name="T3" fmla="*/ 0 h 208"/>
                <a:gd name="T4" fmla="*/ 242 w 242"/>
                <a:gd name="T5" fmla="*/ 208 h 208"/>
                <a:gd name="T6" fmla="*/ 0 w 242"/>
                <a:gd name="T7" fmla="*/ 208 h 208"/>
                <a:gd name="T8" fmla="*/ 0 w 242"/>
                <a:gd name="T9" fmla="*/ 0 h 208"/>
                <a:gd name="T10" fmla="*/ 0 w 242"/>
                <a:gd name="T11" fmla="*/ 0 h 208"/>
              </a:gdLst>
              <a:ahLst/>
              <a:cxnLst>
                <a:cxn ang="0">
                  <a:pos x="T0" y="T1"/>
                </a:cxn>
                <a:cxn ang="0">
                  <a:pos x="T2" y="T3"/>
                </a:cxn>
                <a:cxn ang="0">
                  <a:pos x="T4" y="T5"/>
                </a:cxn>
                <a:cxn ang="0">
                  <a:pos x="T6" y="T7"/>
                </a:cxn>
                <a:cxn ang="0">
                  <a:pos x="T8" y="T9"/>
                </a:cxn>
                <a:cxn ang="0">
                  <a:pos x="T10" y="T11"/>
                </a:cxn>
              </a:cxnLst>
              <a:rect l="0" t="0" r="r" b="b"/>
              <a:pathLst>
                <a:path w="242" h="208">
                  <a:moveTo>
                    <a:pt x="0" y="0"/>
                  </a:moveTo>
                  <a:lnTo>
                    <a:pt x="242" y="0"/>
                  </a:lnTo>
                  <a:lnTo>
                    <a:pt x="242" y="208"/>
                  </a:lnTo>
                  <a:lnTo>
                    <a:pt x="0" y="208"/>
                  </a:lnTo>
                  <a:lnTo>
                    <a:pt x="0" y="0"/>
                  </a:lnTo>
                  <a:lnTo>
                    <a:pt x="0" y="0"/>
                  </a:lnTo>
                  <a:close/>
                </a:path>
              </a:pathLst>
            </a:custGeom>
            <a:noFill/>
            <a:ln w="15875" cap="flat" cmpd="sng" algn="ctr">
              <a:solidFill>
                <a:srgbClr val="0078D7"/>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normalizeH="0" noProof="0">
                <a:ln>
                  <a:noFill/>
                </a:ln>
                <a:solidFill>
                  <a:sysClr val="windowText" lastClr="000000"/>
                </a:solidFill>
                <a:effectLst/>
                <a:uLnTx/>
                <a:uFillTx/>
                <a:latin typeface="Segoe UI Semilight"/>
                <a:ea typeface="+mn-ea"/>
                <a:cs typeface="+mn-cs"/>
              </a:endParaRPr>
            </a:p>
          </p:txBody>
        </p:sp>
        <p:sp>
          <p:nvSpPr>
            <p:cNvPr id="83" name="Line 25">
              <a:extLst>
                <a:ext uri="{FF2B5EF4-FFF2-40B4-BE49-F238E27FC236}">
                  <a16:creationId xmlns:a16="http://schemas.microsoft.com/office/drawing/2014/main" id="{B1C6B8A7-CA32-45CC-ACBB-2CB76D3978D5}"/>
                </a:ext>
              </a:extLst>
            </p:cNvPr>
            <p:cNvSpPr>
              <a:spLocks noChangeShapeType="1"/>
            </p:cNvSpPr>
            <p:nvPr/>
          </p:nvSpPr>
          <p:spPr bwMode="auto">
            <a:xfrm>
              <a:off x="3796" y="2146"/>
              <a:ext cx="242" cy="0"/>
            </a:xfrm>
            <a:prstGeom prst="line">
              <a:avLst/>
            </a:prstGeom>
            <a:noFill/>
            <a:ln w="15875" cap="flat" cmpd="sng" algn="ctr">
              <a:solidFill>
                <a:srgbClr val="0078D7"/>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normalizeH="0" noProof="0">
                <a:ln>
                  <a:noFill/>
                </a:ln>
                <a:solidFill>
                  <a:sysClr val="windowText" lastClr="000000"/>
                </a:solidFill>
                <a:effectLst/>
                <a:uLnTx/>
                <a:uFillTx/>
                <a:latin typeface="Segoe UI Semilight"/>
                <a:ea typeface="+mn-ea"/>
                <a:cs typeface="+mn-cs"/>
              </a:endParaRPr>
            </a:p>
          </p:txBody>
        </p:sp>
        <p:sp>
          <p:nvSpPr>
            <p:cNvPr id="84" name="Oval 26">
              <a:extLst>
                <a:ext uri="{FF2B5EF4-FFF2-40B4-BE49-F238E27FC236}">
                  <a16:creationId xmlns:a16="http://schemas.microsoft.com/office/drawing/2014/main" id="{67186BF7-E0B9-4965-8395-FA5EEE39D51C}"/>
                </a:ext>
              </a:extLst>
            </p:cNvPr>
            <p:cNvSpPr>
              <a:spLocks noChangeArrowheads="1"/>
            </p:cNvSpPr>
            <p:nvPr/>
          </p:nvSpPr>
          <p:spPr bwMode="auto">
            <a:xfrm>
              <a:off x="4005" y="2119"/>
              <a:ext cx="7" cy="7"/>
            </a:xfrm>
            <a:prstGeom prst="ellipse">
              <a:avLst/>
            </a:prstGeom>
            <a:solidFill>
              <a:srgbClr val="FFFFFF"/>
            </a:solidFill>
            <a:ln w="15875" cap="flat" cmpd="sng" algn="ctr">
              <a:solidFill>
                <a:srgbClr val="0078D7"/>
              </a:solidFill>
              <a:prstDash val="solid"/>
              <a:headEnd type="none"/>
              <a:tailEnd type="none"/>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normalizeH="0" noProof="0">
                <a:ln>
                  <a:noFill/>
                </a:ln>
                <a:solidFill>
                  <a:sysClr val="windowText" lastClr="000000"/>
                </a:solidFill>
                <a:effectLst/>
                <a:uLnTx/>
                <a:uFillTx/>
                <a:latin typeface="Segoe UI Semilight"/>
                <a:ea typeface="+mn-ea"/>
                <a:cs typeface="+mn-cs"/>
              </a:endParaRPr>
            </a:p>
          </p:txBody>
        </p:sp>
        <p:sp>
          <p:nvSpPr>
            <p:cNvPr id="85" name="Oval 27">
              <a:extLst>
                <a:ext uri="{FF2B5EF4-FFF2-40B4-BE49-F238E27FC236}">
                  <a16:creationId xmlns:a16="http://schemas.microsoft.com/office/drawing/2014/main" id="{CE90E803-81BB-447F-94F9-118F9DFED5E6}"/>
                </a:ext>
              </a:extLst>
            </p:cNvPr>
            <p:cNvSpPr>
              <a:spLocks noChangeArrowheads="1"/>
            </p:cNvSpPr>
            <p:nvPr/>
          </p:nvSpPr>
          <p:spPr bwMode="auto">
            <a:xfrm>
              <a:off x="3966" y="2119"/>
              <a:ext cx="7" cy="7"/>
            </a:xfrm>
            <a:prstGeom prst="ellipse">
              <a:avLst/>
            </a:prstGeom>
            <a:solidFill>
              <a:srgbClr val="FFFFFF"/>
            </a:solidFill>
            <a:ln w="15875" cap="flat" cmpd="sng" algn="ctr">
              <a:solidFill>
                <a:srgbClr val="0078D7"/>
              </a:solidFill>
              <a:prstDash val="solid"/>
              <a:headEnd type="none"/>
              <a:tailEnd type="none"/>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normalizeH="0" noProof="0">
                <a:ln>
                  <a:noFill/>
                </a:ln>
                <a:solidFill>
                  <a:sysClr val="windowText" lastClr="000000"/>
                </a:solidFill>
                <a:effectLst/>
                <a:uLnTx/>
                <a:uFillTx/>
                <a:latin typeface="Segoe UI Semilight"/>
                <a:ea typeface="+mn-ea"/>
                <a:cs typeface="+mn-cs"/>
              </a:endParaRPr>
            </a:p>
          </p:txBody>
        </p:sp>
        <p:sp>
          <p:nvSpPr>
            <p:cNvPr id="86" name="Oval 28">
              <a:extLst>
                <a:ext uri="{FF2B5EF4-FFF2-40B4-BE49-F238E27FC236}">
                  <a16:creationId xmlns:a16="http://schemas.microsoft.com/office/drawing/2014/main" id="{8D9ADAAF-6917-4A13-9F6A-3304CC2C9E8D}"/>
                </a:ext>
              </a:extLst>
            </p:cNvPr>
            <p:cNvSpPr>
              <a:spLocks noChangeArrowheads="1"/>
            </p:cNvSpPr>
            <p:nvPr/>
          </p:nvSpPr>
          <p:spPr bwMode="auto">
            <a:xfrm>
              <a:off x="3927" y="2119"/>
              <a:ext cx="8" cy="7"/>
            </a:xfrm>
            <a:prstGeom prst="ellipse">
              <a:avLst/>
            </a:prstGeom>
            <a:solidFill>
              <a:srgbClr val="FFFFFF"/>
            </a:solidFill>
            <a:ln w="15875" cap="flat" cmpd="sng" algn="ctr">
              <a:solidFill>
                <a:srgbClr val="0078D7"/>
              </a:solidFill>
              <a:prstDash val="solid"/>
              <a:headEnd type="none"/>
              <a:tailEnd type="none"/>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normalizeH="0" noProof="0">
                <a:ln>
                  <a:noFill/>
                </a:ln>
                <a:solidFill>
                  <a:sysClr val="windowText" lastClr="000000"/>
                </a:solidFill>
                <a:effectLst/>
                <a:uLnTx/>
                <a:uFillTx/>
                <a:latin typeface="Segoe UI Semilight"/>
                <a:ea typeface="+mn-ea"/>
                <a:cs typeface="+mn-cs"/>
              </a:endParaRPr>
            </a:p>
          </p:txBody>
        </p:sp>
      </p:grpSp>
      <p:sp>
        <p:nvSpPr>
          <p:cNvPr id="93" name="Right Brace 92">
            <a:extLst>
              <a:ext uri="{FF2B5EF4-FFF2-40B4-BE49-F238E27FC236}">
                <a16:creationId xmlns:a16="http://schemas.microsoft.com/office/drawing/2014/main" id="{8B576D5B-70CF-4C39-8410-AA5315F03BBF}"/>
              </a:ext>
            </a:extLst>
          </p:cNvPr>
          <p:cNvSpPr/>
          <p:nvPr/>
        </p:nvSpPr>
        <p:spPr>
          <a:xfrm>
            <a:off x="8272655" y="1439105"/>
            <a:ext cx="1757708" cy="5341721"/>
          </a:xfrm>
          <a:prstGeom prst="rightBrace">
            <a:avLst>
              <a:gd name="adj1" fmla="val 49046"/>
              <a:gd name="adj2" fmla="val 50000"/>
            </a:avLst>
          </a:prstGeom>
          <a:noFill/>
          <a:ln w="3175" cap="flat" cmpd="sng" algn="ctr">
            <a:solidFill>
              <a:srgbClr val="0078D7"/>
            </a:solidFill>
            <a:prstDash val="solid"/>
            <a:headEnd type="none"/>
            <a:tailEnd type="none"/>
          </a:ln>
          <a:effectLst/>
        </p:spPr>
        <p:txBody>
          <a:bodyPr rtlCol="0" anchor="ctr"/>
          <a:lstStyle/>
          <a:p>
            <a:pPr algn="ctr"/>
            <a:endParaRPr lang="en-US"/>
          </a:p>
        </p:txBody>
      </p:sp>
      <p:sp>
        <p:nvSpPr>
          <p:cNvPr id="94" name="Rectangle 93">
            <a:extLst>
              <a:ext uri="{FF2B5EF4-FFF2-40B4-BE49-F238E27FC236}">
                <a16:creationId xmlns:a16="http://schemas.microsoft.com/office/drawing/2014/main" id="{F69FD9F2-A4AC-44CD-B2AF-2FC126C7A17C}"/>
              </a:ext>
            </a:extLst>
          </p:cNvPr>
          <p:cNvSpPr/>
          <p:nvPr/>
        </p:nvSpPr>
        <p:spPr bwMode="auto">
          <a:xfrm>
            <a:off x="643193" y="3877520"/>
            <a:ext cx="2406140" cy="49911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Condition: Location">
            <a:extLst>
              <a:ext uri="{FF2B5EF4-FFF2-40B4-BE49-F238E27FC236}">
                <a16:creationId xmlns:a16="http://schemas.microsoft.com/office/drawing/2014/main" id="{8207E7F0-D844-414A-8A98-844C57AD064A}"/>
              </a:ext>
            </a:extLst>
          </p:cNvPr>
          <p:cNvGrpSpPr/>
          <p:nvPr/>
        </p:nvGrpSpPr>
        <p:grpSpPr>
          <a:xfrm>
            <a:off x="2061127" y="4225385"/>
            <a:ext cx="896425" cy="896425"/>
            <a:chOff x="-1490654" y="4458718"/>
            <a:chExt cx="896425" cy="896425"/>
          </a:xfrm>
        </p:grpSpPr>
        <p:sp>
          <p:nvSpPr>
            <p:cNvPr id="96" name="Oval 95">
              <a:extLst>
                <a:ext uri="{FF2B5EF4-FFF2-40B4-BE49-F238E27FC236}">
                  <a16:creationId xmlns:a16="http://schemas.microsoft.com/office/drawing/2014/main" id="{FD36305C-09B5-45FA-8B50-A2AA7EB5B5D6}"/>
                </a:ext>
              </a:extLst>
            </p:cNvPr>
            <p:cNvSpPr/>
            <p:nvPr/>
          </p:nvSpPr>
          <p:spPr bwMode="auto">
            <a:xfrm>
              <a:off x="-1490654" y="4458718"/>
              <a:ext cx="896425" cy="896425"/>
            </a:xfrm>
            <a:prstGeom prst="ellipse">
              <a:avLst/>
            </a:prstGeom>
            <a:solidFill>
              <a:srgbClr val="505050">
                <a:lumMod val="20000"/>
                <a:lumOff val="80000"/>
              </a:srgbClr>
            </a:solidFill>
            <a:ln w="444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529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Freeform 145">
              <a:extLst>
                <a:ext uri="{FF2B5EF4-FFF2-40B4-BE49-F238E27FC236}">
                  <a16:creationId xmlns:a16="http://schemas.microsoft.com/office/drawing/2014/main" id="{5476DDA4-ACF4-4556-86BB-EB7D0FA42981}"/>
                </a:ext>
              </a:extLst>
            </p:cNvPr>
            <p:cNvSpPr>
              <a:spLocks noChangeAspect="1" noEditPoints="1"/>
            </p:cNvSpPr>
            <p:nvPr/>
          </p:nvSpPr>
          <p:spPr bwMode="auto">
            <a:xfrm>
              <a:off x="-1244833" y="4678330"/>
              <a:ext cx="404782" cy="457200"/>
            </a:xfrm>
            <a:custGeom>
              <a:avLst/>
              <a:gdLst>
                <a:gd name="T0" fmla="*/ 94 w 114"/>
                <a:gd name="T1" fmla="*/ 20 h 130"/>
                <a:gd name="T2" fmla="*/ 20 w 114"/>
                <a:gd name="T3" fmla="*/ 20 h 130"/>
                <a:gd name="T4" fmla="*/ 20 w 114"/>
                <a:gd name="T5" fmla="*/ 93 h 130"/>
                <a:gd name="T6" fmla="*/ 57 w 114"/>
                <a:gd name="T7" fmla="*/ 130 h 130"/>
                <a:gd name="T8" fmla="*/ 94 w 114"/>
                <a:gd name="T9" fmla="*/ 93 h 130"/>
                <a:gd name="T10" fmla="*/ 94 w 114"/>
                <a:gd name="T11" fmla="*/ 20 h 130"/>
                <a:gd name="T12" fmla="*/ 57 w 114"/>
                <a:gd name="T13" fmla="*/ 119 h 130"/>
                <a:gd name="T14" fmla="*/ 26 w 114"/>
                <a:gd name="T15" fmla="*/ 88 h 130"/>
                <a:gd name="T16" fmla="*/ 26 w 114"/>
                <a:gd name="T17" fmla="*/ 26 h 130"/>
                <a:gd name="T18" fmla="*/ 88 w 114"/>
                <a:gd name="T19" fmla="*/ 26 h 130"/>
                <a:gd name="T20" fmla="*/ 88 w 114"/>
                <a:gd name="T21" fmla="*/ 88 h 130"/>
                <a:gd name="T22" fmla="*/ 57 w 114"/>
                <a:gd name="T23" fmla="*/ 119 h 130"/>
                <a:gd name="T24" fmla="*/ 80 w 114"/>
                <a:gd name="T25" fmla="*/ 34 h 130"/>
                <a:gd name="T26" fmla="*/ 34 w 114"/>
                <a:gd name="T27" fmla="*/ 34 h 130"/>
                <a:gd name="T28" fmla="*/ 34 w 114"/>
                <a:gd name="T29" fmla="*/ 79 h 130"/>
                <a:gd name="T30" fmla="*/ 80 w 114"/>
                <a:gd name="T31" fmla="*/ 79 h 130"/>
                <a:gd name="T32" fmla="*/ 80 w 114"/>
                <a:gd name="T33" fmla="*/ 34 h 130"/>
                <a:gd name="T34" fmla="*/ 40 w 114"/>
                <a:gd name="T35" fmla="*/ 74 h 130"/>
                <a:gd name="T36" fmla="*/ 40 w 114"/>
                <a:gd name="T37" fmla="*/ 40 h 130"/>
                <a:gd name="T38" fmla="*/ 74 w 114"/>
                <a:gd name="T39" fmla="*/ 40 h 130"/>
                <a:gd name="T40" fmla="*/ 74 w 114"/>
                <a:gd name="T41" fmla="*/ 74 h 130"/>
                <a:gd name="T42" fmla="*/ 40 w 114"/>
                <a:gd name="T43" fmla="*/ 7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30">
                  <a:moveTo>
                    <a:pt x="94" y="20"/>
                  </a:moveTo>
                  <a:cubicBezTo>
                    <a:pt x="74" y="0"/>
                    <a:pt x="41" y="0"/>
                    <a:pt x="20" y="20"/>
                  </a:cubicBezTo>
                  <a:cubicBezTo>
                    <a:pt x="0" y="40"/>
                    <a:pt x="0" y="73"/>
                    <a:pt x="20" y="93"/>
                  </a:cubicBezTo>
                  <a:cubicBezTo>
                    <a:pt x="57" y="130"/>
                    <a:pt x="57" y="130"/>
                    <a:pt x="57" y="130"/>
                  </a:cubicBezTo>
                  <a:cubicBezTo>
                    <a:pt x="94" y="93"/>
                    <a:pt x="94" y="93"/>
                    <a:pt x="94" y="93"/>
                  </a:cubicBezTo>
                  <a:cubicBezTo>
                    <a:pt x="114" y="73"/>
                    <a:pt x="114" y="40"/>
                    <a:pt x="94" y="20"/>
                  </a:cubicBezTo>
                  <a:close/>
                  <a:moveTo>
                    <a:pt x="57" y="119"/>
                  </a:moveTo>
                  <a:cubicBezTo>
                    <a:pt x="26" y="88"/>
                    <a:pt x="26" y="88"/>
                    <a:pt x="26" y="88"/>
                  </a:cubicBezTo>
                  <a:cubicBezTo>
                    <a:pt x="9" y="71"/>
                    <a:pt x="9" y="43"/>
                    <a:pt x="26" y="26"/>
                  </a:cubicBezTo>
                  <a:cubicBezTo>
                    <a:pt x="43" y="8"/>
                    <a:pt x="71" y="8"/>
                    <a:pt x="88" y="26"/>
                  </a:cubicBezTo>
                  <a:cubicBezTo>
                    <a:pt x="105" y="43"/>
                    <a:pt x="105" y="71"/>
                    <a:pt x="88" y="88"/>
                  </a:cubicBezTo>
                  <a:lnTo>
                    <a:pt x="57" y="119"/>
                  </a:lnTo>
                  <a:close/>
                  <a:moveTo>
                    <a:pt x="80" y="34"/>
                  </a:moveTo>
                  <a:cubicBezTo>
                    <a:pt x="67" y="22"/>
                    <a:pt x="47" y="22"/>
                    <a:pt x="34" y="34"/>
                  </a:cubicBezTo>
                  <a:cubicBezTo>
                    <a:pt x="22" y="46"/>
                    <a:pt x="22" y="67"/>
                    <a:pt x="34" y="79"/>
                  </a:cubicBezTo>
                  <a:cubicBezTo>
                    <a:pt x="47" y="92"/>
                    <a:pt x="67" y="92"/>
                    <a:pt x="80" y="79"/>
                  </a:cubicBezTo>
                  <a:cubicBezTo>
                    <a:pt x="92" y="67"/>
                    <a:pt x="92" y="46"/>
                    <a:pt x="80" y="34"/>
                  </a:cubicBezTo>
                  <a:close/>
                  <a:moveTo>
                    <a:pt x="40" y="74"/>
                  </a:moveTo>
                  <a:cubicBezTo>
                    <a:pt x="31" y="64"/>
                    <a:pt x="31" y="49"/>
                    <a:pt x="40" y="40"/>
                  </a:cubicBezTo>
                  <a:cubicBezTo>
                    <a:pt x="50" y="30"/>
                    <a:pt x="65" y="30"/>
                    <a:pt x="74" y="40"/>
                  </a:cubicBezTo>
                  <a:cubicBezTo>
                    <a:pt x="83" y="49"/>
                    <a:pt x="83" y="64"/>
                    <a:pt x="74" y="74"/>
                  </a:cubicBezTo>
                  <a:cubicBezTo>
                    <a:pt x="65" y="83"/>
                    <a:pt x="50" y="83"/>
                    <a:pt x="40" y="74"/>
                  </a:cubicBezTo>
                  <a:close/>
                </a:path>
              </a:pathLst>
            </a:custGeom>
            <a:solidFill>
              <a:schemeClr val="accent4"/>
            </a:solidFill>
            <a:ln w="0">
              <a:solidFill>
                <a:schemeClr val="bg2"/>
              </a:solidFill>
              <a:miter lim="800000"/>
            </a:ln>
          </p:spPr>
          <p:txBody>
            <a:bodyPr vert="horz" wrap="square" lIns="91440" tIns="45720" rIns="91440" bIns="45720" numCol="1" anchor="t" anchorCtr="0" compatLnSpc="1">
              <a:prstTxWarp prst="textNoShape">
                <a:avLst/>
              </a:prstTxWarp>
            </a:bodyPr>
            <a:lstStyle/>
            <a:p>
              <a:endParaRPr lang="en-US"/>
            </a:p>
          </p:txBody>
        </p:sp>
      </p:grpSp>
      <p:grpSp>
        <p:nvGrpSpPr>
          <p:cNvPr id="98" name="Condition: Apps">
            <a:extLst>
              <a:ext uri="{FF2B5EF4-FFF2-40B4-BE49-F238E27FC236}">
                <a16:creationId xmlns:a16="http://schemas.microsoft.com/office/drawing/2014/main" id="{02F22A34-8DA4-48D0-B997-2DF46B053960}"/>
              </a:ext>
            </a:extLst>
          </p:cNvPr>
          <p:cNvGrpSpPr>
            <a:grpSpLocks noChangeAspect="1"/>
          </p:cNvGrpSpPr>
          <p:nvPr/>
        </p:nvGrpSpPr>
        <p:grpSpPr>
          <a:xfrm>
            <a:off x="2453822" y="5104468"/>
            <a:ext cx="896425" cy="896425"/>
            <a:chOff x="10968827" y="1678521"/>
            <a:chExt cx="758952" cy="758953"/>
          </a:xfrm>
        </p:grpSpPr>
        <p:sp>
          <p:nvSpPr>
            <p:cNvPr id="99" name="Oval 98">
              <a:extLst>
                <a:ext uri="{FF2B5EF4-FFF2-40B4-BE49-F238E27FC236}">
                  <a16:creationId xmlns:a16="http://schemas.microsoft.com/office/drawing/2014/main" id="{3FBB331F-B5F4-4B1C-81B2-E8E17F2A4D78}"/>
                </a:ext>
              </a:extLst>
            </p:cNvPr>
            <p:cNvSpPr/>
            <p:nvPr/>
          </p:nvSpPr>
          <p:spPr bwMode="auto">
            <a:xfrm>
              <a:off x="10968827" y="1678521"/>
              <a:ext cx="758952" cy="758953"/>
            </a:xfrm>
            <a:prstGeom prst="ellipse">
              <a:avLst/>
            </a:prstGeom>
            <a:solidFill>
              <a:srgbClr val="505050">
                <a:lumMod val="20000"/>
                <a:lumOff val="80000"/>
              </a:srgbClr>
            </a:solidFill>
            <a:ln w="444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5294"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74FFA80E-5D77-4FFE-BE47-ADAA79FF943B}"/>
                </a:ext>
              </a:extLst>
            </p:cNvPr>
            <p:cNvGrpSpPr/>
            <p:nvPr/>
          </p:nvGrpSpPr>
          <p:grpSpPr>
            <a:xfrm>
              <a:off x="11150726" y="1863657"/>
              <a:ext cx="405343" cy="399538"/>
              <a:chOff x="9168011" y="5170684"/>
              <a:chExt cx="665163" cy="655637"/>
            </a:xfrm>
          </p:grpSpPr>
          <p:sp>
            <p:nvSpPr>
              <p:cNvPr id="101" name="Freeform 44">
                <a:extLst>
                  <a:ext uri="{FF2B5EF4-FFF2-40B4-BE49-F238E27FC236}">
                    <a16:creationId xmlns:a16="http://schemas.microsoft.com/office/drawing/2014/main" id="{36ADD57A-7763-4AFF-B91E-9C4C2C8FD9CE}"/>
                  </a:ext>
                </a:extLst>
              </p:cNvPr>
              <p:cNvSpPr>
                <a:spLocks/>
              </p:cNvSpPr>
              <p:nvPr/>
            </p:nvSpPr>
            <p:spPr bwMode="auto">
              <a:xfrm>
                <a:off x="9168012" y="5170684"/>
                <a:ext cx="244474" cy="266700"/>
              </a:xfrm>
              <a:custGeom>
                <a:avLst/>
                <a:gdLst>
                  <a:gd name="T0" fmla="*/ 82 w 82"/>
                  <a:gd name="T1" fmla="*/ 76 h 82"/>
                  <a:gd name="T2" fmla="*/ 76 w 82"/>
                  <a:gd name="T3" fmla="*/ 82 h 82"/>
                  <a:gd name="T4" fmla="*/ 6 w 82"/>
                  <a:gd name="T5" fmla="*/ 82 h 82"/>
                  <a:gd name="T6" fmla="*/ 0 w 82"/>
                  <a:gd name="T7" fmla="*/ 76 h 82"/>
                  <a:gd name="T8" fmla="*/ 0 w 82"/>
                  <a:gd name="T9" fmla="*/ 5 h 82"/>
                  <a:gd name="T10" fmla="*/ 6 w 82"/>
                  <a:gd name="T11" fmla="*/ 0 h 82"/>
                  <a:gd name="T12" fmla="*/ 76 w 82"/>
                  <a:gd name="T13" fmla="*/ 0 h 82"/>
                  <a:gd name="T14" fmla="*/ 82 w 82"/>
                  <a:gd name="T15" fmla="*/ 5 h 82"/>
                  <a:gd name="T16" fmla="*/ 82 w 82"/>
                  <a:gd name="T1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2">
                    <a:moveTo>
                      <a:pt x="82" y="76"/>
                    </a:moveTo>
                    <a:cubicBezTo>
                      <a:pt x="82" y="79"/>
                      <a:pt x="79" y="82"/>
                      <a:pt x="76" y="82"/>
                    </a:cubicBezTo>
                    <a:cubicBezTo>
                      <a:pt x="6" y="82"/>
                      <a:pt x="6" y="82"/>
                      <a:pt x="6" y="82"/>
                    </a:cubicBezTo>
                    <a:cubicBezTo>
                      <a:pt x="2" y="82"/>
                      <a:pt x="0" y="79"/>
                      <a:pt x="0" y="76"/>
                    </a:cubicBezTo>
                    <a:cubicBezTo>
                      <a:pt x="0" y="5"/>
                      <a:pt x="0" y="5"/>
                      <a:pt x="0" y="5"/>
                    </a:cubicBezTo>
                    <a:cubicBezTo>
                      <a:pt x="0" y="2"/>
                      <a:pt x="2" y="0"/>
                      <a:pt x="6" y="0"/>
                    </a:cubicBezTo>
                    <a:cubicBezTo>
                      <a:pt x="76" y="0"/>
                      <a:pt x="76" y="0"/>
                      <a:pt x="76" y="0"/>
                    </a:cubicBezTo>
                    <a:cubicBezTo>
                      <a:pt x="79" y="0"/>
                      <a:pt x="82" y="2"/>
                      <a:pt x="82" y="5"/>
                    </a:cubicBezTo>
                    <a:lnTo>
                      <a:pt x="82" y="76"/>
                    </a:lnTo>
                    <a:close/>
                  </a:path>
                </a:pathLst>
              </a:custGeom>
              <a:solidFill>
                <a:schemeClr val="accent4"/>
              </a:solidFill>
              <a:ln w="19050" cap="flat">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ln w="12700">
                    <a:solidFill>
                      <a:srgbClr val="505050"/>
                    </a:solidFill>
                  </a:ln>
                  <a:solidFill>
                    <a:srgbClr val="002050"/>
                  </a:solidFill>
                  <a:latin typeface="Segoe UI"/>
                </a:endParaRPr>
              </a:p>
            </p:txBody>
          </p:sp>
          <p:sp>
            <p:nvSpPr>
              <p:cNvPr id="102" name="Freeform 45">
                <a:extLst>
                  <a:ext uri="{FF2B5EF4-FFF2-40B4-BE49-F238E27FC236}">
                    <a16:creationId xmlns:a16="http://schemas.microsoft.com/office/drawing/2014/main" id="{6EA74880-D4B4-4E5F-B716-F6448B81B40C}"/>
                  </a:ext>
                </a:extLst>
              </p:cNvPr>
              <p:cNvSpPr>
                <a:spLocks/>
              </p:cNvSpPr>
              <p:nvPr/>
            </p:nvSpPr>
            <p:spPr bwMode="auto">
              <a:xfrm>
                <a:off x="9168014" y="5481833"/>
                <a:ext cx="244474" cy="133350"/>
              </a:xfrm>
              <a:custGeom>
                <a:avLst/>
                <a:gdLst>
                  <a:gd name="T0" fmla="*/ 82 w 82"/>
                  <a:gd name="T1" fmla="*/ 38 h 41"/>
                  <a:gd name="T2" fmla="*/ 76 w 82"/>
                  <a:gd name="T3" fmla="*/ 41 h 41"/>
                  <a:gd name="T4" fmla="*/ 6 w 82"/>
                  <a:gd name="T5" fmla="*/ 41 h 41"/>
                  <a:gd name="T6" fmla="*/ 0 w 82"/>
                  <a:gd name="T7" fmla="*/ 38 h 41"/>
                  <a:gd name="T8" fmla="*/ 0 w 82"/>
                  <a:gd name="T9" fmla="*/ 3 h 41"/>
                  <a:gd name="T10" fmla="*/ 6 w 82"/>
                  <a:gd name="T11" fmla="*/ 0 h 41"/>
                  <a:gd name="T12" fmla="*/ 76 w 82"/>
                  <a:gd name="T13" fmla="*/ 0 h 41"/>
                  <a:gd name="T14" fmla="*/ 82 w 82"/>
                  <a:gd name="T15" fmla="*/ 3 h 41"/>
                  <a:gd name="T16" fmla="*/ 82 w 82"/>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1">
                    <a:moveTo>
                      <a:pt x="82" y="38"/>
                    </a:moveTo>
                    <a:cubicBezTo>
                      <a:pt x="82" y="39"/>
                      <a:pt x="79" y="41"/>
                      <a:pt x="76" y="41"/>
                    </a:cubicBezTo>
                    <a:cubicBezTo>
                      <a:pt x="6" y="41"/>
                      <a:pt x="6" y="41"/>
                      <a:pt x="6" y="41"/>
                    </a:cubicBezTo>
                    <a:cubicBezTo>
                      <a:pt x="2" y="41"/>
                      <a:pt x="0" y="39"/>
                      <a:pt x="0" y="38"/>
                    </a:cubicBezTo>
                    <a:cubicBezTo>
                      <a:pt x="0" y="3"/>
                      <a:pt x="0" y="3"/>
                      <a:pt x="0" y="3"/>
                    </a:cubicBezTo>
                    <a:cubicBezTo>
                      <a:pt x="0" y="1"/>
                      <a:pt x="2" y="0"/>
                      <a:pt x="6" y="0"/>
                    </a:cubicBezTo>
                    <a:cubicBezTo>
                      <a:pt x="76" y="0"/>
                      <a:pt x="76" y="0"/>
                      <a:pt x="76" y="0"/>
                    </a:cubicBezTo>
                    <a:cubicBezTo>
                      <a:pt x="79" y="0"/>
                      <a:pt x="82" y="1"/>
                      <a:pt x="82" y="3"/>
                    </a:cubicBezTo>
                    <a:lnTo>
                      <a:pt x="82" y="38"/>
                    </a:lnTo>
                    <a:close/>
                  </a:path>
                </a:pathLst>
              </a:custGeom>
              <a:noFill/>
              <a:ln w="1905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ln w="12700">
                    <a:solidFill>
                      <a:srgbClr val="505050"/>
                    </a:solidFill>
                  </a:ln>
                  <a:solidFill>
                    <a:srgbClr val="002050"/>
                  </a:solidFill>
                  <a:latin typeface="Segoe UI"/>
                </a:endParaRPr>
              </a:p>
            </p:txBody>
          </p:sp>
          <p:sp>
            <p:nvSpPr>
              <p:cNvPr id="103" name="Freeform 46">
                <a:extLst>
                  <a:ext uri="{FF2B5EF4-FFF2-40B4-BE49-F238E27FC236}">
                    <a16:creationId xmlns:a16="http://schemas.microsoft.com/office/drawing/2014/main" id="{0B50B9A7-BCD3-4D18-86B4-7EA19C6CB278}"/>
                  </a:ext>
                </a:extLst>
              </p:cNvPr>
              <p:cNvSpPr>
                <a:spLocks/>
              </p:cNvSpPr>
              <p:nvPr/>
            </p:nvSpPr>
            <p:spPr bwMode="auto">
              <a:xfrm>
                <a:off x="9456935" y="5170684"/>
                <a:ext cx="376238" cy="444499"/>
              </a:xfrm>
              <a:custGeom>
                <a:avLst/>
                <a:gdLst>
                  <a:gd name="T0" fmla="*/ 126 w 126"/>
                  <a:gd name="T1" fmla="*/ 127 h 137"/>
                  <a:gd name="T2" fmla="*/ 117 w 126"/>
                  <a:gd name="T3" fmla="*/ 137 h 137"/>
                  <a:gd name="T4" fmla="*/ 9 w 126"/>
                  <a:gd name="T5" fmla="*/ 137 h 137"/>
                  <a:gd name="T6" fmla="*/ 0 w 126"/>
                  <a:gd name="T7" fmla="*/ 127 h 137"/>
                  <a:gd name="T8" fmla="*/ 0 w 126"/>
                  <a:gd name="T9" fmla="*/ 9 h 137"/>
                  <a:gd name="T10" fmla="*/ 9 w 126"/>
                  <a:gd name="T11" fmla="*/ 0 h 137"/>
                  <a:gd name="T12" fmla="*/ 117 w 126"/>
                  <a:gd name="T13" fmla="*/ 0 h 137"/>
                  <a:gd name="T14" fmla="*/ 126 w 126"/>
                  <a:gd name="T15" fmla="*/ 9 h 137"/>
                  <a:gd name="T16" fmla="*/ 126 w 126"/>
                  <a:gd name="T17"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7">
                    <a:moveTo>
                      <a:pt x="126" y="127"/>
                    </a:moveTo>
                    <a:cubicBezTo>
                      <a:pt x="126" y="133"/>
                      <a:pt x="122" y="137"/>
                      <a:pt x="117" y="137"/>
                    </a:cubicBezTo>
                    <a:cubicBezTo>
                      <a:pt x="9" y="137"/>
                      <a:pt x="9" y="137"/>
                      <a:pt x="9" y="137"/>
                    </a:cubicBezTo>
                    <a:cubicBezTo>
                      <a:pt x="4" y="137"/>
                      <a:pt x="0" y="133"/>
                      <a:pt x="0" y="127"/>
                    </a:cubicBezTo>
                    <a:cubicBezTo>
                      <a:pt x="0" y="9"/>
                      <a:pt x="0" y="9"/>
                      <a:pt x="0" y="9"/>
                    </a:cubicBezTo>
                    <a:cubicBezTo>
                      <a:pt x="0" y="4"/>
                      <a:pt x="4" y="0"/>
                      <a:pt x="9" y="0"/>
                    </a:cubicBezTo>
                    <a:cubicBezTo>
                      <a:pt x="117" y="0"/>
                      <a:pt x="117" y="0"/>
                      <a:pt x="117" y="0"/>
                    </a:cubicBezTo>
                    <a:cubicBezTo>
                      <a:pt x="122" y="0"/>
                      <a:pt x="126" y="4"/>
                      <a:pt x="126" y="9"/>
                    </a:cubicBezTo>
                    <a:lnTo>
                      <a:pt x="126" y="127"/>
                    </a:lnTo>
                    <a:close/>
                  </a:path>
                </a:pathLst>
              </a:custGeom>
              <a:noFill/>
              <a:ln w="1905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ln w="12700">
                    <a:solidFill>
                      <a:srgbClr val="505050"/>
                    </a:solidFill>
                  </a:ln>
                  <a:solidFill>
                    <a:srgbClr val="002050"/>
                  </a:solidFill>
                  <a:latin typeface="Segoe UI"/>
                </a:endParaRPr>
              </a:p>
            </p:txBody>
          </p:sp>
          <p:sp>
            <p:nvSpPr>
              <p:cNvPr id="104" name="Freeform 47">
                <a:extLst>
                  <a:ext uri="{FF2B5EF4-FFF2-40B4-BE49-F238E27FC236}">
                    <a16:creationId xmlns:a16="http://schemas.microsoft.com/office/drawing/2014/main" id="{9B38B157-D710-44DE-B4FA-0464496B067F}"/>
                  </a:ext>
                </a:extLst>
              </p:cNvPr>
              <p:cNvSpPr>
                <a:spLocks/>
              </p:cNvSpPr>
              <p:nvPr/>
            </p:nvSpPr>
            <p:spPr bwMode="auto">
              <a:xfrm>
                <a:off x="9168011" y="5667570"/>
                <a:ext cx="665163" cy="158751"/>
              </a:xfrm>
              <a:custGeom>
                <a:avLst/>
                <a:gdLst>
                  <a:gd name="T0" fmla="*/ 223 w 223"/>
                  <a:gd name="T1" fmla="*/ 46 h 49"/>
                  <a:gd name="T2" fmla="*/ 208 w 223"/>
                  <a:gd name="T3" fmla="*/ 49 h 49"/>
                  <a:gd name="T4" fmla="*/ 15 w 223"/>
                  <a:gd name="T5" fmla="*/ 49 h 49"/>
                  <a:gd name="T6" fmla="*/ 0 w 223"/>
                  <a:gd name="T7" fmla="*/ 46 h 49"/>
                  <a:gd name="T8" fmla="*/ 0 w 223"/>
                  <a:gd name="T9" fmla="*/ 3 h 49"/>
                  <a:gd name="T10" fmla="*/ 15 w 223"/>
                  <a:gd name="T11" fmla="*/ 0 h 49"/>
                  <a:gd name="T12" fmla="*/ 208 w 223"/>
                  <a:gd name="T13" fmla="*/ 0 h 49"/>
                  <a:gd name="T14" fmla="*/ 223 w 223"/>
                  <a:gd name="T15" fmla="*/ 3 h 49"/>
                  <a:gd name="T16" fmla="*/ 223 w 223"/>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9">
                    <a:moveTo>
                      <a:pt x="223" y="46"/>
                    </a:moveTo>
                    <a:cubicBezTo>
                      <a:pt x="223" y="48"/>
                      <a:pt x="216" y="49"/>
                      <a:pt x="208" y="49"/>
                    </a:cubicBezTo>
                    <a:cubicBezTo>
                      <a:pt x="15" y="49"/>
                      <a:pt x="15" y="49"/>
                      <a:pt x="15" y="49"/>
                    </a:cubicBezTo>
                    <a:cubicBezTo>
                      <a:pt x="7" y="49"/>
                      <a:pt x="0" y="48"/>
                      <a:pt x="0" y="46"/>
                    </a:cubicBezTo>
                    <a:cubicBezTo>
                      <a:pt x="0" y="3"/>
                      <a:pt x="0" y="3"/>
                      <a:pt x="0" y="3"/>
                    </a:cubicBezTo>
                    <a:cubicBezTo>
                      <a:pt x="0" y="1"/>
                      <a:pt x="7" y="0"/>
                      <a:pt x="15" y="0"/>
                    </a:cubicBezTo>
                    <a:cubicBezTo>
                      <a:pt x="208" y="0"/>
                      <a:pt x="208" y="0"/>
                      <a:pt x="208" y="0"/>
                    </a:cubicBezTo>
                    <a:cubicBezTo>
                      <a:pt x="216" y="0"/>
                      <a:pt x="223" y="1"/>
                      <a:pt x="223" y="3"/>
                    </a:cubicBezTo>
                    <a:lnTo>
                      <a:pt x="223" y="46"/>
                    </a:lnTo>
                    <a:close/>
                  </a:path>
                </a:pathLst>
              </a:custGeom>
              <a:noFill/>
              <a:ln w="19050" cap="flat">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ln w="12700">
                    <a:solidFill>
                      <a:srgbClr val="505050"/>
                    </a:solidFill>
                  </a:ln>
                  <a:solidFill>
                    <a:srgbClr val="002050"/>
                  </a:solidFill>
                  <a:latin typeface="Segoe UI"/>
                </a:endParaRPr>
              </a:p>
            </p:txBody>
          </p:sp>
        </p:grpSp>
      </p:grpSp>
      <p:grpSp>
        <p:nvGrpSpPr>
          <p:cNvPr id="105" name="Condition: Devices">
            <a:extLst>
              <a:ext uri="{FF2B5EF4-FFF2-40B4-BE49-F238E27FC236}">
                <a16:creationId xmlns:a16="http://schemas.microsoft.com/office/drawing/2014/main" id="{6F796BD4-7EBA-431C-8427-6434DA1D5A45}"/>
              </a:ext>
            </a:extLst>
          </p:cNvPr>
          <p:cNvGrpSpPr>
            <a:grpSpLocks noChangeAspect="1"/>
          </p:cNvGrpSpPr>
          <p:nvPr/>
        </p:nvGrpSpPr>
        <p:grpSpPr>
          <a:xfrm>
            <a:off x="2061127" y="3106725"/>
            <a:ext cx="896425" cy="896425"/>
            <a:chOff x="8997947" y="1475843"/>
            <a:chExt cx="1187753" cy="1187753"/>
          </a:xfrm>
        </p:grpSpPr>
        <p:sp>
          <p:nvSpPr>
            <p:cNvPr id="106" name="Oval 105">
              <a:extLst>
                <a:ext uri="{FF2B5EF4-FFF2-40B4-BE49-F238E27FC236}">
                  <a16:creationId xmlns:a16="http://schemas.microsoft.com/office/drawing/2014/main" id="{3C538DC8-CD63-4705-9F0F-17EA3B57E699}"/>
                </a:ext>
              </a:extLst>
            </p:cNvPr>
            <p:cNvSpPr/>
            <p:nvPr/>
          </p:nvSpPr>
          <p:spPr bwMode="auto">
            <a:xfrm>
              <a:off x="8997947" y="1475843"/>
              <a:ext cx="1187753" cy="1187753"/>
            </a:xfrm>
            <a:prstGeom prst="ellipse">
              <a:avLst/>
            </a:prstGeom>
            <a:solidFill>
              <a:srgbClr val="505050">
                <a:lumMod val="20000"/>
                <a:lumOff val="80000"/>
              </a:srgbClr>
            </a:solidFill>
            <a:ln w="444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5294"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D23E2613-E173-40CF-A1D8-A5CF60BB0A17}"/>
                </a:ext>
              </a:extLst>
            </p:cNvPr>
            <p:cNvGrpSpPr/>
            <p:nvPr/>
          </p:nvGrpSpPr>
          <p:grpSpPr>
            <a:xfrm>
              <a:off x="9290152" y="1848014"/>
              <a:ext cx="576390" cy="488371"/>
              <a:chOff x="4947743" y="5339803"/>
              <a:chExt cx="825499" cy="706436"/>
            </a:xfrm>
          </p:grpSpPr>
          <p:sp>
            <p:nvSpPr>
              <p:cNvPr id="108" name="Freeform 5">
                <a:extLst>
                  <a:ext uri="{FF2B5EF4-FFF2-40B4-BE49-F238E27FC236}">
                    <a16:creationId xmlns:a16="http://schemas.microsoft.com/office/drawing/2014/main" id="{CD5B7953-5886-46C6-B7D0-412B306ACCF6}"/>
                  </a:ext>
                </a:extLst>
              </p:cNvPr>
              <p:cNvSpPr>
                <a:spLocks/>
              </p:cNvSpPr>
              <p:nvPr/>
            </p:nvSpPr>
            <p:spPr bwMode="auto">
              <a:xfrm>
                <a:off x="5217618" y="5870026"/>
                <a:ext cx="211136" cy="106364"/>
              </a:xfrm>
              <a:custGeom>
                <a:avLst/>
                <a:gdLst>
                  <a:gd name="T0" fmla="*/ 42 w 48"/>
                  <a:gd name="T1" fmla="*/ 0 h 24"/>
                  <a:gd name="T2" fmla="*/ 42 w 48"/>
                  <a:gd name="T3" fmla="*/ 11 h 24"/>
                  <a:gd name="T4" fmla="*/ 48 w 48"/>
                  <a:gd name="T5" fmla="*/ 22 h 24"/>
                  <a:gd name="T6" fmla="*/ 45 w 48"/>
                  <a:gd name="T7" fmla="*/ 23 h 24"/>
                  <a:gd name="T8" fmla="*/ 3 w 48"/>
                  <a:gd name="T9" fmla="*/ 23 h 24"/>
                  <a:gd name="T10" fmla="*/ 0 w 48"/>
                  <a:gd name="T11" fmla="*/ 22 h 24"/>
                  <a:gd name="T12" fmla="*/ 6 w 48"/>
                  <a:gd name="T13" fmla="*/ 11 h 24"/>
                  <a:gd name="T14" fmla="*/ 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2" y="0"/>
                    </a:moveTo>
                    <a:cubicBezTo>
                      <a:pt x="42" y="11"/>
                      <a:pt x="42" y="11"/>
                      <a:pt x="42" y="11"/>
                    </a:cubicBezTo>
                    <a:cubicBezTo>
                      <a:pt x="48" y="22"/>
                      <a:pt x="48" y="22"/>
                      <a:pt x="48" y="22"/>
                    </a:cubicBezTo>
                    <a:cubicBezTo>
                      <a:pt x="48" y="24"/>
                      <a:pt x="47" y="23"/>
                      <a:pt x="45" y="23"/>
                    </a:cubicBezTo>
                    <a:cubicBezTo>
                      <a:pt x="3" y="23"/>
                      <a:pt x="3" y="23"/>
                      <a:pt x="3" y="23"/>
                    </a:cubicBezTo>
                    <a:cubicBezTo>
                      <a:pt x="1" y="23"/>
                      <a:pt x="0" y="24"/>
                      <a:pt x="0" y="22"/>
                    </a:cubicBezTo>
                    <a:cubicBezTo>
                      <a:pt x="6" y="11"/>
                      <a:pt x="6" y="11"/>
                      <a:pt x="6" y="11"/>
                    </a:cubicBezTo>
                    <a:cubicBezTo>
                      <a:pt x="6" y="0"/>
                      <a:pt x="6" y="0"/>
                      <a:pt x="6" y="0"/>
                    </a:cubicBezTo>
                  </a:path>
                </a:pathLst>
              </a:custGeom>
              <a:noFill/>
              <a:ln w="1905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09" name="Freeform 6">
                <a:extLst>
                  <a:ext uri="{FF2B5EF4-FFF2-40B4-BE49-F238E27FC236}">
                    <a16:creationId xmlns:a16="http://schemas.microsoft.com/office/drawing/2014/main" id="{CA2544CB-6789-41C5-9A71-5A99CC8AA1B6}"/>
                  </a:ext>
                </a:extLst>
              </p:cNvPr>
              <p:cNvSpPr>
                <a:spLocks/>
              </p:cNvSpPr>
              <p:nvPr/>
            </p:nvSpPr>
            <p:spPr bwMode="auto">
              <a:xfrm>
                <a:off x="4947743" y="5339803"/>
                <a:ext cx="742950" cy="531812"/>
              </a:xfrm>
              <a:custGeom>
                <a:avLst/>
                <a:gdLst>
                  <a:gd name="T0" fmla="*/ 118 w 168"/>
                  <a:gd name="T1" fmla="*/ 120 h 120"/>
                  <a:gd name="T2" fmla="*/ 10 w 168"/>
                  <a:gd name="T3" fmla="*/ 120 h 120"/>
                  <a:gd name="T4" fmla="*/ 0 w 168"/>
                  <a:gd name="T5" fmla="*/ 110 h 120"/>
                  <a:gd name="T6" fmla="*/ 0 w 168"/>
                  <a:gd name="T7" fmla="*/ 10 h 120"/>
                  <a:gd name="T8" fmla="*/ 10 w 168"/>
                  <a:gd name="T9" fmla="*/ 0 h 120"/>
                  <a:gd name="T10" fmla="*/ 158 w 168"/>
                  <a:gd name="T11" fmla="*/ 0 h 120"/>
                  <a:gd name="T12" fmla="*/ 168 w 168"/>
                  <a:gd name="T13" fmla="*/ 10 h 120"/>
                  <a:gd name="T14" fmla="*/ 168 w 168"/>
                  <a:gd name="T15" fmla="*/ 29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20">
                    <a:moveTo>
                      <a:pt x="118" y="120"/>
                    </a:moveTo>
                    <a:cubicBezTo>
                      <a:pt x="10" y="120"/>
                      <a:pt x="10" y="120"/>
                      <a:pt x="10" y="120"/>
                    </a:cubicBezTo>
                    <a:cubicBezTo>
                      <a:pt x="4" y="120"/>
                      <a:pt x="0" y="115"/>
                      <a:pt x="0" y="110"/>
                    </a:cubicBezTo>
                    <a:cubicBezTo>
                      <a:pt x="0" y="10"/>
                      <a:pt x="0" y="10"/>
                      <a:pt x="0" y="10"/>
                    </a:cubicBezTo>
                    <a:cubicBezTo>
                      <a:pt x="0" y="4"/>
                      <a:pt x="4" y="0"/>
                      <a:pt x="10" y="0"/>
                    </a:cubicBezTo>
                    <a:cubicBezTo>
                      <a:pt x="158" y="0"/>
                      <a:pt x="158" y="0"/>
                      <a:pt x="158" y="0"/>
                    </a:cubicBezTo>
                    <a:cubicBezTo>
                      <a:pt x="164" y="0"/>
                      <a:pt x="168" y="4"/>
                      <a:pt x="168" y="10"/>
                    </a:cubicBezTo>
                    <a:cubicBezTo>
                      <a:pt x="168" y="29"/>
                      <a:pt x="168" y="29"/>
                      <a:pt x="168" y="29"/>
                    </a:cubicBezTo>
                  </a:path>
                </a:pathLst>
              </a:custGeom>
              <a:noFill/>
              <a:ln w="1905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10" name="Freeform 7">
                <a:extLst>
                  <a:ext uri="{FF2B5EF4-FFF2-40B4-BE49-F238E27FC236}">
                    <a16:creationId xmlns:a16="http://schemas.microsoft.com/office/drawing/2014/main" id="{707600FE-4671-4351-998F-77B526B551E4}"/>
                  </a:ext>
                </a:extLst>
              </p:cNvPr>
              <p:cNvSpPr>
                <a:spLocks/>
              </p:cNvSpPr>
              <p:nvPr/>
            </p:nvSpPr>
            <p:spPr bwMode="auto">
              <a:xfrm>
                <a:off x="4957269" y="5776364"/>
                <a:ext cx="511173" cy="0"/>
              </a:xfrm>
              <a:custGeom>
                <a:avLst/>
                <a:gdLst>
                  <a:gd name="T0" fmla="*/ 0 w 321"/>
                  <a:gd name="T1" fmla="*/ 179 w 321"/>
                  <a:gd name="T2" fmla="*/ 321 w 321"/>
                </a:gdLst>
                <a:ahLst/>
                <a:cxnLst>
                  <a:cxn ang="0">
                    <a:pos x="T0" y="0"/>
                  </a:cxn>
                  <a:cxn ang="0">
                    <a:pos x="T1" y="0"/>
                  </a:cxn>
                  <a:cxn ang="0">
                    <a:pos x="T2" y="0"/>
                  </a:cxn>
                </a:cxnLst>
                <a:rect l="0" t="0" r="r" b="b"/>
                <a:pathLst>
                  <a:path w="321">
                    <a:moveTo>
                      <a:pt x="0" y="0"/>
                    </a:moveTo>
                    <a:lnTo>
                      <a:pt x="179" y="0"/>
                    </a:lnTo>
                    <a:lnTo>
                      <a:pt x="321" y="0"/>
                    </a:lnTo>
                  </a:path>
                </a:pathLst>
              </a:custGeom>
              <a:noFill/>
              <a:ln w="1905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11" name="Freeform 8">
                <a:extLst>
                  <a:ext uri="{FF2B5EF4-FFF2-40B4-BE49-F238E27FC236}">
                    <a16:creationId xmlns:a16="http://schemas.microsoft.com/office/drawing/2014/main" id="{A4064396-CE66-48B3-9174-85A29A79952C}"/>
                  </a:ext>
                </a:extLst>
              </p:cNvPr>
              <p:cNvSpPr>
                <a:spLocks/>
              </p:cNvSpPr>
              <p:nvPr/>
            </p:nvSpPr>
            <p:spPr bwMode="auto">
              <a:xfrm>
                <a:off x="5468442" y="5466803"/>
                <a:ext cx="304800" cy="579436"/>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905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12" name="Line 9">
                <a:extLst>
                  <a:ext uri="{FF2B5EF4-FFF2-40B4-BE49-F238E27FC236}">
                    <a16:creationId xmlns:a16="http://schemas.microsoft.com/office/drawing/2014/main" id="{15CC09DC-B727-49D2-A14F-EF26E22BABAC}"/>
                  </a:ext>
                </a:extLst>
              </p:cNvPr>
              <p:cNvSpPr>
                <a:spLocks noChangeShapeType="1"/>
              </p:cNvSpPr>
              <p:nvPr/>
            </p:nvSpPr>
            <p:spPr bwMode="auto">
              <a:xfrm flipH="1" flipV="1">
                <a:off x="5468442" y="5963690"/>
                <a:ext cx="304800"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13" name="Line 10">
                <a:extLst>
                  <a:ext uri="{FF2B5EF4-FFF2-40B4-BE49-F238E27FC236}">
                    <a16:creationId xmlns:a16="http://schemas.microsoft.com/office/drawing/2014/main" id="{55BB7221-50D0-432E-861B-3F1C656ACF04}"/>
                  </a:ext>
                </a:extLst>
              </p:cNvPr>
              <p:cNvSpPr>
                <a:spLocks noChangeShapeType="1"/>
              </p:cNvSpPr>
              <p:nvPr/>
            </p:nvSpPr>
            <p:spPr bwMode="auto">
              <a:xfrm>
                <a:off x="5468442" y="5543002"/>
                <a:ext cx="304800" cy="4763"/>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grpSp>
      </p:grpSp>
      <p:grpSp>
        <p:nvGrpSpPr>
          <p:cNvPr id="114" name="Condition: Users">
            <a:extLst>
              <a:ext uri="{FF2B5EF4-FFF2-40B4-BE49-F238E27FC236}">
                <a16:creationId xmlns:a16="http://schemas.microsoft.com/office/drawing/2014/main" id="{008ABD0B-C6BA-443B-B433-7CCBB4B91F4A}"/>
              </a:ext>
            </a:extLst>
          </p:cNvPr>
          <p:cNvGrpSpPr/>
          <p:nvPr/>
        </p:nvGrpSpPr>
        <p:grpSpPr>
          <a:xfrm>
            <a:off x="2453822" y="2243142"/>
            <a:ext cx="896425" cy="896425"/>
            <a:chOff x="2389913" y="1545064"/>
            <a:chExt cx="896425" cy="896425"/>
          </a:xfrm>
        </p:grpSpPr>
        <p:sp>
          <p:nvSpPr>
            <p:cNvPr id="115" name="Oval 114">
              <a:extLst>
                <a:ext uri="{FF2B5EF4-FFF2-40B4-BE49-F238E27FC236}">
                  <a16:creationId xmlns:a16="http://schemas.microsoft.com/office/drawing/2014/main" id="{FD61077D-E489-4243-A7D6-20829808D173}"/>
                </a:ext>
              </a:extLst>
            </p:cNvPr>
            <p:cNvSpPr/>
            <p:nvPr/>
          </p:nvSpPr>
          <p:spPr bwMode="auto">
            <a:xfrm>
              <a:off x="2389913" y="1545064"/>
              <a:ext cx="896425" cy="896425"/>
            </a:xfrm>
            <a:prstGeom prst="ellipse">
              <a:avLst/>
            </a:prstGeom>
            <a:solidFill>
              <a:srgbClr val="505050">
                <a:lumMod val="20000"/>
                <a:lumOff val="80000"/>
              </a:srgbClr>
            </a:solidFill>
            <a:ln w="444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5294"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6" name="Group 115">
              <a:extLst>
                <a:ext uri="{FF2B5EF4-FFF2-40B4-BE49-F238E27FC236}">
                  <a16:creationId xmlns:a16="http://schemas.microsoft.com/office/drawing/2014/main" id="{988C58AE-7477-4747-8288-F73422A00195}"/>
                </a:ext>
              </a:extLst>
            </p:cNvPr>
            <p:cNvGrpSpPr/>
            <p:nvPr/>
          </p:nvGrpSpPr>
          <p:grpSpPr>
            <a:xfrm>
              <a:off x="2677696" y="1796615"/>
              <a:ext cx="320858" cy="381540"/>
              <a:chOff x="6701391" y="5898584"/>
              <a:chExt cx="414034" cy="492343"/>
            </a:xfrm>
          </p:grpSpPr>
          <p:sp>
            <p:nvSpPr>
              <p:cNvPr id="117" name="Freeform 9">
                <a:extLst>
                  <a:ext uri="{FF2B5EF4-FFF2-40B4-BE49-F238E27FC236}">
                    <a16:creationId xmlns:a16="http://schemas.microsoft.com/office/drawing/2014/main" id="{2F7C0035-5FA1-402B-BC11-19FB95A99AD3}"/>
                  </a:ext>
                </a:extLst>
              </p:cNvPr>
              <p:cNvSpPr>
                <a:spLocks/>
              </p:cNvSpPr>
              <p:nvPr/>
            </p:nvSpPr>
            <p:spPr bwMode="auto">
              <a:xfrm>
                <a:off x="6701391" y="6188868"/>
                <a:ext cx="414034" cy="202059"/>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118" name="Oval 117">
                <a:extLst>
                  <a:ext uri="{FF2B5EF4-FFF2-40B4-BE49-F238E27FC236}">
                    <a16:creationId xmlns:a16="http://schemas.microsoft.com/office/drawing/2014/main" id="{B8AEF139-0F4F-4F64-855D-7A12F1AA8CF5}"/>
                  </a:ext>
                </a:extLst>
              </p:cNvPr>
              <p:cNvSpPr>
                <a:spLocks noChangeArrowheads="1"/>
              </p:cNvSpPr>
              <p:nvPr/>
            </p:nvSpPr>
            <p:spPr bwMode="auto">
              <a:xfrm>
                <a:off x="6761604" y="5898584"/>
                <a:ext cx="293586" cy="290227"/>
              </a:xfrm>
              <a:prstGeom prst="ellipse">
                <a:avLst/>
              </a:prstGeom>
              <a:noFill/>
              <a:ln w="12700" cap="flat">
                <a:solidFill>
                  <a:schemeClr val="accent4"/>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1836"/>
              </a:p>
            </p:txBody>
          </p:sp>
        </p:grpSp>
      </p:grpSp>
      <p:sp>
        <p:nvSpPr>
          <p:cNvPr id="119" name="Oval 118">
            <a:extLst>
              <a:ext uri="{FF2B5EF4-FFF2-40B4-BE49-F238E27FC236}">
                <a16:creationId xmlns:a16="http://schemas.microsoft.com/office/drawing/2014/main" id="{4D73626C-4791-40D7-B394-227BE32CAEC3}"/>
              </a:ext>
            </a:extLst>
          </p:cNvPr>
          <p:cNvSpPr/>
          <p:nvPr/>
        </p:nvSpPr>
        <p:spPr bwMode="auto">
          <a:xfrm>
            <a:off x="2938444" y="2165231"/>
            <a:ext cx="3930268" cy="3930044"/>
          </a:xfrm>
          <a:prstGeom prst="ellipse">
            <a:avLst/>
          </a:prstGeom>
          <a:noFill/>
          <a:ln w="228600" cap="flat" cmpd="sng" algn="ctr">
            <a:solidFill>
              <a:srgbClr val="0078D7"/>
            </a:solidFill>
            <a:prstDash val="solid"/>
            <a:headEnd type="none"/>
            <a:tailEnd type="none"/>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0" name="Policy Result">
            <a:extLst>
              <a:ext uri="{FF2B5EF4-FFF2-40B4-BE49-F238E27FC236}">
                <a16:creationId xmlns:a16="http://schemas.microsoft.com/office/drawing/2014/main" id="{4313C2A1-DC49-48F5-87B6-475E37ADBDF0}"/>
              </a:ext>
            </a:extLst>
          </p:cNvPr>
          <p:cNvGrpSpPr/>
          <p:nvPr/>
        </p:nvGrpSpPr>
        <p:grpSpPr>
          <a:xfrm>
            <a:off x="5079356" y="4771686"/>
            <a:ext cx="540042" cy="540696"/>
            <a:chOff x="4912910" y="3539396"/>
            <a:chExt cx="640080" cy="640853"/>
          </a:xfrm>
        </p:grpSpPr>
        <p:sp>
          <p:nvSpPr>
            <p:cNvPr id="121" name="Oval 120">
              <a:extLst>
                <a:ext uri="{FF2B5EF4-FFF2-40B4-BE49-F238E27FC236}">
                  <a16:creationId xmlns:a16="http://schemas.microsoft.com/office/drawing/2014/main" id="{10A12C66-BC79-492F-A7D3-CE66040E0EF4}"/>
                </a:ext>
              </a:extLst>
            </p:cNvPr>
            <p:cNvSpPr/>
            <p:nvPr/>
          </p:nvSpPr>
          <p:spPr bwMode="auto">
            <a:xfrm>
              <a:off x="4912910" y="3539782"/>
              <a:ext cx="640080" cy="6400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122" name="Group 155">
              <a:extLst>
                <a:ext uri="{FF2B5EF4-FFF2-40B4-BE49-F238E27FC236}">
                  <a16:creationId xmlns:a16="http://schemas.microsoft.com/office/drawing/2014/main" id="{34AB36A6-B01F-4279-B997-F8A9B10E430C}"/>
                </a:ext>
              </a:extLst>
            </p:cNvPr>
            <p:cNvGrpSpPr>
              <a:grpSpLocks noChangeAspect="1"/>
            </p:cNvGrpSpPr>
            <p:nvPr/>
          </p:nvGrpSpPr>
          <p:grpSpPr bwMode="auto">
            <a:xfrm>
              <a:off x="4912910" y="3539396"/>
              <a:ext cx="640080" cy="640853"/>
              <a:chOff x="5006" y="757"/>
              <a:chExt cx="828" cy="829"/>
            </a:xfrm>
            <a:solidFill>
              <a:schemeClr val="accent4"/>
            </a:solidFill>
          </p:grpSpPr>
          <p:sp>
            <p:nvSpPr>
              <p:cNvPr id="123" name="Freeform 156">
                <a:extLst>
                  <a:ext uri="{FF2B5EF4-FFF2-40B4-BE49-F238E27FC236}">
                    <a16:creationId xmlns:a16="http://schemas.microsoft.com/office/drawing/2014/main" id="{D93F6663-3639-47B8-A1D3-CC09AC9CBAC0}"/>
                  </a:ext>
                </a:extLst>
              </p:cNvPr>
              <p:cNvSpPr>
                <a:spLocks noEditPoints="1"/>
              </p:cNvSpPr>
              <p:nvPr/>
            </p:nvSpPr>
            <p:spPr bwMode="auto">
              <a:xfrm>
                <a:off x="5006" y="757"/>
                <a:ext cx="828" cy="829"/>
              </a:xfrm>
              <a:custGeom>
                <a:avLst/>
                <a:gdLst>
                  <a:gd name="T0" fmla="*/ 1567 w 3135"/>
                  <a:gd name="T1" fmla="*/ 25 h 3135"/>
                  <a:gd name="T2" fmla="*/ 1567 w 3135"/>
                  <a:gd name="T3" fmla="*/ 25 h 3135"/>
                  <a:gd name="T4" fmla="*/ 26 w 3135"/>
                  <a:gd name="T5" fmla="*/ 1567 h 3135"/>
                  <a:gd name="T6" fmla="*/ 1567 w 3135"/>
                  <a:gd name="T7" fmla="*/ 3108 h 3135"/>
                  <a:gd name="T8" fmla="*/ 3109 w 3135"/>
                  <a:gd name="T9" fmla="*/ 1567 h 3135"/>
                  <a:gd name="T10" fmla="*/ 1567 w 3135"/>
                  <a:gd name="T11" fmla="*/ 25 h 3135"/>
                  <a:gd name="T12" fmla="*/ 1567 w 3135"/>
                  <a:gd name="T13" fmla="*/ 3135 h 3135"/>
                  <a:gd name="T14" fmla="*/ 1567 w 3135"/>
                  <a:gd name="T15" fmla="*/ 3135 h 3135"/>
                  <a:gd name="T16" fmla="*/ 0 w 3135"/>
                  <a:gd name="T17" fmla="*/ 1567 h 3135"/>
                  <a:gd name="T18" fmla="*/ 1567 w 3135"/>
                  <a:gd name="T19" fmla="*/ 0 h 3135"/>
                  <a:gd name="T20" fmla="*/ 3135 w 3135"/>
                  <a:gd name="T21" fmla="*/ 1567 h 3135"/>
                  <a:gd name="T22" fmla="*/ 1567 w 3135"/>
                  <a:gd name="T23" fmla="*/ 3135 h 3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5" h="3135">
                    <a:moveTo>
                      <a:pt x="1567" y="25"/>
                    </a:moveTo>
                    <a:lnTo>
                      <a:pt x="1567" y="25"/>
                    </a:lnTo>
                    <a:cubicBezTo>
                      <a:pt x="718" y="25"/>
                      <a:pt x="26" y="717"/>
                      <a:pt x="26" y="1567"/>
                    </a:cubicBezTo>
                    <a:cubicBezTo>
                      <a:pt x="26" y="2416"/>
                      <a:pt x="718" y="3108"/>
                      <a:pt x="1567" y="3108"/>
                    </a:cubicBezTo>
                    <a:cubicBezTo>
                      <a:pt x="2417" y="3108"/>
                      <a:pt x="3109" y="2416"/>
                      <a:pt x="3109" y="1567"/>
                    </a:cubicBezTo>
                    <a:cubicBezTo>
                      <a:pt x="3109" y="717"/>
                      <a:pt x="2417" y="25"/>
                      <a:pt x="1567" y="25"/>
                    </a:cubicBezTo>
                    <a:close/>
                    <a:moveTo>
                      <a:pt x="1567" y="3135"/>
                    </a:moveTo>
                    <a:lnTo>
                      <a:pt x="1567" y="3135"/>
                    </a:lnTo>
                    <a:cubicBezTo>
                      <a:pt x="703" y="3135"/>
                      <a:pt x="0" y="2431"/>
                      <a:pt x="0" y="1567"/>
                    </a:cubicBezTo>
                    <a:cubicBezTo>
                      <a:pt x="0" y="702"/>
                      <a:pt x="703" y="0"/>
                      <a:pt x="1567" y="0"/>
                    </a:cubicBezTo>
                    <a:cubicBezTo>
                      <a:pt x="2432" y="0"/>
                      <a:pt x="3135" y="702"/>
                      <a:pt x="3135" y="1567"/>
                    </a:cubicBezTo>
                    <a:cubicBezTo>
                      <a:pt x="3135" y="2431"/>
                      <a:pt x="2432" y="3135"/>
                      <a:pt x="1567" y="3135"/>
                    </a:cubicBezTo>
                    <a:close/>
                  </a:path>
                </a:pathLst>
              </a:custGeom>
              <a:grpFill/>
              <a:ln w="9525">
                <a:solidFill>
                  <a:schemeClr val="accent4"/>
                </a:solid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124" name="Freeform 157">
                <a:extLst>
                  <a:ext uri="{FF2B5EF4-FFF2-40B4-BE49-F238E27FC236}">
                    <a16:creationId xmlns:a16="http://schemas.microsoft.com/office/drawing/2014/main" id="{33E6E905-DD5D-4C9D-AB8B-A58B5DCE0A00}"/>
                  </a:ext>
                </a:extLst>
              </p:cNvPr>
              <p:cNvSpPr>
                <a:spLocks/>
              </p:cNvSpPr>
              <p:nvPr/>
            </p:nvSpPr>
            <p:spPr bwMode="auto">
              <a:xfrm>
                <a:off x="5235" y="934"/>
                <a:ext cx="381" cy="479"/>
              </a:xfrm>
              <a:custGeom>
                <a:avLst/>
                <a:gdLst>
                  <a:gd name="T0" fmla="*/ 1357 w 1440"/>
                  <a:gd name="T1" fmla="*/ 1813 h 1813"/>
                  <a:gd name="T2" fmla="*/ 1357 w 1440"/>
                  <a:gd name="T3" fmla="*/ 1813 h 1813"/>
                  <a:gd name="T4" fmla="*/ 79 w 1440"/>
                  <a:gd name="T5" fmla="*/ 1813 h 1813"/>
                  <a:gd name="T6" fmla="*/ 0 w 1440"/>
                  <a:gd name="T7" fmla="*/ 1730 h 1813"/>
                  <a:gd name="T8" fmla="*/ 0 w 1440"/>
                  <a:gd name="T9" fmla="*/ 81 h 1813"/>
                  <a:gd name="T10" fmla="*/ 79 w 1440"/>
                  <a:gd name="T11" fmla="*/ 0 h 1813"/>
                  <a:gd name="T12" fmla="*/ 573 w 1440"/>
                  <a:gd name="T13" fmla="*/ 0 h 1813"/>
                  <a:gd name="T14" fmla="*/ 573 w 1440"/>
                  <a:gd name="T15" fmla="*/ 27 h 1813"/>
                  <a:gd name="T16" fmla="*/ 79 w 1440"/>
                  <a:gd name="T17" fmla="*/ 27 h 1813"/>
                  <a:gd name="T18" fmla="*/ 27 w 1440"/>
                  <a:gd name="T19" fmla="*/ 81 h 1813"/>
                  <a:gd name="T20" fmla="*/ 27 w 1440"/>
                  <a:gd name="T21" fmla="*/ 1730 h 1813"/>
                  <a:gd name="T22" fmla="*/ 79 w 1440"/>
                  <a:gd name="T23" fmla="*/ 1787 h 1813"/>
                  <a:gd name="T24" fmla="*/ 1357 w 1440"/>
                  <a:gd name="T25" fmla="*/ 1787 h 1813"/>
                  <a:gd name="T26" fmla="*/ 1413 w 1440"/>
                  <a:gd name="T27" fmla="*/ 1730 h 1813"/>
                  <a:gd name="T28" fmla="*/ 1413 w 1440"/>
                  <a:gd name="T29" fmla="*/ 81 h 1813"/>
                  <a:gd name="T30" fmla="*/ 1357 w 1440"/>
                  <a:gd name="T31" fmla="*/ 27 h 1813"/>
                  <a:gd name="T32" fmla="*/ 853 w 1440"/>
                  <a:gd name="T33" fmla="*/ 27 h 1813"/>
                  <a:gd name="T34" fmla="*/ 853 w 1440"/>
                  <a:gd name="T35" fmla="*/ 0 h 1813"/>
                  <a:gd name="T36" fmla="*/ 1357 w 1440"/>
                  <a:gd name="T37" fmla="*/ 0 h 1813"/>
                  <a:gd name="T38" fmla="*/ 1440 w 1440"/>
                  <a:gd name="T39" fmla="*/ 81 h 1813"/>
                  <a:gd name="T40" fmla="*/ 1440 w 1440"/>
                  <a:gd name="T41" fmla="*/ 1730 h 1813"/>
                  <a:gd name="T42" fmla="*/ 1357 w 1440"/>
                  <a:gd name="T43" fmla="*/ 1813 h 1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0" h="1813">
                    <a:moveTo>
                      <a:pt x="1357" y="1813"/>
                    </a:moveTo>
                    <a:lnTo>
                      <a:pt x="1357" y="1813"/>
                    </a:lnTo>
                    <a:lnTo>
                      <a:pt x="79" y="1813"/>
                    </a:lnTo>
                    <a:cubicBezTo>
                      <a:pt x="37" y="1813"/>
                      <a:pt x="0" y="1774"/>
                      <a:pt x="0" y="1730"/>
                    </a:cubicBezTo>
                    <a:lnTo>
                      <a:pt x="0" y="81"/>
                    </a:lnTo>
                    <a:cubicBezTo>
                      <a:pt x="0" y="38"/>
                      <a:pt x="37" y="0"/>
                      <a:pt x="79" y="0"/>
                    </a:cubicBezTo>
                    <a:lnTo>
                      <a:pt x="573" y="0"/>
                    </a:lnTo>
                    <a:lnTo>
                      <a:pt x="573" y="27"/>
                    </a:lnTo>
                    <a:lnTo>
                      <a:pt x="79" y="27"/>
                    </a:lnTo>
                    <a:cubicBezTo>
                      <a:pt x="52" y="27"/>
                      <a:pt x="27" y="53"/>
                      <a:pt x="27" y="81"/>
                    </a:cubicBezTo>
                    <a:lnTo>
                      <a:pt x="27" y="1730"/>
                    </a:lnTo>
                    <a:cubicBezTo>
                      <a:pt x="27" y="1758"/>
                      <a:pt x="52" y="1787"/>
                      <a:pt x="79" y="1787"/>
                    </a:cubicBezTo>
                    <a:lnTo>
                      <a:pt x="1357" y="1787"/>
                    </a:lnTo>
                    <a:cubicBezTo>
                      <a:pt x="1385" y="1787"/>
                      <a:pt x="1413" y="1757"/>
                      <a:pt x="1413" y="1730"/>
                    </a:cubicBezTo>
                    <a:lnTo>
                      <a:pt x="1413" y="81"/>
                    </a:lnTo>
                    <a:cubicBezTo>
                      <a:pt x="1413" y="54"/>
                      <a:pt x="1385" y="27"/>
                      <a:pt x="1357" y="27"/>
                    </a:cubicBezTo>
                    <a:lnTo>
                      <a:pt x="853" y="27"/>
                    </a:lnTo>
                    <a:lnTo>
                      <a:pt x="853" y="0"/>
                    </a:lnTo>
                    <a:lnTo>
                      <a:pt x="1357" y="0"/>
                    </a:lnTo>
                    <a:cubicBezTo>
                      <a:pt x="1400" y="0"/>
                      <a:pt x="1440" y="39"/>
                      <a:pt x="1440" y="81"/>
                    </a:cubicBezTo>
                    <a:lnTo>
                      <a:pt x="1440" y="1730"/>
                    </a:lnTo>
                    <a:cubicBezTo>
                      <a:pt x="1440" y="1773"/>
                      <a:pt x="1400" y="1813"/>
                      <a:pt x="1357" y="1813"/>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125" name="Freeform 158">
                <a:extLst>
                  <a:ext uri="{FF2B5EF4-FFF2-40B4-BE49-F238E27FC236}">
                    <a16:creationId xmlns:a16="http://schemas.microsoft.com/office/drawing/2014/main" id="{9CF22267-426B-4D8E-B7A1-6DF566256A54}"/>
                  </a:ext>
                </a:extLst>
              </p:cNvPr>
              <p:cNvSpPr>
                <a:spLocks/>
              </p:cNvSpPr>
              <p:nvPr/>
            </p:nvSpPr>
            <p:spPr bwMode="auto">
              <a:xfrm>
                <a:off x="5267" y="980"/>
                <a:ext cx="314" cy="401"/>
              </a:xfrm>
              <a:custGeom>
                <a:avLst/>
                <a:gdLst>
                  <a:gd name="T0" fmla="*/ 1173 w 1187"/>
                  <a:gd name="T1" fmla="*/ 1520 h 1520"/>
                  <a:gd name="T2" fmla="*/ 1173 w 1187"/>
                  <a:gd name="T3" fmla="*/ 1520 h 1520"/>
                  <a:gd name="T4" fmla="*/ 13 w 1187"/>
                  <a:gd name="T5" fmla="*/ 1520 h 1520"/>
                  <a:gd name="T6" fmla="*/ 0 w 1187"/>
                  <a:gd name="T7" fmla="*/ 1507 h 1520"/>
                  <a:gd name="T8" fmla="*/ 0 w 1187"/>
                  <a:gd name="T9" fmla="*/ 14 h 1520"/>
                  <a:gd name="T10" fmla="*/ 13 w 1187"/>
                  <a:gd name="T11" fmla="*/ 0 h 1520"/>
                  <a:gd name="T12" fmla="*/ 133 w 1187"/>
                  <a:gd name="T13" fmla="*/ 0 h 1520"/>
                  <a:gd name="T14" fmla="*/ 133 w 1187"/>
                  <a:gd name="T15" fmla="*/ 27 h 1520"/>
                  <a:gd name="T16" fmla="*/ 27 w 1187"/>
                  <a:gd name="T17" fmla="*/ 27 h 1520"/>
                  <a:gd name="T18" fmla="*/ 27 w 1187"/>
                  <a:gd name="T19" fmla="*/ 1494 h 1520"/>
                  <a:gd name="T20" fmla="*/ 1160 w 1187"/>
                  <a:gd name="T21" fmla="*/ 1494 h 1520"/>
                  <a:gd name="T22" fmla="*/ 1160 w 1187"/>
                  <a:gd name="T23" fmla="*/ 27 h 1520"/>
                  <a:gd name="T24" fmla="*/ 1053 w 1187"/>
                  <a:gd name="T25" fmla="*/ 27 h 1520"/>
                  <a:gd name="T26" fmla="*/ 1053 w 1187"/>
                  <a:gd name="T27" fmla="*/ 0 h 1520"/>
                  <a:gd name="T28" fmla="*/ 1173 w 1187"/>
                  <a:gd name="T29" fmla="*/ 0 h 1520"/>
                  <a:gd name="T30" fmla="*/ 1187 w 1187"/>
                  <a:gd name="T31" fmla="*/ 14 h 1520"/>
                  <a:gd name="T32" fmla="*/ 1187 w 1187"/>
                  <a:gd name="T33" fmla="*/ 1507 h 1520"/>
                  <a:gd name="T34" fmla="*/ 1173 w 1187"/>
                  <a:gd name="T35" fmla="*/ 152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7" h="1520">
                    <a:moveTo>
                      <a:pt x="1173" y="1520"/>
                    </a:moveTo>
                    <a:lnTo>
                      <a:pt x="1173" y="1520"/>
                    </a:lnTo>
                    <a:lnTo>
                      <a:pt x="13" y="1520"/>
                    </a:lnTo>
                    <a:cubicBezTo>
                      <a:pt x="6" y="1520"/>
                      <a:pt x="0" y="1514"/>
                      <a:pt x="0" y="1507"/>
                    </a:cubicBezTo>
                    <a:lnTo>
                      <a:pt x="0" y="14"/>
                    </a:lnTo>
                    <a:cubicBezTo>
                      <a:pt x="0" y="6"/>
                      <a:pt x="6" y="0"/>
                      <a:pt x="13" y="0"/>
                    </a:cubicBezTo>
                    <a:lnTo>
                      <a:pt x="133" y="0"/>
                    </a:lnTo>
                    <a:lnTo>
                      <a:pt x="133" y="27"/>
                    </a:lnTo>
                    <a:lnTo>
                      <a:pt x="27" y="27"/>
                    </a:lnTo>
                    <a:lnTo>
                      <a:pt x="27" y="1494"/>
                    </a:lnTo>
                    <a:lnTo>
                      <a:pt x="1160" y="1494"/>
                    </a:lnTo>
                    <a:lnTo>
                      <a:pt x="1160" y="27"/>
                    </a:lnTo>
                    <a:lnTo>
                      <a:pt x="1053" y="27"/>
                    </a:lnTo>
                    <a:lnTo>
                      <a:pt x="1053" y="0"/>
                    </a:lnTo>
                    <a:lnTo>
                      <a:pt x="1173" y="0"/>
                    </a:lnTo>
                    <a:cubicBezTo>
                      <a:pt x="1181" y="0"/>
                      <a:pt x="1187" y="6"/>
                      <a:pt x="1187" y="14"/>
                    </a:cubicBezTo>
                    <a:lnTo>
                      <a:pt x="1187" y="1507"/>
                    </a:lnTo>
                    <a:cubicBezTo>
                      <a:pt x="1187" y="1514"/>
                      <a:pt x="1181" y="1520"/>
                      <a:pt x="1173" y="152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126" name="Freeform 159">
                <a:extLst>
                  <a:ext uri="{FF2B5EF4-FFF2-40B4-BE49-F238E27FC236}">
                    <a16:creationId xmlns:a16="http://schemas.microsoft.com/office/drawing/2014/main" id="{119FEAD7-6D1D-49CB-8A63-7714267E1C91}"/>
                  </a:ext>
                </a:extLst>
              </p:cNvPr>
              <p:cNvSpPr>
                <a:spLocks noEditPoints="1"/>
              </p:cNvSpPr>
              <p:nvPr/>
            </p:nvSpPr>
            <p:spPr bwMode="auto">
              <a:xfrm>
                <a:off x="5299" y="917"/>
                <a:ext cx="250" cy="91"/>
              </a:xfrm>
              <a:custGeom>
                <a:avLst/>
                <a:gdLst>
                  <a:gd name="T0" fmla="*/ 478 w 947"/>
                  <a:gd name="T1" fmla="*/ 122 h 344"/>
                  <a:gd name="T2" fmla="*/ 478 w 947"/>
                  <a:gd name="T3" fmla="*/ 122 h 344"/>
                  <a:gd name="T4" fmla="*/ 442 w 947"/>
                  <a:gd name="T5" fmla="*/ 158 h 344"/>
                  <a:gd name="T6" fmla="*/ 478 w 947"/>
                  <a:gd name="T7" fmla="*/ 194 h 344"/>
                  <a:gd name="T8" fmla="*/ 514 w 947"/>
                  <a:gd name="T9" fmla="*/ 158 h 344"/>
                  <a:gd name="T10" fmla="*/ 478 w 947"/>
                  <a:gd name="T11" fmla="*/ 122 h 344"/>
                  <a:gd name="T12" fmla="*/ 478 w 947"/>
                  <a:gd name="T13" fmla="*/ 220 h 344"/>
                  <a:gd name="T14" fmla="*/ 478 w 947"/>
                  <a:gd name="T15" fmla="*/ 220 h 344"/>
                  <a:gd name="T16" fmla="*/ 416 w 947"/>
                  <a:gd name="T17" fmla="*/ 158 h 344"/>
                  <a:gd name="T18" fmla="*/ 478 w 947"/>
                  <a:gd name="T19" fmla="*/ 95 h 344"/>
                  <a:gd name="T20" fmla="*/ 541 w 947"/>
                  <a:gd name="T21" fmla="*/ 158 h 344"/>
                  <a:gd name="T22" fmla="*/ 478 w 947"/>
                  <a:gd name="T23" fmla="*/ 220 h 344"/>
                  <a:gd name="T24" fmla="*/ 27 w 947"/>
                  <a:gd name="T25" fmla="*/ 317 h 344"/>
                  <a:gd name="T26" fmla="*/ 27 w 947"/>
                  <a:gd name="T27" fmla="*/ 317 h 344"/>
                  <a:gd name="T28" fmla="*/ 920 w 947"/>
                  <a:gd name="T29" fmla="*/ 317 h 344"/>
                  <a:gd name="T30" fmla="*/ 920 w 947"/>
                  <a:gd name="T31" fmla="*/ 227 h 344"/>
                  <a:gd name="T32" fmla="*/ 868 w 947"/>
                  <a:gd name="T33" fmla="*/ 184 h 344"/>
                  <a:gd name="T34" fmla="*/ 624 w 947"/>
                  <a:gd name="T35" fmla="*/ 184 h 344"/>
                  <a:gd name="T36" fmla="*/ 610 w 947"/>
                  <a:gd name="T37" fmla="*/ 171 h 344"/>
                  <a:gd name="T38" fmla="*/ 611 w 947"/>
                  <a:gd name="T39" fmla="*/ 169 h 344"/>
                  <a:gd name="T40" fmla="*/ 611 w 947"/>
                  <a:gd name="T41" fmla="*/ 161 h 344"/>
                  <a:gd name="T42" fmla="*/ 478 w 947"/>
                  <a:gd name="T43" fmla="*/ 27 h 344"/>
                  <a:gd name="T44" fmla="*/ 345 w 947"/>
                  <a:gd name="T45" fmla="*/ 161 h 344"/>
                  <a:gd name="T46" fmla="*/ 346 w 947"/>
                  <a:gd name="T47" fmla="*/ 170 h 344"/>
                  <a:gd name="T48" fmla="*/ 342 w 947"/>
                  <a:gd name="T49" fmla="*/ 180 h 344"/>
                  <a:gd name="T50" fmla="*/ 332 w 947"/>
                  <a:gd name="T51" fmla="*/ 184 h 344"/>
                  <a:gd name="T52" fmla="*/ 89 w 947"/>
                  <a:gd name="T53" fmla="*/ 184 h 344"/>
                  <a:gd name="T54" fmla="*/ 27 w 947"/>
                  <a:gd name="T55" fmla="*/ 227 h 344"/>
                  <a:gd name="T56" fmla="*/ 27 w 947"/>
                  <a:gd name="T57" fmla="*/ 317 h 344"/>
                  <a:gd name="T58" fmla="*/ 933 w 947"/>
                  <a:gd name="T59" fmla="*/ 344 h 344"/>
                  <a:gd name="T60" fmla="*/ 933 w 947"/>
                  <a:gd name="T61" fmla="*/ 344 h 344"/>
                  <a:gd name="T62" fmla="*/ 13 w 947"/>
                  <a:gd name="T63" fmla="*/ 344 h 344"/>
                  <a:gd name="T64" fmla="*/ 0 w 947"/>
                  <a:gd name="T65" fmla="*/ 331 h 344"/>
                  <a:gd name="T66" fmla="*/ 0 w 947"/>
                  <a:gd name="T67" fmla="*/ 227 h 344"/>
                  <a:gd name="T68" fmla="*/ 89 w 947"/>
                  <a:gd name="T69" fmla="*/ 157 h 344"/>
                  <a:gd name="T70" fmla="*/ 319 w 947"/>
                  <a:gd name="T71" fmla="*/ 157 h 344"/>
                  <a:gd name="T72" fmla="*/ 478 w 947"/>
                  <a:gd name="T73" fmla="*/ 0 h 344"/>
                  <a:gd name="T74" fmla="*/ 637 w 947"/>
                  <a:gd name="T75" fmla="*/ 157 h 344"/>
                  <a:gd name="T76" fmla="*/ 868 w 947"/>
                  <a:gd name="T77" fmla="*/ 157 h 344"/>
                  <a:gd name="T78" fmla="*/ 947 w 947"/>
                  <a:gd name="T79" fmla="*/ 227 h 344"/>
                  <a:gd name="T80" fmla="*/ 947 w 947"/>
                  <a:gd name="T81" fmla="*/ 331 h 344"/>
                  <a:gd name="T82" fmla="*/ 933 w 947"/>
                  <a:gd name="T83" fmla="*/ 34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7" h="344">
                    <a:moveTo>
                      <a:pt x="478" y="122"/>
                    </a:moveTo>
                    <a:lnTo>
                      <a:pt x="478" y="122"/>
                    </a:lnTo>
                    <a:cubicBezTo>
                      <a:pt x="458" y="122"/>
                      <a:pt x="442" y="138"/>
                      <a:pt x="442" y="158"/>
                    </a:cubicBezTo>
                    <a:cubicBezTo>
                      <a:pt x="442" y="178"/>
                      <a:pt x="458" y="194"/>
                      <a:pt x="478" y="194"/>
                    </a:cubicBezTo>
                    <a:cubicBezTo>
                      <a:pt x="498" y="194"/>
                      <a:pt x="514" y="178"/>
                      <a:pt x="514" y="158"/>
                    </a:cubicBezTo>
                    <a:cubicBezTo>
                      <a:pt x="514" y="138"/>
                      <a:pt x="498" y="122"/>
                      <a:pt x="478" y="122"/>
                    </a:cubicBezTo>
                    <a:close/>
                    <a:moveTo>
                      <a:pt x="478" y="220"/>
                    </a:moveTo>
                    <a:lnTo>
                      <a:pt x="478" y="220"/>
                    </a:lnTo>
                    <a:cubicBezTo>
                      <a:pt x="444" y="220"/>
                      <a:pt x="416" y="192"/>
                      <a:pt x="416" y="158"/>
                    </a:cubicBezTo>
                    <a:cubicBezTo>
                      <a:pt x="416" y="123"/>
                      <a:pt x="444" y="95"/>
                      <a:pt x="478" y="95"/>
                    </a:cubicBezTo>
                    <a:cubicBezTo>
                      <a:pt x="513" y="95"/>
                      <a:pt x="541" y="123"/>
                      <a:pt x="541" y="158"/>
                    </a:cubicBezTo>
                    <a:cubicBezTo>
                      <a:pt x="541" y="192"/>
                      <a:pt x="513" y="220"/>
                      <a:pt x="478" y="220"/>
                    </a:cubicBezTo>
                    <a:close/>
                    <a:moveTo>
                      <a:pt x="27" y="317"/>
                    </a:moveTo>
                    <a:lnTo>
                      <a:pt x="27" y="317"/>
                    </a:lnTo>
                    <a:lnTo>
                      <a:pt x="920" y="317"/>
                    </a:lnTo>
                    <a:lnTo>
                      <a:pt x="920" y="227"/>
                    </a:lnTo>
                    <a:cubicBezTo>
                      <a:pt x="920" y="199"/>
                      <a:pt x="893" y="184"/>
                      <a:pt x="868" y="184"/>
                    </a:cubicBezTo>
                    <a:lnTo>
                      <a:pt x="624" y="184"/>
                    </a:lnTo>
                    <a:cubicBezTo>
                      <a:pt x="616" y="184"/>
                      <a:pt x="610" y="178"/>
                      <a:pt x="610" y="171"/>
                    </a:cubicBezTo>
                    <a:cubicBezTo>
                      <a:pt x="610" y="170"/>
                      <a:pt x="611" y="169"/>
                      <a:pt x="611" y="169"/>
                    </a:cubicBezTo>
                    <a:cubicBezTo>
                      <a:pt x="611" y="167"/>
                      <a:pt x="611" y="162"/>
                      <a:pt x="611" y="161"/>
                    </a:cubicBezTo>
                    <a:cubicBezTo>
                      <a:pt x="611" y="87"/>
                      <a:pt x="551" y="27"/>
                      <a:pt x="478" y="27"/>
                    </a:cubicBezTo>
                    <a:cubicBezTo>
                      <a:pt x="405" y="27"/>
                      <a:pt x="345" y="87"/>
                      <a:pt x="345" y="161"/>
                    </a:cubicBezTo>
                    <a:cubicBezTo>
                      <a:pt x="345" y="164"/>
                      <a:pt x="346" y="170"/>
                      <a:pt x="346" y="170"/>
                    </a:cubicBezTo>
                    <a:cubicBezTo>
                      <a:pt x="346" y="174"/>
                      <a:pt x="344" y="177"/>
                      <a:pt x="342" y="180"/>
                    </a:cubicBezTo>
                    <a:cubicBezTo>
                      <a:pt x="339" y="182"/>
                      <a:pt x="336" y="184"/>
                      <a:pt x="332" y="184"/>
                    </a:cubicBezTo>
                    <a:lnTo>
                      <a:pt x="89" y="184"/>
                    </a:lnTo>
                    <a:cubicBezTo>
                      <a:pt x="59" y="184"/>
                      <a:pt x="27" y="202"/>
                      <a:pt x="27" y="227"/>
                    </a:cubicBezTo>
                    <a:lnTo>
                      <a:pt x="27" y="317"/>
                    </a:lnTo>
                    <a:close/>
                    <a:moveTo>
                      <a:pt x="933" y="344"/>
                    </a:moveTo>
                    <a:lnTo>
                      <a:pt x="933" y="344"/>
                    </a:lnTo>
                    <a:lnTo>
                      <a:pt x="13" y="344"/>
                    </a:lnTo>
                    <a:cubicBezTo>
                      <a:pt x="6" y="344"/>
                      <a:pt x="0" y="338"/>
                      <a:pt x="0" y="331"/>
                    </a:cubicBezTo>
                    <a:lnTo>
                      <a:pt x="0" y="227"/>
                    </a:lnTo>
                    <a:cubicBezTo>
                      <a:pt x="0" y="185"/>
                      <a:pt x="46" y="157"/>
                      <a:pt x="89" y="157"/>
                    </a:cubicBezTo>
                    <a:lnTo>
                      <a:pt x="319" y="157"/>
                    </a:lnTo>
                    <a:cubicBezTo>
                      <a:pt x="321" y="70"/>
                      <a:pt x="392" y="0"/>
                      <a:pt x="478" y="0"/>
                    </a:cubicBezTo>
                    <a:cubicBezTo>
                      <a:pt x="565" y="0"/>
                      <a:pt x="636" y="70"/>
                      <a:pt x="637" y="157"/>
                    </a:cubicBezTo>
                    <a:lnTo>
                      <a:pt x="868" y="157"/>
                    </a:lnTo>
                    <a:cubicBezTo>
                      <a:pt x="913" y="157"/>
                      <a:pt x="947" y="187"/>
                      <a:pt x="947" y="227"/>
                    </a:cubicBezTo>
                    <a:lnTo>
                      <a:pt x="947" y="331"/>
                    </a:lnTo>
                    <a:cubicBezTo>
                      <a:pt x="947" y="338"/>
                      <a:pt x="941" y="344"/>
                      <a:pt x="933" y="34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127" name="Freeform 160">
                <a:extLst>
                  <a:ext uri="{FF2B5EF4-FFF2-40B4-BE49-F238E27FC236}">
                    <a16:creationId xmlns:a16="http://schemas.microsoft.com/office/drawing/2014/main" id="{C19DC0D4-2176-41ED-9D85-98BE1AA383DA}"/>
                  </a:ext>
                </a:extLst>
              </p:cNvPr>
              <p:cNvSpPr>
                <a:spLocks noEditPoints="1"/>
              </p:cNvSpPr>
              <p:nvPr/>
            </p:nvSpPr>
            <p:spPr bwMode="auto">
              <a:xfrm>
                <a:off x="5366" y="1055"/>
                <a:ext cx="118" cy="119"/>
              </a:xfrm>
              <a:custGeom>
                <a:avLst/>
                <a:gdLst>
                  <a:gd name="T0" fmla="*/ 225 w 450"/>
                  <a:gd name="T1" fmla="*/ 27 h 450"/>
                  <a:gd name="T2" fmla="*/ 225 w 450"/>
                  <a:gd name="T3" fmla="*/ 27 h 450"/>
                  <a:gd name="T4" fmla="*/ 27 w 450"/>
                  <a:gd name="T5" fmla="*/ 225 h 450"/>
                  <a:gd name="T6" fmla="*/ 225 w 450"/>
                  <a:gd name="T7" fmla="*/ 423 h 450"/>
                  <a:gd name="T8" fmla="*/ 423 w 450"/>
                  <a:gd name="T9" fmla="*/ 225 h 450"/>
                  <a:gd name="T10" fmla="*/ 225 w 450"/>
                  <a:gd name="T11" fmla="*/ 27 h 450"/>
                  <a:gd name="T12" fmla="*/ 225 w 450"/>
                  <a:gd name="T13" fmla="*/ 450 h 450"/>
                  <a:gd name="T14" fmla="*/ 225 w 450"/>
                  <a:gd name="T15" fmla="*/ 450 h 450"/>
                  <a:gd name="T16" fmla="*/ 0 w 450"/>
                  <a:gd name="T17" fmla="*/ 225 h 450"/>
                  <a:gd name="T18" fmla="*/ 225 w 450"/>
                  <a:gd name="T19" fmla="*/ 0 h 450"/>
                  <a:gd name="T20" fmla="*/ 450 w 450"/>
                  <a:gd name="T21" fmla="*/ 225 h 450"/>
                  <a:gd name="T22" fmla="*/ 225 w 450"/>
                  <a:gd name="T2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450">
                    <a:moveTo>
                      <a:pt x="225" y="27"/>
                    </a:moveTo>
                    <a:lnTo>
                      <a:pt x="225" y="27"/>
                    </a:lnTo>
                    <a:cubicBezTo>
                      <a:pt x="116" y="27"/>
                      <a:pt x="27" y="116"/>
                      <a:pt x="27" y="225"/>
                    </a:cubicBezTo>
                    <a:cubicBezTo>
                      <a:pt x="27" y="334"/>
                      <a:pt x="116" y="423"/>
                      <a:pt x="225" y="423"/>
                    </a:cubicBezTo>
                    <a:cubicBezTo>
                      <a:pt x="334" y="423"/>
                      <a:pt x="423" y="334"/>
                      <a:pt x="423" y="225"/>
                    </a:cubicBezTo>
                    <a:cubicBezTo>
                      <a:pt x="423" y="116"/>
                      <a:pt x="334" y="27"/>
                      <a:pt x="225" y="27"/>
                    </a:cubicBezTo>
                    <a:close/>
                    <a:moveTo>
                      <a:pt x="225" y="450"/>
                    </a:moveTo>
                    <a:lnTo>
                      <a:pt x="225" y="450"/>
                    </a:lnTo>
                    <a:cubicBezTo>
                      <a:pt x="101" y="450"/>
                      <a:pt x="0" y="349"/>
                      <a:pt x="0" y="225"/>
                    </a:cubicBezTo>
                    <a:cubicBezTo>
                      <a:pt x="0" y="101"/>
                      <a:pt x="101" y="0"/>
                      <a:pt x="225" y="0"/>
                    </a:cubicBezTo>
                    <a:cubicBezTo>
                      <a:pt x="349" y="0"/>
                      <a:pt x="450" y="101"/>
                      <a:pt x="450" y="225"/>
                    </a:cubicBezTo>
                    <a:cubicBezTo>
                      <a:pt x="450" y="349"/>
                      <a:pt x="349" y="450"/>
                      <a:pt x="225" y="4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128" name="Freeform 161">
                <a:extLst>
                  <a:ext uri="{FF2B5EF4-FFF2-40B4-BE49-F238E27FC236}">
                    <a16:creationId xmlns:a16="http://schemas.microsoft.com/office/drawing/2014/main" id="{17AA0A30-C31A-47EA-8C16-A6CAEF106C63}"/>
                  </a:ext>
                </a:extLst>
              </p:cNvPr>
              <p:cNvSpPr>
                <a:spLocks/>
              </p:cNvSpPr>
              <p:nvPr/>
            </p:nvSpPr>
            <p:spPr bwMode="auto">
              <a:xfrm>
                <a:off x="5396" y="1089"/>
                <a:ext cx="60" cy="49"/>
              </a:xfrm>
              <a:custGeom>
                <a:avLst/>
                <a:gdLst>
                  <a:gd name="T0" fmla="*/ 58 w 229"/>
                  <a:gd name="T1" fmla="*/ 185 h 185"/>
                  <a:gd name="T2" fmla="*/ 58 w 229"/>
                  <a:gd name="T3" fmla="*/ 185 h 185"/>
                  <a:gd name="T4" fmla="*/ 48 w 229"/>
                  <a:gd name="T5" fmla="*/ 181 h 185"/>
                  <a:gd name="T6" fmla="*/ 0 w 229"/>
                  <a:gd name="T7" fmla="*/ 133 h 185"/>
                  <a:gd name="T8" fmla="*/ 19 w 229"/>
                  <a:gd name="T9" fmla="*/ 114 h 185"/>
                  <a:gd name="T10" fmla="*/ 58 w 229"/>
                  <a:gd name="T11" fmla="*/ 153 h 185"/>
                  <a:gd name="T12" fmla="*/ 210 w 229"/>
                  <a:gd name="T13" fmla="*/ 0 h 185"/>
                  <a:gd name="T14" fmla="*/ 229 w 229"/>
                  <a:gd name="T15" fmla="*/ 19 h 185"/>
                  <a:gd name="T16" fmla="*/ 67 w 229"/>
                  <a:gd name="T17" fmla="*/ 181 h 185"/>
                  <a:gd name="T18" fmla="*/ 58 w 229"/>
                  <a:gd name="T1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5">
                    <a:moveTo>
                      <a:pt x="58" y="185"/>
                    </a:moveTo>
                    <a:lnTo>
                      <a:pt x="58" y="185"/>
                    </a:lnTo>
                    <a:cubicBezTo>
                      <a:pt x="54" y="185"/>
                      <a:pt x="51" y="184"/>
                      <a:pt x="48" y="181"/>
                    </a:cubicBezTo>
                    <a:lnTo>
                      <a:pt x="0" y="133"/>
                    </a:lnTo>
                    <a:lnTo>
                      <a:pt x="19" y="114"/>
                    </a:lnTo>
                    <a:lnTo>
                      <a:pt x="58" y="153"/>
                    </a:lnTo>
                    <a:lnTo>
                      <a:pt x="210" y="0"/>
                    </a:lnTo>
                    <a:lnTo>
                      <a:pt x="229" y="19"/>
                    </a:lnTo>
                    <a:lnTo>
                      <a:pt x="67" y="181"/>
                    </a:lnTo>
                    <a:cubicBezTo>
                      <a:pt x="64" y="184"/>
                      <a:pt x="61" y="185"/>
                      <a:pt x="58" y="18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129" name="Freeform 162">
                <a:extLst>
                  <a:ext uri="{FF2B5EF4-FFF2-40B4-BE49-F238E27FC236}">
                    <a16:creationId xmlns:a16="http://schemas.microsoft.com/office/drawing/2014/main" id="{30E49EA2-5284-4853-8384-62004253E8A0}"/>
                  </a:ext>
                </a:extLst>
              </p:cNvPr>
              <p:cNvSpPr>
                <a:spLocks/>
              </p:cNvSpPr>
              <p:nvPr/>
            </p:nvSpPr>
            <p:spPr bwMode="auto">
              <a:xfrm>
                <a:off x="5355" y="1209"/>
                <a:ext cx="144" cy="7"/>
              </a:xfrm>
              <a:custGeom>
                <a:avLst/>
                <a:gdLst>
                  <a:gd name="T0" fmla="*/ 534 w 547"/>
                  <a:gd name="T1" fmla="*/ 27 h 27"/>
                  <a:gd name="T2" fmla="*/ 534 w 547"/>
                  <a:gd name="T3" fmla="*/ 27 h 27"/>
                  <a:gd name="T4" fmla="*/ 14 w 547"/>
                  <a:gd name="T5" fmla="*/ 27 h 27"/>
                  <a:gd name="T6" fmla="*/ 0 w 547"/>
                  <a:gd name="T7" fmla="*/ 13 h 27"/>
                  <a:gd name="T8" fmla="*/ 14 w 547"/>
                  <a:gd name="T9" fmla="*/ 0 h 27"/>
                  <a:gd name="T10" fmla="*/ 534 w 547"/>
                  <a:gd name="T11" fmla="*/ 0 h 27"/>
                  <a:gd name="T12" fmla="*/ 547 w 547"/>
                  <a:gd name="T13" fmla="*/ 13 h 27"/>
                  <a:gd name="T14" fmla="*/ 534 w 547"/>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7" h="27">
                    <a:moveTo>
                      <a:pt x="534" y="27"/>
                    </a:moveTo>
                    <a:lnTo>
                      <a:pt x="534" y="27"/>
                    </a:lnTo>
                    <a:lnTo>
                      <a:pt x="14" y="27"/>
                    </a:lnTo>
                    <a:cubicBezTo>
                      <a:pt x="6" y="27"/>
                      <a:pt x="0" y="21"/>
                      <a:pt x="0" y="13"/>
                    </a:cubicBezTo>
                    <a:cubicBezTo>
                      <a:pt x="0" y="6"/>
                      <a:pt x="6" y="0"/>
                      <a:pt x="14" y="0"/>
                    </a:cubicBezTo>
                    <a:lnTo>
                      <a:pt x="534" y="0"/>
                    </a:lnTo>
                    <a:cubicBezTo>
                      <a:pt x="541" y="0"/>
                      <a:pt x="547" y="6"/>
                      <a:pt x="547" y="13"/>
                    </a:cubicBezTo>
                    <a:cubicBezTo>
                      <a:pt x="547" y="21"/>
                      <a:pt x="541" y="27"/>
                      <a:pt x="534"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130" name="Freeform 163">
                <a:extLst>
                  <a:ext uri="{FF2B5EF4-FFF2-40B4-BE49-F238E27FC236}">
                    <a16:creationId xmlns:a16="http://schemas.microsoft.com/office/drawing/2014/main" id="{26E604BF-1234-4657-99B3-3F3F25833C15}"/>
                  </a:ext>
                </a:extLst>
              </p:cNvPr>
              <p:cNvSpPr>
                <a:spLocks/>
              </p:cNvSpPr>
              <p:nvPr/>
            </p:nvSpPr>
            <p:spPr bwMode="auto">
              <a:xfrm>
                <a:off x="5334" y="1261"/>
                <a:ext cx="183" cy="8"/>
              </a:xfrm>
              <a:custGeom>
                <a:avLst/>
                <a:gdLst>
                  <a:gd name="T0" fmla="*/ 680 w 694"/>
                  <a:gd name="T1" fmla="*/ 27 h 27"/>
                  <a:gd name="T2" fmla="*/ 680 w 694"/>
                  <a:gd name="T3" fmla="*/ 27 h 27"/>
                  <a:gd name="T4" fmla="*/ 14 w 694"/>
                  <a:gd name="T5" fmla="*/ 27 h 27"/>
                  <a:gd name="T6" fmla="*/ 0 w 694"/>
                  <a:gd name="T7" fmla="*/ 13 h 27"/>
                  <a:gd name="T8" fmla="*/ 14 w 694"/>
                  <a:gd name="T9" fmla="*/ 0 h 27"/>
                  <a:gd name="T10" fmla="*/ 680 w 694"/>
                  <a:gd name="T11" fmla="*/ 0 h 27"/>
                  <a:gd name="T12" fmla="*/ 694 w 694"/>
                  <a:gd name="T13" fmla="*/ 13 h 27"/>
                  <a:gd name="T14" fmla="*/ 680 w 69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4" h="27">
                    <a:moveTo>
                      <a:pt x="680" y="27"/>
                    </a:moveTo>
                    <a:lnTo>
                      <a:pt x="680" y="27"/>
                    </a:lnTo>
                    <a:lnTo>
                      <a:pt x="14" y="27"/>
                    </a:lnTo>
                    <a:cubicBezTo>
                      <a:pt x="6" y="27"/>
                      <a:pt x="0" y="21"/>
                      <a:pt x="0" y="13"/>
                    </a:cubicBezTo>
                    <a:cubicBezTo>
                      <a:pt x="0" y="6"/>
                      <a:pt x="6" y="0"/>
                      <a:pt x="14" y="0"/>
                    </a:cubicBezTo>
                    <a:lnTo>
                      <a:pt x="680" y="0"/>
                    </a:lnTo>
                    <a:cubicBezTo>
                      <a:pt x="688" y="0"/>
                      <a:pt x="694" y="6"/>
                      <a:pt x="694" y="13"/>
                    </a:cubicBezTo>
                    <a:cubicBezTo>
                      <a:pt x="694" y="21"/>
                      <a:pt x="688" y="27"/>
                      <a:pt x="680"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131" name="Freeform 164">
                <a:extLst>
                  <a:ext uri="{FF2B5EF4-FFF2-40B4-BE49-F238E27FC236}">
                    <a16:creationId xmlns:a16="http://schemas.microsoft.com/office/drawing/2014/main" id="{2AA19C0B-8D08-4988-856D-DDD1F83A4CDC}"/>
                  </a:ext>
                </a:extLst>
              </p:cNvPr>
              <p:cNvSpPr>
                <a:spLocks/>
              </p:cNvSpPr>
              <p:nvPr/>
            </p:nvSpPr>
            <p:spPr bwMode="auto">
              <a:xfrm>
                <a:off x="5359" y="1307"/>
                <a:ext cx="130" cy="7"/>
              </a:xfrm>
              <a:custGeom>
                <a:avLst/>
                <a:gdLst>
                  <a:gd name="T0" fmla="*/ 480 w 493"/>
                  <a:gd name="T1" fmla="*/ 27 h 27"/>
                  <a:gd name="T2" fmla="*/ 480 w 493"/>
                  <a:gd name="T3" fmla="*/ 27 h 27"/>
                  <a:gd name="T4" fmla="*/ 13 w 493"/>
                  <a:gd name="T5" fmla="*/ 27 h 27"/>
                  <a:gd name="T6" fmla="*/ 0 w 493"/>
                  <a:gd name="T7" fmla="*/ 14 h 27"/>
                  <a:gd name="T8" fmla="*/ 13 w 493"/>
                  <a:gd name="T9" fmla="*/ 0 h 27"/>
                  <a:gd name="T10" fmla="*/ 480 w 493"/>
                  <a:gd name="T11" fmla="*/ 0 h 27"/>
                  <a:gd name="T12" fmla="*/ 493 w 493"/>
                  <a:gd name="T13" fmla="*/ 14 h 27"/>
                  <a:gd name="T14" fmla="*/ 480 w 49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3" h="27">
                    <a:moveTo>
                      <a:pt x="480" y="27"/>
                    </a:moveTo>
                    <a:lnTo>
                      <a:pt x="480" y="27"/>
                    </a:lnTo>
                    <a:lnTo>
                      <a:pt x="13" y="27"/>
                    </a:lnTo>
                    <a:cubicBezTo>
                      <a:pt x="5" y="27"/>
                      <a:pt x="0" y="21"/>
                      <a:pt x="0" y="14"/>
                    </a:cubicBezTo>
                    <a:cubicBezTo>
                      <a:pt x="0" y="6"/>
                      <a:pt x="5" y="0"/>
                      <a:pt x="13" y="0"/>
                    </a:cubicBezTo>
                    <a:lnTo>
                      <a:pt x="480" y="0"/>
                    </a:lnTo>
                    <a:cubicBezTo>
                      <a:pt x="487" y="0"/>
                      <a:pt x="493" y="6"/>
                      <a:pt x="493" y="14"/>
                    </a:cubicBezTo>
                    <a:cubicBezTo>
                      <a:pt x="493" y="21"/>
                      <a:pt x="487" y="27"/>
                      <a:pt x="480"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grpSp>
      <p:sp>
        <p:nvSpPr>
          <p:cNvPr id="132" name="Isosceles Triangle 131">
            <a:extLst>
              <a:ext uri="{FF2B5EF4-FFF2-40B4-BE49-F238E27FC236}">
                <a16:creationId xmlns:a16="http://schemas.microsoft.com/office/drawing/2014/main" id="{AE6B634C-0369-4CEF-B718-03F02D323A2C}"/>
              </a:ext>
            </a:extLst>
          </p:cNvPr>
          <p:cNvSpPr/>
          <p:nvPr/>
        </p:nvSpPr>
        <p:spPr bwMode="auto">
          <a:xfrm flipV="1">
            <a:off x="3829413" y="1406036"/>
            <a:ext cx="1899814" cy="1301460"/>
          </a:xfrm>
          <a:prstGeom prst="triangle">
            <a:avLst/>
          </a:prstGeom>
          <a:gradFill flip="none" rotWithShape="1">
            <a:gsLst>
              <a:gs pos="0">
                <a:schemeClr val="bg1">
                  <a:lumMod val="50000"/>
                  <a:alpha val="56000"/>
                </a:schemeClr>
              </a:gs>
              <a:gs pos="72000">
                <a:srgbClr val="E6E6E6"/>
              </a:gs>
              <a:gs pos="100000">
                <a:srgbClr val="E6E6E6">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 </a:t>
            </a:r>
          </a:p>
        </p:txBody>
      </p:sp>
      <p:sp>
        <p:nvSpPr>
          <p:cNvPr id="133" name="TextBox 132">
            <a:extLst>
              <a:ext uri="{FF2B5EF4-FFF2-40B4-BE49-F238E27FC236}">
                <a16:creationId xmlns:a16="http://schemas.microsoft.com/office/drawing/2014/main" id="{1A238F6A-A443-4246-983D-47BDF9D3E2F7}"/>
              </a:ext>
            </a:extLst>
          </p:cNvPr>
          <p:cNvSpPr txBox="1"/>
          <p:nvPr/>
        </p:nvSpPr>
        <p:spPr>
          <a:xfrm>
            <a:off x="1846043" y="2508784"/>
            <a:ext cx="609077" cy="282385"/>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a:r>
              <a:rPr lang="en-US"/>
              <a:t>Users</a:t>
            </a:r>
          </a:p>
        </p:txBody>
      </p:sp>
      <p:sp>
        <p:nvSpPr>
          <p:cNvPr id="134" name="TextBox 133">
            <a:extLst>
              <a:ext uri="{FF2B5EF4-FFF2-40B4-BE49-F238E27FC236}">
                <a16:creationId xmlns:a16="http://schemas.microsoft.com/office/drawing/2014/main" id="{41C9ED5A-949F-4455-BA45-93A68365EFF8}"/>
              </a:ext>
            </a:extLst>
          </p:cNvPr>
          <p:cNvSpPr txBox="1"/>
          <p:nvPr/>
        </p:nvSpPr>
        <p:spPr>
          <a:xfrm>
            <a:off x="1369469" y="3174965"/>
            <a:ext cx="776175" cy="282385"/>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a:r>
              <a:rPr lang="en-US"/>
              <a:t>Devices</a:t>
            </a:r>
          </a:p>
        </p:txBody>
      </p:sp>
      <p:sp>
        <p:nvSpPr>
          <p:cNvPr id="135" name="TextBox 134">
            <a:extLst>
              <a:ext uri="{FF2B5EF4-FFF2-40B4-BE49-F238E27FC236}">
                <a16:creationId xmlns:a16="http://schemas.microsoft.com/office/drawing/2014/main" id="{F192C55F-111A-411F-A7E7-924B2CEDEA3B}"/>
              </a:ext>
            </a:extLst>
          </p:cNvPr>
          <p:cNvSpPr txBox="1"/>
          <p:nvPr/>
        </p:nvSpPr>
        <p:spPr>
          <a:xfrm>
            <a:off x="1298937" y="4788245"/>
            <a:ext cx="846707" cy="282385"/>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a:r>
              <a:rPr lang="en-US"/>
              <a:t>Location</a:t>
            </a:r>
          </a:p>
        </p:txBody>
      </p:sp>
      <p:sp>
        <p:nvSpPr>
          <p:cNvPr id="136" name="TextBox 135">
            <a:extLst>
              <a:ext uri="{FF2B5EF4-FFF2-40B4-BE49-F238E27FC236}">
                <a16:creationId xmlns:a16="http://schemas.microsoft.com/office/drawing/2014/main" id="{C321C635-442C-4983-BCEA-E1ADACE54B36}"/>
              </a:ext>
            </a:extLst>
          </p:cNvPr>
          <p:cNvSpPr txBox="1"/>
          <p:nvPr/>
        </p:nvSpPr>
        <p:spPr>
          <a:xfrm>
            <a:off x="1872909" y="5476243"/>
            <a:ext cx="582211" cy="282385"/>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a:r>
              <a:rPr lang="en-US"/>
              <a:t>Apps</a:t>
            </a:r>
          </a:p>
        </p:txBody>
      </p:sp>
      <p:grpSp>
        <p:nvGrpSpPr>
          <p:cNvPr id="137" name="User">
            <a:extLst>
              <a:ext uri="{FF2B5EF4-FFF2-40B4-BE49-F238E27FC236}">
                <a16:creationId xmlns:a16="http://schemas.microsoft.com/office/drawing/2014/main" id="{EC41A89B-3795-439E-81AA-A5521F5CDA92}"/>
              </a:ext>
            </a:extLst>
          </p:cNvPr>
          <p:cNvGrpSpPr/>
          <p:nvPr/>
        </p:nvGrpSpPr>
        <p:grpSpPr>
          <a:xfrm>
            <a:off x="521988" y="3624049"/>
            <a:ext cx="1006058" cy="1006058"/>
            <a:chOff x="458079" y="2826567"/>
            <a:chExt cx="1006058" cy="1006058"/>
          </a:xfrm>
        </p:grpSpPr>
        <p:sp>
          <p:nvSpPr>
            <p:cNvPr id="138" name="Oval 137">
              <a:extLst>
                <a:ext uri="{FF2B5EF4-FFF2-40B4-BE49-F238E27FC236}">
                  <a16:creationId xmlns:a16="http://schemas.microsoft.com/office/drawing/2014/main" id="{BCF2B5F3-2E48-43B3-A5DC-669391BE2BE7}"/>
                </a:ext>
              </a:extLst>
            </p:cNvPr>
            <p:cNvSpPr/>
            <p:nvPr/>
          </p:nvSpPr>
          <p:spPr bwMode="auto">
            <a:xfrm>
              <a:off x="458079" y="2826567"/>
              <a:ext cx="1006058" cy="1006058"/>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gradFill>
                  <a:gsLst>
                    <a:gs pos="0">
                      <a:srgbClr val="FFFFFF"/>
                    </a:gs>
                    <a:gs pos="100000">
                      <a:srgbClr val="FFFFFF"/>
                    </a:gs>
                  </a:gsLst>
                  <a:lin ang="5400000" scaled="0"/>
                </a:gradFill>
                <a:ea typeface="Segoe UI" pitchFamily="34" charset="0"/>
                <a:cs typeface="Segoe UI" pitchFamily="34" charset="0"/>
              </a:endParaRPr>
            </a:p>
          </p:txBody>
        </p:sp>
        <p:grpSp>
          <p:nvGrpSpPr>
            <p:cNvPr id="139" name="Group 138">
              <a:extLst>
                <a:ext uri="{FF2B5EF4-FFF2-40B4-BE49-F238E27FC236}">
                  <a16:creationId xmlns:a16="http://schemas.microsoft.com/office/drawing/2014/main" id="{4E47805A-C9AA-474D-BF9C-7D3EE10B441B}"/>
                </a:ext>
              </a:extLst>
            </p:cNvPr>
            <p:cNvGrpSpPr/>
            <p:nvPr/>
          </p:nvGrpSpPr>
          <p:grpSpPr>
            <a:xfrm>
              <a:off x="619199" y="3053561"/>
              <a:ext cx="683818" cy="552071"/>
              <a:chOff x="1124660" y="2438555"/>
              <a:chExt cx="1323363" cy="1068399"/>
            </a:xfrm>
          </p:grpSpPr>
          <p:sp>
            <p:nvSpPr>
              <p:cNvPr id="140" name="Freeform 5">
                <a:extLst>
                  <a:ext uri="{FF2B5EF4-FFF2-40B4-BE49-F238E27FC236}">
                    <a16:creationId xmlns:a16="http://schemas.microsoft.com/office/drawing/2014/main" id="{E5E5CD4E-15FD-45A7-82BF-A1DB499A5794}"/>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nvGrpSpPr>
              <p:cNvPr id="141" name="Group 140">
                <a:extLst>
                  <a:ext uri="{FF2B5EF4-FFF2-40B4-BE49-F238E27FC236}">
                    <a16:creationId xmlns:a16="http://schemas.microsoft.com/office/drawing/2014/main" id="{F7F3F6DD-86DF-4F1F-ACDA-C46D0728AC0A}"/>
                  </a:ext>
                </a:extLst>
              </p:cNvPr>
              <p:cNvGrpSpPr/>
              <p:nvPr/>
            </p:nvGrpSpPr>
            <p:grpSpPr>
              <a:xfrm>
                <a:off x="1124660" y="2438555"/>
                <a:ext cx="593820" cy="706058"/>
                <a:chOff x="6447047" y="5804307"/>
                <a:chExt cx="414034" cy="492291"/>
              </a:xfrm>
            </p:grpSpPr>
            <p:sp>
              <p:nvSpPr>
                <p:cNvPr id="142" name="Freeform 9">
                  <a:extLst>
                    <a:ext uri="{FF2B5EF4-FFF2-40B4-BE49-F238E27FC236}">
                      <a16:creationId xmlns:a16="http://schemas.microsoft.com/office/drawing/2014/main" id="{14103207-AB33-41ED-8B69-B45246EA6CAF}"/>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143" name="Oval 142">
                  <a:extLst>
                    <a:ext uri="{FF2B5EF4-FFF2-40B4-BE49-F238E27FC236}">
                      <a16:creationId xmlns:a16="http://schemas.microsoft.com/office/drawing/2014/main" id="{3642BD2C-E85E-4ADF-918F-2D93AB48F11A}"/>
                    </a:ext>
                  </a:extLst>
                </p:cNvPr>
                <p:cNvSpPr>
                  <a:spLocks noChangeArrowheads="1"/>
                </p:cNvSpPr>
                <p:nvPr/>
              </p:nvSpPr>
              <p:spPr bwMode="auto">
                <a:xfrm>
                  <a:off x="6507270" y="5804307"/>
                  <a:ext cx="293587" cy="290228"/>
                </a:xfrm>
                <a:prstGeom prst="ellipse">
                  <a:avLst/>
                </a:prstGeom>
                <a:noFill/>
                <a:ln w="19050" cap="flat">
                  <a:solidFill>
                    <a:schemeClr val="bg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1836"/>
                </a:p>
              </p:txBody>
            </p:sp>
          </p:grpSp>
        </p:grpSp>
      </p:grpSp>
      <p:sp useBgFill="1">
        <p:nvSpPr>
          <p:cNvPr id="144" name="Circle: Hollow 143">
            <a:extLst>
              <a:ext uri="{FF2B5EF4-FFF2-40B4-BE49-F238E27FC236}">
                <a16:creationId xmlns:a16="http://schemas.microsoft.com/office/drawing/2014/main" id="{8F7723CA-FBA8-4617-890E-310F759FC934}"/>
              </a:ext>
            </a:extLst>
          </p:cNvPr>
          <p:cNvSpPr/>
          <p:nvPr/>
        </p:nvSpPr>
        <p:spPr bwMode="auto">
          <a:xfrm>
            <a:off x="1456823" y="510120"/>
            <a:ext cx="7100483" cy="7100075"/>
          </a:xfrm>
          <a:prstGeom prst="donut">
            <a:avLst>
              <a:gd name="adj" fmla="val 13751"/>
            </a:avLst>
          </a:prstGeom>
          <a:noFill/>
          <a:ln w="22860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5" name="Rectangle 144">
            <a:extLst>
              <a:ext uri="{FF2B5EF4-FFF2-40B4-BE49-F238E27FC236}">
                <a16:creationId xmlns:a16="http://schemas.microsoft.com/office/drawing/2014/main" id="{EBBD81EE-62B4-48EC-9D7D-FB344DB9E909}"/>
              </a:ext>
            </a:extLst>
          </p:cNvPr>
          <p:cNvSpPr/>
          <p:nvPr/>
        </p:nvSpPr>
        <p:spPr>
          <a:xfrm>
            <a:off x="2178473" y="1250778"/>
            <a:ext cx="1535677" cy="418191"/>
          </a:xfrm>
          <a:prstGeom prst="rect">
            <a:avLst/>
          </a:prstGeom>
        </p:spPr>
        <p:txBody>
          <a:bodyPr wrap="none">
            <a:spAutoFit/>
          </a:bodyPr>
          <a:lstStyle/>
          <a:p>
            <a:pPr algn="ctr" defTabSz="896215">
              <a:lnSpc>
                <a:spcPct val="90000"/>
              </a:lnSpc>
              <a:defRPr/>
            </a:pPr>
            <a:r>
              <a:rPr lang="en-US" sz="2353" kern="0" spc="-69">
                <a:solidFill>
                  <a:srgbClr val="353535"/>
                </a:solidFill>
                <a:latin typeface="Segoe UI"/>
                <a:ea typeface="ＭＳ Ｐゴシック" charset="0"/>
                <a:cs typeface="Segoe UI Semibold" panose="020B0702040204020203" pitchFamily="34" charset="0"/>
              </a:rPr>
              <a:t>Conditions</a:t>
            </a:r>
          </a:p>
        </p:txBody>
      </p:sp>
      <p:grpSp>
        <p:nvGrpSpPr>
          <p:cNvPr id="146" name="Group 145">
            <a:extLst>
              <a:ext uri="{FF2B5EF4-FFF2-40B4-BE49-F238E27FC236}">
                <a16:creationId xmlns:a16="http://schemas.microsoft.com/office/drawing/2014/main" id="{349C76AD-E9D7-4199-A9E3-A9612CDA355F}"/>
              </a:ext>
            </a:extLst>
          </p:cNvPr>
          <p:cNvGrpSpPr/>
          <p:nvPr/>
        </p:nvGrpSpPr>
        <p:grpSpPr>
          <a:xfrm>
            <a:off x="2938444" y="2165231"/>
            <a:ext cx="3935261" cy="3930044"/>
            <a:chOff x="2873757" y="1463979"/>
            <a:chExt cx="3935261" cy="3930044"/>
          </a:xfrm>
        </p:grpSpPr>
        <p:sp>
          <p:nvSpPr>
            <p:cNvPr id="147" name="Freeform: Shape 146">
              <a:extLst>
                <a:ext uri="{FF2B5EF4-FFF2-40B4-BE49-F238E27FC236}">
                  <a16:creationId xmlns:a16="http://schemas.microsoft.com/office/drawing/2014/main" id="{8353BDEB-D5E0-47A3-B11D-FEA8DC0EE06A}"/>
                </a:ext>
              </a:extLst>
            </p:cNvPr>
            <p:cNvSpPr/>
            <p:nvPr/>
          </p:nvSpPr>
          <p:spPr bwMode="auto">
            <a:xfrm>
              <a:off x="6080484" y="2489200"/>
              <a:ext cx="728534" cy="1892300"/>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8" name="Oval 147">
              <a:extLst>
                <a:ext uri="{FF2B5EF4-FFF2-40B4-BE49-F238E27FC236}">
                  <a16:creationId xmlns:a16="http://schemas.microsoft.com/office/drawing/2014/main" id="{17202022-C4CD-48A9-910E-D86209E0CBE4}"/>
                </a:ext>
              </a:extLst>
            </p:cNvPr>
            <p:cNvSpPr/>
            <p:nvPr/>
          </p:nvSpPr>
          <p:spPr bwMode="auto">
            <a:xfrm>
              <a:off x="2873757" y="1463979"/>
              <a:ext cx="3930268" cy="3930044"/>
            </a:xfrm>
            <a:prstGeom prst="ellipse">
              <a:avLst/>
            </a:prstGeom>
            <a:noFill/>
            <a:ln w="228600" cap="flat" cmpd="sng" algn="ctr">
              <a:solidFill>
                <a:srgbClr val="0078D7"/>
              </a:solidFill>
              <a:prstDash val="solid"/>
              <a:headEnd type="none"/>
              <a:tailEnd type="none"/>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0578CB5-7CDE-4830-8D06-7278C16F0555}"/>
                </a:ext>
              </a:extLst>
            </p:cNvPr>
            <p:cNvSpPr/>
            <p:nvPr/>
          </p:nvSpPr>
          <p:spPr bwMode="auto">
            <a:xfrm>
              <a:off x="5312236" y="2759381"/>
              <a:ext cx="1339238" cy="1339238"/>
            </a:xfrm>
            <a:prstGeom prst="ellipse">
              <a:avLst/>
            </a:prstGeom>
            <a:solidFill>
              <a:schemeClr val="accent4"/>
            </a:solidFill>
            <a:ln w="19050" cap="rnd">
              <a:solidFill>
                <a:srgbClr val="00B0F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gradFill>
                  <a:gsLst>
                    <a:gs pos="0">
                      <a:srgbClr val="FFFFFF"/>
                    </a:gs>
                    <a:gs pos="100000">
                      <a:srgbClr val="FFFFFF"/>
                    </a:gs>
                  </a:gsLst>
                  <a:lin ang="5400000" scaled="0"/>
                </a:gradFill>
                <a:cs typeface="Segoe UI" pitchFamily="34" charset="0"/>
              </a:endParaRPr>
            </a:p>
          </p:txBody>
        </p:sp>
        <p:grpSp>
          <p:nvGrpSpPr>
            <p:cNvPr id="150" name="Group 149">
              <a:extLst>
                <a:ext uri="{FF2B5EF4-FFF2-40B4-BE49-F238E27FC236}">
                  <a16:creationId xmlns:a16="http://schemas.microsoft.com/office/drawing/2014/main" id="{218ED854-204D-4057-A29C-DA57883B0C79}"/>
                </a:ext>
              </a:extLst>
            </p:cNvPr>
            <p:cNvGrpSpPr/>
            <p:nvPr/>
          </p:nvGrpSpPr>
          <p:grpSpPr>
            <a:xfrm rot="7443536">
              <a:off x="3418347" y="3378043"/>
              <a:ext cx="1407673" cy="1932398"/>
              <a:chOff x="5553745" y="2621551"/>
              <a:chExt cx="1407673" cy="1932398"/>
            </a:xfrm>
          </p:grpSpPr>
          <p:sp>
            <p:nvSpPr>
              <p:cNvPr id="154" name="Freeform: Shape 153">
                <a:extLst>
                  <a:ext uri="{FF2B5EF4-FFF2-40B4-BE49-F238E27FC236}">
                    <a16:creationId xmlns:a16="http://schemas.microsoft.com/office/drawing/2014/main" id="{AC8F0463-703D-41E9-9737-234B410445E5}"/>
                  </a:ext>
                </a:extLst>
              </p:cNvPr>
              <p:cNvSpPr/>
              <p:nvPr/>
            </p:nvSpPr>
            <p:spPr bwMode="auto">
              <a:xfrm>
                <a:off x="6232884" y="2621551"/>
                <a:ext cx="728534" cy="1932398"/>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55" name="Oval 154">
                <a:extLst>
                  <a:ext uri="{FF2B5EF4-FFF2-40B4-BE49-F238E27FC236}">
                    <a16:creationId xmlns:a16="http://schemas.microsoft.com/office/drawing/2014/main" id="{E32DF41A-C498-40A8-9310-9A6AD3C71340}"/>
                  </a:ext>
                </a:extLst>
              </p:cNvPr>
              <p:cNvSpPr/>
              <p:nvPr/>
            </p:nvSpPr>
            <p:spPr bwMode="auto">
              <a:xfrm>
                <a:off x="5553745" y="2911781"/>
                <a:ext cx="1339238" cy="1339238"/>
              </a:xfrm>
              <a:prstGeom prst="ellipse">
                <a:avLst/>
              </a:prstGeom>
              <a:solidFill>
                <a:schemeClr val="accent4"/>
              </a:solidFill>
              <a:ln w="19050" cap="rnd">
                <a:solidFill>
                  <a:srgbClr val="00B0F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a:extLst>
                <a:ext uri="{FF2B5EF4-FFF2-40B4-BE49-F238E27FC236}">
                  <a16:creationId xmlns:a16="http://schemas.microsoft.com/office/drawing/2014/main" id="{B8AE5EF8-955C-4993-83C9-9025E3EA4CF5}"/>
                </a:ext>
              </a:extLst>
            </p:cNvPr>
            <p:cNvGrpSpPr/>
            <p:nvPr/>
          </p:nvGrpSpPr>
          <p:grpSpPr>
            <a:xfrm rot="14861745">
              <a:off x="3691207" y="1366766"/>
              <a:ext cx="1407673" cy="1932398"/>
              <a:chOff x="5553745" y="2621551"/>
              <a:chExt cx="1407673" cy="1932398"/>
            </a:xfrm>
          </p:grpSpPr>
          <p:sp>
            <p:nvSpPr>
              <p:cNvPr id="152" name="Freeform: Shape 151">
                <a:extLst>
                  <a:ext uri="{FF2B5EF4-FFF2-40B4-BE49-F238E27FC236}">
                    <a16:creationId xmlns:a16="http://schemas.microsoft.com/office/drawing/2014/main" id="{25977292-C845-4675-B0A4-2E32BCF64B39}"/>
                  </a:ext>
                </a:extLst>
              </p:cNvPr>
              <p:cNvSpPr/>
              <p:nvPr/>
            </p:nvSpPr>
            <p:spPr bwMode="auto">
              <a:xfrm>
                <a:off x="6232884" y="2621551"/>
                <a:ext cx="728534" cy="1932398"/>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53" name="Oval 152">
                <a:extLst>
                  <a:ext uri="{FF2B5EF4-FFF2-40B4-BE49-F238E27FC236}">
                    <a16:creationId xmlns:a16="http://schemas.microsoft.com/office/drawing/2014/main" id="{0704F8E4-3000-4925-97D3-50BA0296B0DD}"/>
                  </a:ext>
                </a:extLst>
              </p:cNvPr>
              <p:cNvSpPr/>
              <p:nvPr/>
            </p:nvSpPr>
            <p:spPr bwMode="auto">
              <a:xfrm>
                <a:off x="5553745" y="2911781"/>
                <a:ext cx="1339238" cy="1339238"/>
              </a:xfrm>
              <a:prstGeom prst="ellipse">
                <a:avLst/>
              </a:prstGeom>
              <a:solidFill>
                <a:schemeClr val="accent4"/>
              </a:solidFill>
              <a:ln w="19050" cap="rnd">
                <a:solidFill>
                  <a:srgbClr val="00B0F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56" name="Math stuff">
            <a:extLst>
              <a:ext uri="{FF2B5EF4-FFF2-40B4-BE49-F238E27FC236}">
                <a16:creationId xmlns:a16="http://schemas.microsoft.com/office/drawing/2014/main" id="{C7218880-C317-448D-A11E-1A558CA20210}"/>
              </a:ext>
            </a:extLst>
          </p:cNvPr>
          <p:cNvGrpSpPr/>
          <p:nvPr/>
        </p:nvGrpSpPr>
        <p:grpSpPr>
          <a:xfrm>
            <a:off x="3958026" y="2530087"/>
            <a:ext cx="1040369" cy="1054084"/>
            <a:chOff x="4304659" y="1589541"/>
            <a:chExt cx="1073894" cy="1088052"/>
          </a:xfrm>
        </p:grpSpPr>
        <p:pic>
          <p:nvPicPr>
            <p:cNvPr id="157" name="Picture 156" descr="A picture containing water, rain, nature&#10;&#10;Description generated with high confidence">
              <a:extLst>
                <a:ext uri="{FF2B5EF4-FFF2-40B4-BE49-F238E27FC236}">
                  <a16:creationId xmlns:a16="http://schemas.microsoft.com/office/drawing/2014/main" id="{7D9667AC-0694-4758-819D-7BC4310F99D3}"/>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4424392" y="1709532"/>
              <a:ext cx="811362" cy="827347"/>
            </a:xfrm>
            <a:prstGeom prst="roundRect">
              <a:avLst>
                <a:gd name="adj" fmla="val 9137"/>
              </a:avLst>
            </a:prstGeom>
            <a:ln w="9525">
              <a:solidFill>
                <a:schemeClr val="tx1"/>
              </a:solidFill>
            </a:ln>
          </p:spPr>
        </p:pic>
        <p:sp>
          <p:nvSpPr>
            <p:cNvPr id="158" name="chip">
              <a:extLst>
                <a:ext uri="{FF2B5EF4-FFF2-40B4-BE49-F238E27FC236}">
                  <a16:creationId xmlns:a16="http://schemas.microsoft.com/office/drawing/2014/main" id="{02751D02-6B59-4115-8F81-7A1BE8EE6229}"/>
                </a:ext>
              </a:extLst>
            </p:cNvPr>
            <p:cNvSpPr>
              <a:spLocks noChangeAspect="1" noEditPoints="1"/>
            </p:cNvSpPr>
            <p:nvPr/>
          </p:nvSpPr>
          <p:spPr bwMode="auto">
            <a:xfrm>
              <a:off x="4304659" y="1589541"/>
              <a:ext cx="1073894" cy="1088052"/>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endParaRPr lang="en-US" sz="1400">
                <a:gradFill>
                  <a:gsLst>
                    <a:gs pos="0">
                      <a:srgbClr val="505050"/>
                    </a:gs>
                    <a:gs pos="100000">
                      <a:srgbClr val="505050"/>
                    </a:gs>
                  </a:gsLst>
                </a:gradFill>
              </a:endParaRPr>
            </a:p>
          </p:txBody>
        </p:sp>
        <p:sp>
          <p:nvSpPr>
            <p:cNvPr id="159" name="TextBox 158">
              <a:extLst>
                <a:ext uri="{FF2B5EF4-FFF2-40B4-BE49-F238E27FC236}">
                  <a16:creationId xmlns:a16="http://schemas.microsoft.com/office/drawing/2014/main" id="{B44C73E9-6469-433A-AE32-795C697A3434}"/>
                </a:ext>
              </a:extLst>
            </p:cNvPr>
            <p:cNvSpPr txBox="1"/>
            <p:nvPr/>
          </p:nvSpPr>
          <p:spPr>
            <a:xfrm>
              <a:off x="4450730" y="1911492"/>
              <a:ext cx="761747" cy="424712"/>
            </a:xfrm>
            <a:prstGeom prst="rect">
              <a:avLst/>
            </a:prstGeom>
            <a:ln w="9525">
              <a:noFill/>
            </a:ln>
          </p:spPr>
          <p:txBody>
            <a:bodyPr wrap="squar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ctr"/>
              <a:r>
                <a:rPr lang="en-US" sz="1100">
                  <a:solidFill>
                    <a:schemeClr val="bg1"/>
                  </a:solidFill>
                </a:rPr>
                <a:t>Machine</a:t>
              </a:r>
              <a:br>
                <a:rPr lang="en-US" sz="1100">
                  <a:solidFill>
                    <a:schemeClr val="bg1"/>
                  </a:solidFill>
                </a:rPr>
              </a:br>
              <a:r>
                <a:rPr lang="en-US" sz="1100">
                  <a:solidFill>
                    <a:schemeClr val="bg1"/>
                  </a:solidFill>
                </a:rPr>
                <a:t>learning</a:t>
              </a:r>
            </a:p>
          </p:txBody>
        </p:sp>
      </p:grpSp>
      <p:grpSp>
        <p:nvGrpSpPr>
          <p:cNvPr id="160" name="Group 159">
            <a:extLst>
              <a:ext uri="{FF2B5EF4-FFF2-40B4-BE49-F238E27FC236}">
                <a16:creationId xmlns:a16="http://schemas.microsoft.com/office/drawing/2014/main" id="{FC720AD5-1478-4967-A88C-080370B897C5}"/>
              </a:ext>
            </a:extLst>
          </p:cNvPr>
          <p:cNvGrpSpPr/>
          <p:nvPr/>
        </p:nvGrpSpPr>
        <p:grpSpPr>
          <a:xfrm>
            <a:off x="3789271" y="4673597"/>
            <a:ext cx="839005" cy="882182"/>
            <a:chOff x="3725362" y="3896538"/>
            <a:chExt cx="839005" cy="882182"/>
          </a:xfrm>
        </p:grpSpPr>
        <p:grpSp>
          <p:nvGrpSpPr>
            <p:cNvPr id="161" name="Group 160">
              <a:extLst>
                <a:ext uri="{FF2B5EF4-FFF2-40B4-BE49-F238E27FC236}">
                  <a16:creationId xmlns:a16="http://schemas.microsoft.com/office/drawing/2014/main" id="{64FBA278-575A-47C7-8297-4E38C4D6562E}"/>
                </a:ext>
              </a:extLst>
            </p:cNvPr>
            <p:cNvGrpSpPr/>
            <p:nvPr/>
          </p:nvGrpSpPr>
          <p:grpSpPr>
            <a:xfrm>
              <a:off x="3725362" y="3896538"/>
              <a:ext cx="790940" cy="602507"/>
              <a:chOff x="4314657" y="4074265"/>
              <a:chExt cx="1059471" cy="807063"/>
            </a:xfrm>
            <a:solidFill>
              <a:schemeClr val="bg1"/>
            </a:solidFill>
          </p:grpSpPr>
          <p:grpSp>
            <p:nvGrpSpPr>
              <p:cNvPr id="163" name="Group 162">
                <a:extLst>
                  <a:ext uri="{FF2B5EF4-FFF2-40B4-BE49-F238E27FC236}">
                    <a16:creationId xmlns:a16="http://schemas.microsoft.com/office/drawing/2014/main" id="{1AB88A2D-4BF8-404B-8982-9D669D9675AB}"/>
                  </a:ext>
                </a:extLst>
              </p:cNvPr>
              <p:cNvGrpSpPr/>
              <p:nvPr/>
            </p:nvGrpSpPr>
            <p:grpSpPr>
              <a:xfrm>
                <a:off x="4816142" y="4074265"/>
                <a:ext cx="557986" cy="539640"/>
                <a:chOff x="9763287" y="5133362"/>
                <a:chExt cx="590975" cy="571545"/>
              </a:xfrm>
              <a:grpFill/>
            </p:grpSpPr>
            <p:sp>
              <p:nvSpPr>
                <p:cNvPr id="196" name="Freeform 212">
                  <a:extLst>
                    <a:ext uri="{FF2B5EF4-FFF2-40B4-BE49-F238E27FC236}">
                      <a16:creationId xmlns:a16="http://schemas.microsoft.com/office/drawing/2014/main" id="{A2F8B9F3-C0A5-4B9A-9E0C-D2015CF5908C}"/>
                    </a:ext>
                  </a:extLst>
                </p:cNvPr>
                <p:cNvSpPr>
                  <a:spLocks/>
                </p:cNvSpPr>
                <p:nvPr/>
              </p:nvSpPr>
              <p:spPr bwMode="auto">
                <a:xfrm>
                  <a:off x="9860434" y="5617475"/>
                  <a:ext cx="87432" cy="87432"/>
                </a:xfrm>
                <a:custGeom>
                  <a:avLst/>
                  <a:gdLst>
                    <a:gd name="T0" fmla="*/ 255 w 268"/>
                    <a:gd name="T1" fmla="*/ 269 h 269"/>
                    <a:gd name="T2" fmla="*/ 255 w 268"/>
                    <a:gd name="T3" fmla="*/ 269 h 269"/>
                    <a:gd name="T4" fmla="*/ 0 w 268"/>
                    <a:gd name="T5" fmla="*/ 13 h 269"/>
                    <a:gd name="T6" fmla="*/ 13 w 268"/>
                    <a:gd name="T7" fmla="*/ 0 h 269"/>
                    <a:gd name="T8" fmla="*/ 27 w 268"/>
                    <a:gd name="T9" fmla="*/ 13 h 269"/>
                    <a:gd name="T10" fmla="*/ 255 w 268"/>
                    <a:gd name="T11" fmla="*/ 242 h 269"/>
                    <a:gd name="T12" fmla="*/ 268 w 268"/>
                    <a:gd name="T13" fmla="*/ 255 h 269"/>
                    <a:gd name="T14" fmla="*/ 255 w 268"/>
                    <a:gd name="T15" fmla="*/ 269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9">
                      <a:moveTo>
                        <a:pt x="255" y="269"/>
                      </a:moveTo>
                      <a:lnTo>
                        <a:pt x="255" y="269"/>
                      </a:lnTo>
                      <a:cubicBezTo>
                        <a:pt x="114" y="269"/>
                        <a:pt x="0" y="154"/>
                        <a:pt x="0" y="13"/>
                      </a:cubicBezTo>
                      <a:cubicBezTo>
                        <a:pt x="0" y="6"/>
                        <a:pt x="6" y="0"/>
                        <a:pt x="13" y="0"/>
                      </a:cubicBezTo>
                      <a:cubicBezTo>
                        <a:pt x="21" y="0"/>
                        <a:pt x="27" y="6"/>
                        <a:pt x="27" y="13"/>
                      </a:cubicBezTo>
                      <a:cubicBezTo>
                        <a:pt x="27" y="139"/>
                        <a:pt x="129" y="242"/>
                        <a:pt x="255" y="242"/>
                      </a:cubicBezTo>
                      <a:cubicBezTo>
                        <a:pt x="262" y="242"/>
                        <a:pt x="268" y="248"/>
                        <a:pt x="268" y="255"/>
                      </a:cubicBezTo>
                      <a:cubicBezTo>
                        <a:pt x="268" y="263"/>
                        <a:pt x="262" y="269"/>
                        <a:pt x="255" y="2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97" name="Freeform 213">
                  <a:extLst>
                    <a:ext uri="{FF2B5EF4-FFF2-40B4-BE49-F238E27FC236}">
                      <a16:creationId xmlns:a16="http://schemas.microsoft.com/office/drawing/2014/main" id="{043F860A-ED45-4C9A-8063-C4C937BE3C99}"/>
                    </a:ext>
                  </a:extLst>
                </p:cNvPr>
                <p:cNvSpPr>
                  <a:spLocks noEditPoints="1"/>
                </p:cNvSpPr>
                <p:nvPr/>
              </p:nvSpPr>
              <p:spPr bwMode="auto">
                <a:xfrm>
                  <a:off x="10187494" y="5617475"/>
                  <a:ext cx="166768" cy="87432"/>
                </a:xfrm>
                <a:custGeom>
                  <a:avLst/>
                  <a:gdLst>
                    <a:gd name="T0" fmla="*/ 27 w 510"/>
                    <a:gd name="T1" fmla="*/ 27 h 269"/>
                    <a:gd name="T2" fmla="*/ 27 w 510"/>
                    <a:gd name="T3" fmla="*/ 27 h 269"/>
                    <a:gd name="T4" fmla="*/ 255 w 510"/>
                    <a:gd name="T5" fmla="*/ 242 h 269"/>
                    <a:gd name="T6" fmla="*/ 483 w 510"/>
                    <a:gd name="T7" fmla="*/ 27 h 269"/>
                    <a:gd name="T8" fmla="*/ 27 w 510"/>
                    <a:gd name="T9" fmla="*/ 27 h 269"/>
                    <a:gd name="T10" fmla="*/ 255 w 510"/>
                    <a:gd name="T11" fmla="*/ 269 h 269"/>
                    <a:gd name="T12" fmla="*/ 255 w 510"/>
                    <a:gd name="T13" fmla="*/ 269 h 269"/>
                    <a:gd name="T14" fmla="*/ 0 w 510"/>
                    <a:gd name="T15" fmla="*/ 13 h 269"/>
                    <a:gd name="T16" fmla="*/ 0 w 510"/>
                    <a:gd name="T17" fmla="*/ 0 h 269"/>
                    <a:gd name="T18" fmla="*/ 510 w 510"/>
                    <a:gd name="T19" fmla="*/ 0 h 269"/>
                    <a:gd name="T20" fmla="*/ 510 w 510"/>
                    <a:gd name="T21" fmla="*/ 13 h 269"/>
                    <a:gd name="T22" fmla="*/ 255 w 510"/>
                    <a:gd name="T23"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269">
                      <a:moveTo>
                        <a:pt x="27" y="27"/>
                      </a:moveTo>
                      <a:lnTo>
                        <a:pt x="27" y="27"/>
                      </a:lnTo>
                      <a:cubicBezTo>
                        <a:pt x="34" y="146"/>
                        <a:pt x="134" y="242"/>
                        <a:pt x="255" y="242"/>
                      </a:cubicBezTo>
                      <a:cubicBezTo>
                        <a:pt x="377" y="242"/>
                        <a:pt x="476" y="146"/>
                        <a:pt x="483" y="27"/>
                      </a:cubicBezTo>
                      <a:lnTo>
                        <a:pt x="27" y="27"/>
                      </a:lnTo>
                      <a:close/>
                      <a:moveTo>
                        <a:pt x="255" y="269"/>
                      </a:moveTo>
                      <a:lnTo>
                        <a:pt x="255" y="269"/>
                      </a:lnTo>
                      <a:cubicBezTo>
                        <a:pt x="115" y="269"/>
                        <a:pt x="0" y="154"/>
                        <a:pt x="0" y="13"/>
                      </a:cubicBezTo>
                      <a:lnTo>
                        <a:pt x="0" y="0"/>
                      </a:lnTo>
                      <a:lnTo>
                        <a:pt x="510" y="0"/>
                      </a:lnTo>
                      <a:lnTo>
                        <a:pt x="510" y="13"/>
                      </a:lnTo>
                      <a:cubicBezTo>
                        <a:pt x="510" y="154"/>
                        <a:pt x="396" y="269"/>
                        <a:pt x="255" y="2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98" name="Freeform 214">
                  <a:extLst>
                    <a:ext uri="{FF2B5EF4-FFF2-40B4-BE49-F238E27FC236}">
                      <a16:creationId xmlns:a16="http://schemas.microsoft.com/office/drawing/2014/main" id="{91467171-BC36-4246-BC0A-AEA0B235795D}"/>
                    </a:ext>
                  </a:extLst>
                </p:cNvPr>
                <p:cNvSpPr>
                  <a:spLocks/>
                </p:cNvSpPr>
                <p:nvPr/>
              </p:nvSpPr>
              <p:spPr bwMode="auto">
                <a:xfrm>
                  <a:off x="10187494" y="5212698"/>
                  <a:ext cx="8096" cy="412873"/>
                </a:xfrm>
                <a:custGeom>
                  <a:avLst/>
                  <a:gdLst>
                    <a:gd name="T0" fmla="*/ 14 w 27"/>
                    <a:gd name="T1" fmla="*/ 1260 h 1260"/>
                    <a:gd name="T2" fmla="*/ 14 w 27"/>
                    <a:gd name="T3" fmla="*/ 1260 h 1260"/>
                    <a:gd name="T4" fmla="*/ 0 w 27"/>
                    <a:gd name="T5" fmla="*/ 1246 h 1260"/>
                    <a:gd name="T6" fmla="*/ 0 w 27"/>
                    <a:gd name="T7" fmla="*/ 13 h 1260"/>
                    <a:gd name="T8" fmla="*/ 14 w 27"/>
                    <a:gd name="T9" fmla="*/ 0 h 1260"/>
                    <a:gd name="T10" fmla="*/ 27 w 27"/>
                    <a:gd name="T11" fmla="*/ 13 h 1260"/>
                    <a:gd name="T12" fmla="*/ 27 w 27"/>
                    <a:gd name="T13" fmla="*/ 1246 h 1260"/>
                    <a:gd name="T14" fmla="*/ 14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4" y="1260"/>
                      </a:moveTo>
                      <a:lnTo>
                        <a:pt x="14" y="1260"/>
                      </a:lnTo>
                      <a:cubicBezTo>
                        <a:pt x="6" y="1260"/>
                        <a:pt x="0" y="1254"/>
                        <a:pt x="0" y="1246"/>
                      </a:cubicBezTo>
                      <a:lnTo>
                        <a:pt x="0" y="13"/>
                      </a:lnTo>
                      <a:cubicBezTo>
                        <a:pt x="0" y="6"/>
                        <a:pt x="6" y="0"/>
                        <a:pt x="14" y="0"/>
                      </a:cubicBezTo>
                      <a:cubicBezTo>
                        <a:pt x="21" y="0"/>
                        <a:pt x="27" y="6"/>
                        <a:pt x="27" y="13"/>
                      </a:cubicBezTo>
                      <a:lnTo>
                        <a:pt x="27" y="1246"/>
                      </a:lnTo>
                      <a:cubicBezTo>
                        <a:pt x="27" y="1254"/>
                        <a:pt x="21" y="1260"/>
                        <a:pt x="14" y="126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99" name="Freeform 215">
                  <a:extLst>
                    <a:ext uri="{FF2B5EF4-FFF2-40B4-BE49-F238E27FC236}">
                      <a16:creationId xmlns:a16="http://schemas.microsoft.com/office/drawing/2014/main" id="{1CFFDA60-6E76-474D-B716-7402262ABEF3}"/>
                    </a:ext>
                  </a:extLst>
                </p:cNvPr>
                <p:cNvSpPr>
                  <a:spLocks/>
                </p:cNvSpPr>
                <p:nvPr/>
              </p:nvSpPr>
              <p:spPr bwMode="auto">
                <a:xfrm>
                  <a:off x="9860434" y="5212698"/>
                  <a:ext cx="8096" cy="412873"/>
                </a:xfrm>
                <a:custGeom>
                  <a:avLst/>
                  <a:gdLst>
                    <a:gd name="T0" fmla="*/ 13 w 27"/>
                    <a:gd name="T1" fmla="*/ 1260 h 1260"/>
                    <a:gd name="T2" fmla="*/ 13 w 27"/>
                    <a:gd name="T3" fmla="*/ 1260 h 1260"/>
                    <a:gd name="T4" fmla="*/ 0 w 27"/>
                    <a:gd name="T5" fmla="*/ 1246 h 1260"/>
                    <a:gd name="T6" fmla="*/ 0 w 27"/>
                    <a:gd name="T7" fmla="*/ 13 h 1260"/>
                    <a:gd name="T8" fmla="*/ 13 w 27"/>
                    <a:gd name="T9" fmla="*/ 0 h 1260"/>
                    <a:gd name="T10" fmla="*/ 27 w 27"/>
                    <a:gd name="T11" fmla="*/ 13 h 1260"/>
                    <a:gd name="T12" fmla="*/ 27 w 27"/>
                    <a:gd name="T13" fmla="*/ 1246 h 1260"/>
                    <a:gd name="T14" fmla="*/ 13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3" y="1260"/>
                      </a:moveTo>
                      <a:lnTo>
                        <a:pt x="13" y="1260"/>
                      </a:lnTo>
                      <a:cubicBezTo>
                        <a:pt x="6" y="1260"/>
                        <a:pt x="0" y="1254"/>
                        <a:pt x="0" y="1246"/>
                      </a:cubicBezTo>
                      <a:lnTo>
                        <a:pt x="0" y="13"/>
                      </a:lnTo>
                      <a:cubicBezTo>
                        <a:pt x="0" y="6"/>
                        <a:pt x="6" y="0"/>
                        <a:pt x="13" y="0"/>
                      </a:cubicBezTo>
                      <a:cubicBezTo>
                        <a:pt x="21" y="0"/>
                        <a:pt x="27" y="6"/>
                        <a:pt x="27" y="13"/>
                      </a:cubicBezTo>
                      <a:lnTo>
                        <a:pt x="27" y="1246"/>
                      </a:lnTo>
                      <a:cubicBezTo>
                        <a:pt x="27" y="1254"/>
                        <a:pt x="21" y="1260"/>
                        <a:pt x="13" y="126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00" name="Freeform 216">
                  <a:extLst>
                    <a:ext uri="{FF2B5EF4-FFF2-40B4-BE49-F238E27FC236}">
                      <a16:creationId xmlns:a16="http://schemas.microsoft.com/office/drawing/2014/main" id="{D8FC6C6C-0F7F-4ADE-BFA7-BE05F11E2AC4}"/>
                    </a:ext>
                  </a:extLst>
                </p:cNvPr>
                <p:cNvSpPr>
                  <a:spLocks/>
                </p:cNvSpPr>
                <p:nvPr/>
              </p:nvSpPr>
              <p:spPr bwMode="auto">
                <a:xfrm>
                  <a:off x="9842623" y="5133362"/>
                  <a:ext cx="273630" cy="9715"/>
                </a:xfrm>
                <a:custGeom>
                  <a:avLst/>
                  <a:gdLst>
                    <a:gd name="T0" fmla="*/ 831 w 844"/>
                    <a:gd name="T1" fmla="*/ 27 h 27"/>
                    <a:gd name="T2" fmla="*/ 831 w 844"/>
                    <a:gd name="T3" fmla="*/ 27 h 27"/>
                    <a:gd name="T4" fmla="*/ 14 w 844"/>
                    <a:gd name="T5" fmla="*/ 27 h 27"/>
                    <a:gd name="T6" fmla="*/ 0 w 844"/>
                    <a:gd name="T7" fmla="*/ 13 h 27"/>
                    <a:gd name="T8" fmla="*/ 14 w 844"/>
                    <a:gd name="T9" fmla="*/ 0 h 27"/>
                    <a:gd name="T10" fmla="*/ 831 w 844"/>
                    <a:gd name="T11" fmla="*/ 0 h 27"/>
                    <a:gd name="T12" fmla="*/ 844 w 844"/>
                    <a:gd name="T13" fmla="*/ 13 h 27"/>
                    <a:gd name="T14" fmla="*/ 831 w 8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4" h="27">
                      <a:moveTo>
                        <a:pt x="831" y="27"/>
                      </a:moveTo>
                      <a:lnTo>
                        <a:pt x="831" y="27"/>
                      </a:lnTo>
                      <a:lnTo>
                        <a:pt x="14" y="27"/>
                      </a:lnTo>
                      <a:cubicBezTo>
                        <a:pt x="6" y="27"/>
                        <a:pt x="0" y="21"/>
                        <a:pt x="0" y="13"/>
                      </a:cubicBezTo>
                      <a:cubicBezTo>
                        <a:pt x="0" y="6"/>
                        <a:pt x="6" y="0"/>
                        <a:pt x="14" y="0"/>
                      </a:cubicBezTo>
                      <a:lnTo>
                        <a:pt x="831" y="0"/>
                      </a:lnTo>
                      <a:cubicBezTo>
                        <a:pt x="838" y="0"/>
                        <a:pt x="844" y="6"/>
                        <a:pt x="844" y="13"/>
                      </a:cubicBezTo>
                      <a:cubicBezTo>
                        <a:pt x="844" y="21"/>
                        <a:pt x="838" y="27"/>
                        <a:pt x="831"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01" name="Freeform 217">
                  <a:extLst>
                    <a:ext uri="{FF2B5EF4-FFF2-40B4-BE49-F238E27FC236}">
                      <a16:creationId xmlns:a16="http://schemas.microsoft.com/office/drawing/2014/main" id="{B1A7457C-7D0C-4FDB-9AD8-C404854F1181}"/>
                    </a:ext>
                  </a:extLst>
                </p:cNvPr>
                <p:cNvSpPr>
                  <a:spLocks/>
                </p:cNvSpPr>
                <p:nvPr/>
              </p:nvSpPr>
              <p:spPr bwMode="auto">
                <a:xfrm>
                  <a:off x="9939770" y="5695192"/>
                  <a:ext cx="335156" cy="9715"/>
                </a:xfrm>
                <a:custGeom>
                  <a:avLst/>
                  <a:gdLst>
                    <a:gd name="T0" fmla="*/ 1016 w 1030"/>
                    <a:gd name="T1" fmla="*/ 27 h 27"/>
                    <a:gd name="T2" fmla="*/ 1016 w 1030"/>
                    <a:gd name="T3" fmla="*/ 27 h 27"/>
                    <a:gd name="T4" fmla="*/ 14 w 1030"/>
                    <a:gd name="T5" fmla="*/ 27 h 27"/>
                    <a:gd name="T6" fmla="*/ 0 w 1030"/>
                    <a:gd name="T7" fmla="*/ 13 h 27"/>
                    <a:gd name="T8" fmla="*/ 14 w 1030"/>
                    <a:gd name="T9" fmla="*/ 0 h 27"/>
                    <a:gd name="T10" fmla="*/ 1016 w 1030"/>
                    <a:gd name="T11" fmla="*/ 0 h 27"/>
                    <a:gd name="T12" fmla="*/ 1030 w 1030"/>
                    <a:gd name="T13" fmla="*/ 13 h 27"/>
                    <a:gd name="T14" fmla="*/ 1016 w 1030"/>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27">
                      <a:moveTo>
                        <a:pt x="1016" y="27"/>
                      </a:moveTo>
                      <a:lnTo>
                        <a:pt x="1016" y="27"/>
                      </a:lnTo>
                      <a:lnTo>
                        <a:pt x="14" y="27"/>
                      </a:lnTo>
                      <a:cubicBezTo>
                        <a:pt x="6" y="27"/>
                        <a:pt x="0" y="21"/>
                        <a:pt x="0" y="13"/>
                      </a:cubicBezTo>
                      <a:cubicBezTo>
                        <a:pt x="0" y="6"/>
                        <a:pt x="6" y="0"/>
                        <a:pt x="14" y="0"/>
                      </a:cubicBezTo>
                      <a:lnTo>
                        <a:pt x="1016" y="0"/>
                      </a:lnTo>
                      <a:cubicBezTo>
                        <a:pt x="1024" y="0"/>
                        <a:pt x="1030" y="6"/>
                        <a:pt x="1030" y="13"/>
                      </a:cubicBezTo>
                      <a:cubicBezTo>
                        <a:pt x="1030" y="21"/>
                        <a:pt x="1024" y="27"/>
                        <a:pt x="1016"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02" name="Freeform 218">
                  <a:extLst>
                    <a:ext uri="{FF2B5EF4-FFF2-40B4-BE49-F238E27FC236}">
                      <a16:creationId xmlns:a16="http://schemas.microsoft.com/office/drawing/2014/main" id="{9630983B-0EFA-48EF-9C68-8108C4A0994E}"/>
                    </a:ext>
                  </a:extLst>
                </p:cNvPr>
                <p:cNvSpPr>
                  <a:spLocks/>
                </p:cNvSpPr>
                <p:nvPr/>
              </p:nvSpPr>
              <p:spPr bwMode="auto">
                <a:xfrm>
                  <a:off x="9763287" y="5133362"/>
                  <a:ext cx="432302" cy="89051"/>
                </a:xfrm>
                <a:custGeom>
                  <a:avLst/>
                  <a:gdLst>
                    <a:gd name="T0" fmla="*/ 1314 w 1327"/>
                    <a:gd name="T1" fmla="*/ 269 h 269"/>
                    <a:gd name="T2" fmla="*/ 1314 w 1327"/>
                    <a:gd name="T3" fmla="*/ 269 h 269"/>
                    <a:gd name="T4" fmla="*/ 1300 w 1327"/>
                    <a:gd name="T5" fmla="*/ 255 h 269"/>
                    <a:gd name="T6" fmla="*/ 1072 w 1327"/>
                    <a:gd name="T7" fmla="*/ 27 h 269"/>
                    <a:gd name="T8" fmla="*/ 843 w 1327"/>
                    <a:gd name="T9" fmla="*/ 255 h 269"/>
                    <a:gd name="T10" fmla="*/ 843 w 1327"/>
                    <a:gd name="T11" fmla="*/ 269 h 269"/>
                    <a:gd name="T12" fmla="*/ 0 w 1327"/>
                    <a:gd name="T13" fmla="*/ 269 h 269"/>
                    <a:gd name="T14" fmla="*/ 0 w 1327"/>
                    <a:gd name="T15" fmla="*/ 255 h 269"/>
                    <a:gd name="T16" fmla="*/ 255 w 1327"/>
                    <a:gd name="T17" fmla="*/ 0 h 269"/>
                    <a:gd name="T18" fmla="*/ 268 w 1327"/>
                    <a:gd name="T19" fmla="*/ 13 h 269"/>
                    <a:gd name="T20" fmla="*/ 255 w 1327"/>
                    <a:gd name="T21" fmla="*/ 27 h 269"/>
                    <a:gd name="T22" fmla="*/ 27 w 1327"/>
                    <a:gd name="T23" fmla="*/ 242 h 269"/>
                    <a:gd name="T24" fmla="*/ 817 w 1327"/>
                    <a:gd name="T25" fmla="*/ 242 h 269"/>
                    <a:gd name="T26" fmla="*/ 1072 w 1327"/>
                    <a:gd name="T27" fmla="*/ 0 h 269"/>
                    <a:gd name="T28" fmla="*/ 1327 w 1327"/>
                    <a:gd name="T29" fmla="*/ 255 h 269"/>
                    <a:gd name="T30" fmla="*/ 1314 w 1327"/>
                    <a:gd name="T3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7" h="269">
                      <a:moveTo>
                        <a:pt x="1314" y="269"/>
                      </a:moveTo>
                      <a:lnTo>
                        <a:pt x="1314" y="269"/>
                      </a:lnTo>
                      <a:cubicBezTo>
                        <a:pt x="1306" y="269"/>
                        <a:pt x="1300" y="263"/>
                        <a:pt x="1300" y="255"/>
                      </a:cubicBezTo>
                      <a:cubicBezTo>
                        <a:pt x="1300" y="129"/>
                        <a:pt x="1198" y="27"/>
                        <a:pt x="1072" y="27"/>
                      </a:cubicBezTo>
                      <a:cubicBezTo>
                        <a:pt x="946" y="27"/>
                        <a:pt x="843" y="129"/>
                        <a:pt x="843" y="255"/>
                      </a:cubicBezTo>
                      <a:lnTo>
                        <a:pt x="843" y="269"/>
                      </a:lnTo>
                      <a:lnTo>
                        <a:pt x="0" y="269"/>
                      </a:lnTo>
                      <a:lnTo>
                        <a:pt x="0" y="255"/>
                      </a:lnTo>
                      <a:cubicBezTo>
                        <a:pt x="0" y="115"/>
                        <a:pt x="114" y="0"/>
                        <a:pt x="255" y="0"/>
                      </a:cubicBezTo>
                      <a:cubicBezTo>
                        <a:pt x="262" y="0"/>
                        <a:pt x="268" y="6"/>
                        <a:pt x="268" y="13"/>
                      </a:cubicBezTo>
                      <a:cubicBezTo>
                        <a:pt x="268" y="21"/>
                        <a:pt x="262" y="27"/>
                        <a:pt x="255" y="27"/>
                      </a:cubicBezTo>
                      <a:cubicBezTo>
                        <a:pt x="133" y="27"/>
                        <a:pt x="33" y="122"/>
                        <a:pt x="27" y="242"/>
                      </a:cubicBezTo>
                      <a:lnTo>
                        <a:pt x="817" y="242"/>
                      </a:lnTo>
                      <a:cubicBezTo>
                        <a:pt x="824" y="107"/>
                        <a:pt x="936" y="0"/>
                        <a:pt x="1072" y="0"/>
                      </a:cubicBezTo>
                      <a:cubicBezTo>
                        <a:pt x="1213" y="0"/>
                        <a:pt x="1327" y="115"/>
                        <a:pt x="1327" y="255"/>
                      </a:cubicBezTo>
                      <a:cubicBezTo>
                        <a:pt x="1327" y="263"/>
                        <a:pt x="1321" y="269"/>
                        <a:pt x="1314" y="2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03" name="Freeform 219">
                  <a:extLst>
                    <a:ext uri="{FF2B5EF4-FFF2-40B4-BE49-F238E27FC236}">
                      <a16:creationId xmlns:a16="http://schemas.microsoft.com/office/drawing/2014/main" id="{213CDD9E-B8D7-4A2C-BC39-5C4A5702A661}"/>
                    </a:ext>
                  </a:extLst>
                </p:cNvPr>
                <p:cNvSpPr>
                  <a:spLocks/>
                </p:cNvSpPr>
                <p:nvPr/>
              </p:nvSpPr>
              <p:spPr bwMode="auto">
                <a:xfrm>
                  <a:off x="9920341" y="5266129"/>
                  <a:ext cx="221818" cy="9715"/>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04" name="Freeform 220">
                  <a:extLst>
                    <a:ext uri="{FF2B5EF4-FFF2-40B4-BE49-F238E27FC236}">
                      <a16:creationId xmlns:a16="http://schemas.microsoft.com/office/drawing/2014/main" id="{0FA9162D-2D70-4ED6-8C0C-B6DC2723D3CC}"/>
                    </a:ext>
                  </a:extLst>
                </p:cNvPr>
                <p:cNvSpPr>
                  <a:spLocks/>
                </p:cNvSpPr>
                <p:nvPr/>
              </p:nvSpPr>
              <p:spPr bwMode="auto">
                <a:xfrm>
                  <a:off x="9920341" y="5314702"/>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05" name="Freeform 221">
                  <a:extLst>
                    <a:ext uri="{FF2B5EF4-FFF2-40B4-BE49-F238E27FC236}">
                      <a16:creationId xmlns:a16="http://schemas.microsoft.com/office/drawing/2014/main" id="{009A7EB3-6CE7-4363-A2D8-F7FE167C7BAD}"/>
                    </a:ext>
                  </a:extLst>
                </p:cNvPr>
                <p:cNvSpPr>
                  <a:spLocks/>
                </p:cNvSpPr>
                <p:nvPr/>
              </p:nvSpPr>
              <p:spPr bwMode="auto">
                <a:xfrm>
                  <a:off x="9920341" y="5364894"/>
                  <a:ext cx="221818" cy="8096"/>
                </a:xfrm>
                <a:custGeom>
                  <a:avLst/>
                  <a:gdLst>
                    <a:gd name="T0" fmla="*/ 665 w 678"/>
                    <a:gd name="T1" fmla="*/ 26 h 26"/>
                    <a:gd name="T2" fmla="*/ 665 w 678"/>
                    <a:gd name="T3" fmla="*/ 26 h 26"/>
                    <a:gd name="T4" fmla="*/ 13 w 678"/>
                    <a:gd name="T5" fmla="*/ 26 h 26"/>
                    <a:gd name="T6" fmla="*/ 0 w 678"/>
                    <a:gd name="T7" fmla="*/ 13 h 26"/>
                    <a:gd name="T8" fmla="*/ 13 w 678"/>
                    <a:gd name="T9" fmla="*/ 0 h 26"/>
                    <a:gd name="T10" fmla="*/ 665 w 678"/>
                    <a:gd name="T11" fmla="*/ 0 h 26"/>
                    <a:gd name="T12" fmla="*/ 678 w 678"/>
                    <a:gd name="T13" fmla="*/ 13 h 26"/>
                    <a:gd name="T14" fmla="*/ 665 w 67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6">
                      <a:moveTo>
                        <a:pt x="665" y="26"/>
                      </a:moveTo>
                      <a:lnTo>
                        <a:pt x="665" y="26"/>
                      </a:lnTo>
                      <a:lnTo>
                        <a:pt x="13" y="26"/>
                      </a:lnTo>
                      <a:cubicBezTo>
                        <a:pt x="6" y="26"/>
                        <a:pt x="0" y="20"/>
                        <a:pt x="0" y="13"/>
                      </a:cubicBezTo>
                      <a:cubicBezTo>
                        <a:pt x="0" y="6"/>
                        <a:pt x="6" y="0"/>
                        <a:pt x="13" y="0"/>
                      </a:cubicBezTo>
                      <a:lnTo>
                        <a:pt x="665" y="0"/>
                      </a:lnTo>
                      <a:cubicBezTo>
                        <a:pt x="672" y="0"/>
                        <a:pt x="678" y="6"/>
                        <a:pt x="678" y="13"/>
                      </a:cubicBezTo>
                      <a:cubicBezTo>
                        <a:pt x="678" y="20"/>
                        <a:pt x="672" y="26"/>
                        <a:pt x="665"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06" name="Freeform 222">
                  <a:extLst>
                    <a:ext uri="{FF2B5EF4-FFF2-40B4-BE49-F238E27FC236}">
                      <a16:creationId xmlns:a16="http://schemas.microsoft.com/office/drawing/2014/main" id="{CD0077DC-5596-4702-A2DD-3BFAD52908FA}"/>
                    </a:ext>
                  </a:extLst>
                </p:cNvPr>
                <p:cNvSpPr>
                  <a:spLocks/>
                </p:cNvSpPr>
                <p:nvPr/>
              </p:nvSpPr>
              <p:spPr bwMode="auto">
                <a:xfrm>
                  <a:off x="9920341" y="5413468"/>
                  <a:ext cx="221818" cy="8096"/>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07" name="Freeform 223">
                  <a:extLst>
                    <a:ext uri="{FF2B5EF4-FFF2-40B4-BE49-F238E27FC236}">
                      <a16:creationId xmlns:a16="http://schemas.microsoft.com/office/drawing/2014/main" id="{ACB5D871-2D2D-4579-A3A5-D9D3FA2D7EE2}"/>
                    </a:ext>
                  </a:extLst>
                </p:cNvPr>
                <p:cNvSpPr>
                  <a:spLocks/>
                </p:cNvSpPr>
                <p:nvPr/>
              </p:nvSpPr>
              <p:spPr bwMode="auto">
                <a:xfrm>
                  <a:off x="9920341" y="5462041"/>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08" name="Freeform 224">
                  <a:extLst>
                    <a:ext uri="{FF2B5EF4-FFF2-40B4-BE49-F238E27FC236}">
                      <a16:creationId xmlns:a16="http://schemas.microsoft.com/office/drawing/2014/main" id="{D956A10E-A6B3-4D12-91AC-929E74D387AA}"/>
                    </a:ext>
                  </a:extLst>
                </p:cNvPr>
                <p:cNvSpPr>
                  <a:spLocks/>
                </p:cNvSpPr>
                <p:nvPr/>
              </p:nvSpPr>
              <p:spPr bwMode="auto">
                <a:xfrm>
                  <a:off x="9920340" y="5518710"/>
                  <a:ext cx="219456" cy="9715"/>
                </a:xfrm>
                <a:custGeom>
                  <a:avLst/>
                  <a:gdLst>
                    <a:gd name="T0" fmla="*/ 330 w 344"/>
                    <a:gd name="T1" fmla="*/ 27 h 27"/>
                    <a:gd name="T2" fmla="*/ 330 w 344"/>
                    <a:gd name="T3" fmla="*/ 27 h 27"/>
                    <a:gd name="T4" fmla="*/ 13 w 344"/>
                    <a:gd name="T5" fmla="*/ 27 h 27"/>
                    <a:gd name="T6" fmla="*/ 0 w 344"/>
                    <a:gd name="T7" fmla="*/ 14 h 27"/>
                    <a:gd name="T8" fmla="*/ 13 w 344"/>
                    <a:gd name="T9" fmla="*/ 0 h 27"/>
                    <a:gd name="T10" fmla="*/ 330 w 344"/>
                    <a:gd name="T11" fmla="*/ 0 h 27"/>
                    <a:gd name="T12" fmla="*/ 344 w 344"/>
                    <a:gd name="T13" fmla="*/ 14 h 27"/>
                    <a:gd name="T14" fmla="*/ 330 w 3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7">
                      <a:moveTo>
                        <a:pt x="330" y="27"/>
                      </a:moveTo>
                      <a:lnTo>
                        <a:pt x="330" y="27"/>
                      </a:lnTo>
                      <a:lnTo>
                        <a:pt x="13" y="27"/>
                      </a:lnTo>
                      <a:cubicBezTo>
                        <a:pt x="6" y="27"/>
                        <a:pt x="0" y="21"/>
                        <a:pt x="0" y="14"/>
                      </a:cubicBezTo>
                      <a:cubicBezTo>
                        <a:pt x="0" y="6"/>
                        <a:pt x="6" y="0"/>
                        <a:pt x="13" y="0"/>
                      </a:cubicBezTo>
                      <a:lnTo>
                        <a:pt x="330" y="0"/>
                      </a:lnTo>
                      <a:cubicBezTo>
                        <a:pt x="338" y="0"/>
                        <a:pt x="344" y="6"/>
                        <a:pt x="344" y="14"/>
                      </a:cubicBezTo>
                      <a:cubicBezTo>
                        <a:pt x="344" y="21"/>
                        <a:pt x="338" y="27"/>
                        <a:pt x="330"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164" name="Group 163">
                <a:extLst>
                  <a:ext uri="{FF2B5EF4-FFF2-40B4-BE49-F238E27FC236}">
                    <a16:creationId xmlns:a16="http://schemas.microsoft.com/office/drawing/2014/main" id="{DF1E322B-96B9-477A-9A20-573742646ABC}"/>
                  </a:ext>
                </a:extLst>
              </p:cNvPr>
              <p:cNvGrpSpPr/>
              <p:nvPr/>
            </p:nvGrpSpPr>
            <p:grpSpPr>
              <a:xfrm>
                <a:off x="4565401" y="4207980"/>
                <a:ext cx="557986" cy="539640"/>
                <a:chOff x="4212581" y="4384439"/>
                <a:chExt cx="590975" cy="571545"/>
              </a:xfrm>
              <a:grpFill/>
            </p:grpSpPr>
            <p:sp>
              <p:nvSpPr>
                <p:cNvPr id="181" name="Rectangle: Top Corners Rounded 180">
                  <a:extLst>
                    <a:ext uri="{FF2B5EF4-FFF2-40B4-BE49-F238E27FC236}">
                      <a16:creationId xmlns:a16="http://schemas.microsoft.com/office/drawing/2014/main" id="{1982179D-826C-4C67-96EF-98B276C2C013}"/>
                    </a:ext>
                  </a:extLst>
                </p:cNvPr>
                <p:cNvSpPr/>
                <p:nvPr/>
              </p:nvSpPr>
              <p:spPr bwMode="auto">
                <a:xfrm>
                  <a:off x="4317350" y="4394156"/>
                  <a:ext cx="319438" cy="493088"/>
                </a:xfrm>
                <a:prstGeom prst="round2SameRect">
                  <a:avLst>
                    <a:gd name="adj1" fmla="val 22258"/>
                    <a:gd name="adj2"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182" name="Group 181">
                  <a:extLst>
                    <a:ext uri="{FF2B5EF4-FFF2-40B4-BE49-F238E27FC236}">
                      <a16:creationId xmlns:a16="http://schemas.microsoft.com/office/drawing/2014/main" id="{70BAF434-7EF3-44D6-9D1C-014727B8308F}"/>
                    </a:ext>
                  </a:extLst>
                </p:cNvPr>
                <p:cNvGrpSpPr/>
                <p:nvPr/>
              </p:nvGrpSpPr>
              <p:grpSpPr>
                <a:xfrm>
                  <a:off x="4212581" y="4384439"/>
                  <a:ext cx="590975" cy="571545"/>
                  <a:chOff x="9763287" y="5133362"/>
                  <a:chExt cx="590975" cy="571545"/>
                </a:xfrm>
                <a:grpFill/>
              </p:grpSpPr>
              <p:sp>
                <p:nvSpPr>
                  <p:cNvPr id="183" name="Freeform 212">
                    <a:extLst>
                      <a:ext uri="{FF2B5EF4-FFF2-40B4-BE49-F238E27FC236}">
                        <a16:creationId xmlns:a16="http://schemas.microsoft.com/office/drawing/2014/main" id="{FD84D33F-F68B-44E7-B853-15F783447E97}"/>
                      </a:ext>
                    </a:extLst>
                  </p:cNvPr>
                  <p:cNvSpPr>
                    <a:spLocks/>
                  </p:cNvSpPr>
                  <p:nvPr/>
                </p:nvSpPr>
                <p:spPr bwMode="auto">
                  <a:xfrm>
                    <a:off x="9860434" y="5617475"/>
                    <a:ext cx="87432" cy="87432"/>
                  </a:xfrm>
                  <a:custGeom>
                    <a:avLst/>
                    <a:gdLst>
                      <a:gd name="T0" fmla="*/ 255 w 268"/>
                      <a:gd name="T1" fmla="*/ 269 h 269"/>
                      <a:gd name="T2" fmla="*/ 255 w 268"/>
                      <a:gd name="T3" fmla="*/ 269 h 269"/>
                      <a:gd name="T4" fmla="*/ 0 w 268"/>
                      <a:gd name="T5" fmla="*/ 13 h 269"/>
                      <a:gd name="T6" fmla="*/ 13 w 268"/>
                      <a:gd name="T7" fmla="*/ 0 h 269"/>
                      <a:gd name="T8" fmla="*/ 27 w 268"/>
                      <a:gd name="T9" fmla="*/ 13 h 269"/>
                      <a:gd name="T10" fmla="*/ 255 w 268"/>
                      <a:gd name="T11" fmla="*/ 242 h 269"/>
                      <a:gd name="T12" fmla="*/ 268 w 268"/>
                      <a:gd name="T13" fmla="*/ 255 h 269"/>
                      <a:gd name="T14" fmla="*/ 255 w 268"/>
                      <a:gd name="T15" fmla="*/ 269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9">
                        <a:moveTo>
                          <a:pt x="255" y="269"/>
                        </a:moveTo>
                        <a:lnTo>
                          <a:pt x="255" y="269"/>
                        </a:lnTo>
                        <a:cubicBezTo>
                          <a:pt x="114" y="269"/>
                          <a:pt x="0" y="154"/>
                          <a:pt x="0" y="13"/>
                        </a:cubicBezTo>
                        <a:cubicBezTo>
                          <a:pt x="0" y="6"/>
                          <a:pt x="6" y="0"/>
                          <a:pt x="13" y="0"/>
                        </a:cubicBezTo>
                        <a:cubicBezTo>
                          <a:pt x="21" y="0"/>
                          <a:pt x="27" y="6"/>
                          <a:pt x="27" y="13"/>
                        </a:cubicBezTo>
                        <a:cubicBezTo>
                          <a:pt x="27" y="139"/>
                          <a:pt x="129" y="242"/>
                          <a:pt x="255" y="242"/>
                        </a:cubicBezTo>
                        <a:cubicBezTo>
                          <a:pt x="262" y="242"/>
                          <a:pt x="268" y="248"/>
                          <a:pt x="268" y="255"/>
                        </a:cubicBezTo>
                        <a:cubicBezTo>
                          <a:pt x="268" y="263"/>
                          <a:pt x="262" y="269"/>
                          <a:pt x="255" y="2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84" name="Freeform 213">
                    <a:extLst>
                      <a:ext uri="{FF2B5EF4-FFF2-40B4-BE49-F238E27FC236}">
                        <a16:creationId xmlns:a16="http://schemas.microsoft.com/office/drawing/2014/main" id="{1B32444C-1F3B-4E91-9E1E-9923D41ED344}"/>
                      </a:ext>
                    </a:extLst>
                  </p:cNvPr>
                  <p:cNvSpPr>
                    <a:spLocks noEditPoints="1"/>
                  </p:cNvSpPr>
                  <p:nvPr/>
                </p:nvSpPr>
                <p:spPr bwMode="auto">
                  <a:xfrm>
                    <a:off x="10187494" y="5617475"/>
                    <a:ext cx="166768" cy="87432"/>
                  </a:xfrm>
                  <a:custGeom>
                    <a:avLst/>
                    <a:gdLst>
                      <a:gd name="T0" fmla="*/ 27 w 510"/>
                      <a:gd name="T1" fmla="*/ 27 h 269"/>
                      <a:gd name="T2" fmla="*/ 27 w 510"/>
                      <a:gd name="T3" fmla="*/ 27 h 269"/>
                      <a:gd name="T4" fmla="*/ 255 w 510"/>
                      <a:gd name="T5" fmla="*/ 242 h 269"/>
                      <a:gd name="T6" fmla="*/ 483 w 510"/>
                      <a:gd name="T7" fmla="*/ 27 h 269"/>
                      <a:gd name="T8" fmla="*/ 27 w 510"/>
                      <a:gd name="T9" fmla="*/ 27 h 269"/>
                      <a:gd name="T10" fmla="*/ 255 w 510"/>
                      <a:gd name="T11" fmla="*/ 269 h 269"/>
                      <a:gd name="T12" fmla="*/ 255 w 510"/>
                      <a:gd name="T13" fmla="*/ 269 h 269"/>
                      <a:gd name="T14" fmla="*/ 0 w 510"/>
                      <a:gd name="T15" fmla="*/ 13 h 269"/>
                      <a:gd name="T16" fmla="*/ 0 w 510"/>
                      <a:gd name="T17" fmla="*/ 0 h 269"/>
                      <a:gd name="T18" fmla="*/ 510 w 510"/>
                      <a:gd name="T19" fmla="*/ 0 h 269"/>
                      <a:gd name="T20" fmla="*/ 510 w 510"/>
                      <a:gd name="T21" fmla="*/ 13 h 269"/>
                      <a:gd name="T22" fmla="*/ 255 w 510"/>
                      <a:gd name="T23"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269">
                        <a:moveTo>
                          <a:pt x="27" y="27"/>
                        </a:moveTo>
                        <a:lnTo>
                          <a:pt x="27" y="27"/>
                        </a:lnTo>
                        <a:cubicBezTo>
                          <a:pt x="34" y="146"/>
                          <a:pt x="134" y="242"/>
                          <a:pt x="255" y="242"/>
                        </a:cubicBezTo>
                        <a:cubicBezTo>
                          <a:pt x="377" y="242"/>
                          <a:pt x="476" y="146"/>
                          <a:pt x="483" y="27"/>
                        </a:cubicBezTo>
                        <a:lnTo>
                          <a:pt x="27" y="27"/>
                        </a:lnTo>
                        <a:close/>
                        <a:moveTo>
                          <a:pt x="255" y="269"/>
                        </a:moveTo>
                        <a:lnTo>
                          <a:pt x="255" y="269"/>
                        </a:lnTo>
                        <a:cubicBezTo>
                          <a:pt x="115" y="269"/>
                          <a:pt x="0" y="154"/>
                          <a:pt x="0" y="13"/>
                        </a:cubicBezTo>
                        <a:lnTo>
                          <a:pt x="0" y="0"/>
                        </a:lnTo>
                        <a:lnTo>
                          <a:pt x="510" y="0"/>
                        </a:lnTo>
                        <a:lnTo>
                          <a:pt x="510" y="13"/>
                        </a:lnTo>
                        <a:cubicBezTo>
                          <a:pt x="510" y="154"/>
                          <a:pt x="396" y="269"/>
                          <a:pt x="255" y="2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85" name="Freeform 214">
                    <a:extLst>
                      <a:ext uri="{FF2B5EF4-FFF2-40B4-BE49-F238E27FC236}">
                        <a16:creationId xmlns:a16="http://schemas.microsoft.com/office/drawing/2014/main" id="{1689DB74-78C7-49F5-AAA9-4290597C6C2B}"/>
                      </a:ext>
                    </a:extLst>
                  </p:cNvPr>
                  <p:cNvSpPr>
                    <a:spLocks/>
                  </p:cNvSpPr>
                  <p:nvPr/>
                </p:nvSpPr>
                <p:spPr bwMode="auto">
                  <a:xfrm>
                    <a:off x="10187494" y="5212698"/>
                    <a:ext cx="8096" cy="412873"/>
                  </a:xfrm>
                  <a:custGeom>
                    <a:avLst/>
                    <a:gdLst>
                      <a:gd name="T0" fmla="*/ 14 w 27"/>
                      <a:gd name="T1" fmla="*/ 1260 h 1260"/>
                      <a:gd name="T2" fmla="*/ 14 w 27"/>
                      <a:gd name="T3" fmla="*/ 1260 h 1260"/>
                      <a:gd name="T4" fmla="*/ 0 w 27"/>
                      <a:gd name="T5" fmla="*/ 1246 h 1260"/>
                      <a:gd name="T6" fmla="*/ 0 w 27"/>
                      <a:gd name="T7" fmla="*/ 13 h 1260"/>
                      <a:gd name="T8" fmla="*/ 14 w 27"/>
                      <a:gd name="T9" fmla="*/ 0 h 1260"/>
                      <a:gd name="T10" fmla="*/ 27 w 27"/>
                      <a:gd name="T11" fmla="*/ 13 h 1260"/>
                      <a:gd name="T12" fmla="*/ 27 w 27"/>
                      <a:gd name="T13" fmla="*/ 1246 h 1260"/>
                      <a:gd name="T14" fmla="*/ 14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4" y="1260"/>
                        </a:moveTo>
                        <a:lnTo>
                          <a:pt x="14" y="1260"/>
                        </a:lnTo>
                        <a:cubicBezTo>
                          <a:pt x="6" y="1260"/>
                          <a:pt x="0" y="1254"/>
                          <a:pt x="0" y="1246"/>
                        </a:cubicBezTo>
                        <a:lnTo>
                          <a:pt x="0" y="13"/>
                        </a:lnTo>
                        <a:cubicBezTo>
                          <a:pt x="0" y="6"/>
                          <a:pt x="6" y="0"/>
                          <a:pt x="14" y="0"/>
                        </a:cubicBezTo>
                        <a:cubicBezTo>
                          <a:pt x="21" y="0"/>
                          <a:pt x="27" y="6"/>
                          <a:pt x="27" y="13"/>
                        </a:cubicBezTo>
                        <a:lnTo>
                          <a:pt x="27" y="1246"/>
                        </a:lnTo>
                        <a:cubicBezTo>
                          <a:pt x="27" y="1254"/>
                          <a:pt x="21" y="1260"/>
                          <a:pt x="14" y="126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86" name="Freeform 215">
                    <a:extLst>
                      <a:ext uri="{FF2B5EF4-FFF2-40B4-BE49-F238E27FC236}">
                        <a16:creationId xmlns:a16="http://schemas.microsoft.com/office/drawing/2014/main" id="{B4F46744-76A4-4224-AE7C-A4BD06AFF275}"/>
                      </a:ext>
                    </a:extLst>
                  </p:cNvPr>
                  <p:cNvSpPr>
                    <a:spLocks/>
                  </p:cNvSpPr>
                  <p:nvPr/>
                </p:nvSpPr>
                <p:spPr bwMode="auto">
                  <a:xfrm>
                    <a:off x="9860434" y="5212698"/>
                    <a:ext cx="8096" cy="412873"/>
                  </a:xfrm>
                  <a:custGeom>
                    <a:avLst/>
                    <a:gdLst>
                      <a:gd name="T0" fmla="*/ 13 w 27"/>
                      <a:gd name="T1" fmla="*/ 1260 h 1260"/>
                      <a:gd name="T2" fmla="*/ 13 w 27"/>
                      <a:gd name="T3" fmla="*/ 1260 h 1260"/>
                      <a:gd name="T4" fmla="*/ 0 w 27"/>
                      <a:gd name="T5" fmla="*/ 1246 h 1260"/>
                      <a:gd name="T6" fmla="*/ 0 w 27"/>
                      <a:gd name="T7" fmla="*/ 13 h 1260"/>
                      <a:gd name="T8" fmla="*/ 13 w 27"/>
                      <a:gd name="T9" fmla="*/ 0 h 1260"/>
                      <a:gd name="T10" fmla="*/ 27 w 27"/>
                      <a:gd name="T11" fmla="*/ 13 h 1260"/>
                      <a:gd name="T12" fmla="*/ 27 w 27"/>
                      <a:gd name="T13" fmla="*/ 1246 h 1260"/>
                      <a:gd name="T14" fmla="*/ 13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3" y="1260"/>
                        </a:moveTo>
                        <a:lnTo>
                          <a:pt x="13" y="1260"/>
                        </a:lnTo>
                        <a:cubicBezTo>
                          <a:pt x="6" y="1260"/>
                          <a:pt x="0" y="1254"/>
                          <a:pt x="0" y="1246"/>
                        </a:cubicBezTo>
                        <a:lnTo>
                          <a:pt x="0" y="13"/>
                        </a:lnTo>
                        <a:cubicBezTo>
                          <a:pt x="0" y="6"/>
                          <a:pt x="6" y="0"/>
                          <a:pt x="13" y="0"/>
                        </a:cubicBezTo>
                        <a:cubicBezTo>
                          <a:pt x="21" y="0"/>
                          <a:pt x="27" y="6"/>
                          <a:pt x="27" y="13"/>
                        </a:cubicBezTo>
                        <a:lnTo>
                          <a:pt x="27" y="1246"/>
                        </a:lnTo>
                        <a:cubicBezTo>
                          <a:pt x="27" y="1254"/>
                          <a:pt x="21" y="1260"/>
                          <a:pt x="13" y="126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87" name="Freeform 216">
                    <a:extLst>
                      <a:ext uri="{FF2B5EF4-FFF2-40B4-BE49-F238E27FC236}">
                        <a16:creationId xmlns:a16="http://schemas.microsoft.com/office/drawing/2014/main" id="{430A2FC9-D415-4384-85BA-1B4FB35E082E}"/>
                      </a:ext>
                    </a:extLst>
                  </p:cNvPr>
                  <p:cNvSpPr>
                    <a:spLocks/>
                  </p:cNvSpPr>
                  <p:nvPr/>
                </p:nvSpPr>
                <p:spPr bwMode="auto">
                  <a:xfrm>
                    <a:off x="9842623" y="5133362"/>
                    <a:ext cx="273630" cy="9715"/>
                  </a:xfrm>
                  <a:custGeom>
                    <a:avLst/>
                    <a:gdLst>
                      <a:gd name="T0" fmla="*/ 831 w 844"/>
                      <a:gd name="T1" fmla="*/ 27 h 27"/>
                      <a:gd name="T2" fmla="*/ 831 w 844"/>
                      <a:gd name="T3" fmla="*/ 27 h 27"/>
                      <a:gd name="T4" fmla="*/ 14 w 844"/>
                      <a:gd name="T5" fmla="*/ 27 h 27"/>
                      <a:gd name="T6" fmla="*/ 0 w 844"/>
                      <a:gd name="T7" fmla="*/ 13 h 27"/>
                      <a:gd name="T8" fmla="*/ 14 w 844"/>
                      <a:gd name="T9" fmla="*/ 0 h 27"/>
                      <a:gd name="T10" fmla="*/ 831 w 844"/>
                      <a:gd name="T11" fmla="*/ 0 h 27"/>
                      <a:gd name="T12" fmla="*/ 844 w 844"/>
                      <a:gd name="T13" fmla="*/ 13 h 27"/>
                      <a:gd name="T14" fmla="*/ 831 w 8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4" h="27">
                        <a:moveTo>
                          <a:pt x="831" y="27"/>
                        </a:moveTo>
                        <a:lnTo>
                          <a:pt x="831" y="27"/>
                        </a:lnTo>
                        <a:lnTo>
                          <a:pt x="14" y="27"/>
                        </a:lnTo>
                        <a:cubicBezTo>
                          <a:pt x="6" y="27"/>
                          <a:pt x="0" y="21"/>
                          <a:pt x="0" y="13"/>
                        </a:cubicBezTo>
                        <a:cubicBezTo>
                          <a:pt x="0" y="6"/>
                          <a:pt x="6" y="0"/>
                          <a:pt x="14" y="0"/>
                        </a:cubicBezTo>
                        <a:lnTo>
                          <a:pt x="831" y="0"/>
                        </a:lnTo>
                        <a:cubicBezTo>
                          <a:pt x="838" y="0"/>
                          <a:pt x="844" y="6"/>
                          <a:pt x="844" y="13"/>
                        </a:cubicBezTo>
                        <a:cubicBezTo>
                          <a:pt x="844" y="21"/>
                          <a:pt x="838" y="27"/>
                          <a:pt x="831"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88" name="Freeform 218">
                    <a:extLst>
                      <a:ext uri="{FF2B5EF4-FFF2-40B4-BE49-F238E27FC236}">
                        <a16:creationId xmlns:a16="http://schemas.microsoft.com/office/drawing/2014/main" id="{80C27B23-BA11-4F62-8081-E72ACD9C0285}"/>
                      </a:ext>
                    </a:extLst>
                  </p:cNvPr>
                  <p:cNvSpPr>
                    <a:spLocks/>
                  </p:cNvSpPr>
                  <p:nvPr/>
                </p:nvSpPr>
                <p:spPr bwMode="auto">
                  <a:xfrm>
                    <a:off x="9763287" y="5133362"/>
                    <a:ext cx="432302" cy="89051"/>
                  </a:xfrm>
                  <a:custGeom>
                    <a:avLst/>
                    <a:gdLst>
                      <a:gd name="T0" fmla="*/ 1314 w 1327"/>
                      <a:gd name="T1" fmla="*/ 269 h 269"/>
                      <a:gd name="T2" fmla="*/ 1314 w 1327"/>
                      <a:gd name="T3" fmla="*/ 269 h 269"/>
                      <a:gd name="T4" fmla="*/ 1300 w 1327"/>
                      <a:gd name="T5" fmla="*/ 255 h 269"/>
                      <a:gd name="T6" fmla="*/ 1072 w 1327"/>
                      <a:gd name="T7" fmla="*/ 27 h 269"/>
                      <a:gd name="T8" fmla="*/ 843 w 1327"/>
                      <a:gd name="T9" fmla="*/ 255 h 269"/>
                      <a:gd name="T10" fmla="*/ 843 w 1327"/>
                      <a:gd name="T11" fmla="*/ 269 h 269"/>
                      <a:gd name="T12" fmla="*/ 0 w 1327"/>
                      <a:gd name="T13" fmla="*/ 269 h 269"/>
                      <a:gd name="T14" fmla="*/ 0 w 1327"/>
                      <a:gd name="T15" fmla="*/ 255 h 269"/>
                      <a:gd name="T16" fmla="*/ 255 w 1327"/>
                      <a:gd name="T17" fmla="*/ 0 h 269"/>
                      <a:gd name="T18" fmla="*/ 268 w 1327"/>
                      <a:gd name="T19" fmla="*/ 13 h 269"/>
                      <a:gd name="T20" fmla="*/ 255 w 1327"/>
                      <a:gd name="T21" fmla="*/ 27 h 269"/>
                      <a:gd name="T22" fmla="*/ 27 w 1327"/>
                      <a:gd name="T23" fmla="*/ 242 h 269"/>
                      <a:gd name="T24" fmla="*/ 817 w 1327"/>
                      <a:gd name="T25" fmla="*/ 242 h 269"/>
                      <a:gd name="T26" fmla="*/ 1072 w 1327"/>
                      <a:gd name="T27" fmla="*/ 0 h 269"/>
                      <a:gd name="T28" fmla="*/ 1327 w 1327"/>
                      <a:gd name="T29" fmla="*/ 255 h 269"/>
                      <a:gd name="T30" fmla="*/ 1314 w 1327"/>
                      <a:gd name="T3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7" h="269">
                        <a:moveTo>
                          <a:pt x="1314" y="269"/>
                        </a:moveTo>
                        <a:lnTo>
                          <a:pt x="1314" y="269"/>
                        </a:lnTo>
                        <a:cubicBezTo>
                          <a:pt x="1306" y="269"/>
                          <a:pt x="1300" y="263"/>
                          <a:pt x="1300" y="255"/>
                        </a:cubicBezTo>
                        <a:cubicBezTo>
                          <a:pt x="1300" y="129"/>
                          <a:pt x="1198" y="27"/>
                          <a:pt x="1072" y="27"/>
                        </a:cubicBezTo>
                        <a:cubicBezTo>
                          <a:pt x="946" y="27"/>
                          <a:pt x="843" y="129"/>
                          <a:pt x="843" y="255"/>
                        </a:cubicBezTo>
                        <a:lnTo>
                          <a:pt x="843" y="269"/>
                        </a:lnTo>
                        <a:lnTo>
                          <a:pt x="0" y="269"/>
                        </a:lnTo>
                        <a:lnTo>
                          <a:pt x="0" y="255"/>
                        </a:lnTo>
                        <a:cubicBezTo>
                          <a:pt x="0" y="115"/>
                          <a:pt x="114" y="0"/>
                          <a:pt x="255" y="0"/>
                        </a:cubicBezTo>
                        <a:cubicBezTo>
                          <a:pt x="262" y="0"/>
                          <a:pt x="268" y="6"/>
                          <a:pt x="268" y="13"/>
                        </a:cubicBezTo>
                        <a:cubicBezTo>
                          <a:pt x="268" y="21"/>
                          <a:pt x="262" y="27"/>
                          <a:pt x="255" y="27"/>
                        </a:cubicBezTo>
                        <a:cubicBezTo>
                          <a:pt x="133" y="27"/>
                          <a:pt x="33" y="122"/>
                          <a:pt x="27" y="242"/>
                        </a:cubicBezTo>
                        <a:lnTo>
                          <a:pt x="817" y="242"/>
                        </a:lnTo>
                        <a:cubicBezTo>
                          <a:pt x="824" y="107"/>
                          <a:pt x="936" y="0"/>
                          <a:pt x="1072" y="0"/>
                        </a:cubicBezTo>
                        <a:cubicBezTo>
                          <a:pt x="1213" y="0"/>
                          <a:pt x="1327" y="115"/>
                          <a:pt x="1327" y="255"/>
                        </a:cubicBezTo>
                        <a:cubicBezTo>
                          <a:pt x="1327" y="263"/>
                          <a:pt x="1321" y="269"/>
                          <a:pt x="1314" y="2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89" name="Freeform 219">
                    <a:extLst>
                      <a:ext uri="{FF2B5EF4-FFF2-40B4-BE49-F238E27FC236}">
                        <a16:creationId xmlns:a16="http://schemas.microsoft.com/office/drawing/2014/main" id="{7A44E636-D5AA-4732-82CF-C2EC002A8B3B}"/>
                      </a:ext>
                    </a:extLst>
                  </p:cNvPr>
                  <p:cNvSpPr>
                    <a:spLocks/>
                  </p:cNvSpPr>
                  <p:nvPr/>
                </p:nvSpPr>
                <p:spPr bwMode="auto">
                  <a:xfrm>
                    <a:off x="9920341" y="5266129"/>
                    <a:ext cx="221818" cy="9715"/>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90" name="Freeform 220">
                    <a:extLst>
                      <a:ext uri="{FF2B5EF4-FFF2-40B4-BE49-F238E27FC236}">
                        <a16:creationId xmlns:a16="http://schemas.microsoft.com/office/drawing/2014/main" id="{ECBF1787-A9FA-45AC-9D9D-00268CEB303D}"/>
                      </a:ext>
                    </a:extLst>
                  </p:cNvPr>
                  <p:cNvSpPr>
                    <a:spLocks/>
                  </p:cNvSpPr>
                  <p:nvPr/>
                </p:nvSpPr>
                <p:spPr bwMode="auto">
                  <a:xfrm>
                    <a:off x="9920341" y="5314702"/>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91" name="Freeform 221">
                    <a:extLst>
                      <a:ext uri="{FF2B5EF4-FFF2-40B4-BE49-F238E27FC236}">
                        <a16:creationId xmlns:a16="http://schemas.microsoft.com/office/drawing/2014/main" id="{0D1B82A6-66CD-4218-82B7-DEB33FDBE5A0}"/>
                      </a:ext>
                    </a:extLst>
                  </p:cNvPr>
                  <p:cNvSpPr>
                    <a:spLocks/>
                  </p:cNvSpPr>
                  <p:nvPr/>
                </p:nvSpPr>
                <p:spPr bwMode="auto">
                  <a:xfrm>
                    <a:off x="9920341" y="5364894"/>
                    <a:ext cx="221818" cy="8096"/>
                  </a:xfrm>
                  <a:custGeom>
                    <a:avLst/>
                    <a:gdLst>
                      <a:gd name="T0" fmla="*/ 665 w 678"/>
                      <a:gd name="T1" fmla="*/ 26 h 26"/>
                      <a:gd name="T2" fmla="*/ 665 w 678"/>
                      <a:gd name="T3" fmla="*/ 26 h 26"/>
                      <a:gd name="T4" fmla="*/ 13 w 678"/>
                      <a:gd name="T5" fmla="*/ 26 h 26"/>
                      <a:gd name="T6" fmla="*/ 0 w 678"/>
                      <a:gd name="T7" fmla="*/ 13 h 26"/>
                      <a:gd name="T8" fmla="*/ 13 w 678"/>
                      <a:gd name="T9" fmla="*/ 0 h 26"/>
                      <a:gd name="T10" fmla="*/ 665 w 678"/>
                      <a:gd name="T11" fmla="*/ 0 h 26"/>
                      <a:gd name="T12" fmla="*/ 678 w 678"/>
                      <a:gd name="T13" fmla="*/ 13 h 26"/>
                      <a:gd name="T14" fmla="*/ 665 w 67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6">
                        <a:moveTo>
                          <a:pt x="665" y="26"/>
                        </a:moveTo>
                        <a:lnTo>
                          <a:pt x="665" y="26"/>
                        </a:lnTo>
                        <a:lnTo>
                          <a:pt x="13" y="26"/>
                        </a:lnTo>
                        <a:cubicBezTo>
                          <a:pt x="6" y="26"/>
                          <a:pt x="0" y="20"/>
                          <a:pt x="0" y="13"/>
                        </a:cubicBezTo>
                        <a:cubicBezTo>
                          <a:pt x="0" y="6"/>
                          <a:pt x="6" y="0"/>
                          <a:pt x="13" y="0"/>
                        </a:cubicBezTo>
                        <a:lnTo>
                          <a:pt x="665" y="0"/>
                        </a:lnTo>
                        <a:cubicBezTo>
                          <a:pt x="672" y="0"/>
                          <a:pt x="678" y="6"/>
                          <a:pt x="678" y="13"/>
                        </a:cubicBezTo>
                        <a:cubicBezTo>
                          <a:pt x="678" y="20"/>
                          <a:pt x="672" y="26"/>
                          <a:pt x="665"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92" name="Freeform 222">
                    <a:extLst>
                      <a:ext uri="{FF2B5EF4-FFF2-40B4-BE49-F238E27FC236}">
                        <a16:creationId xmlns:a16="http://schemas.microsoft.com/office/drawing/2014/main" id="{C5696659-24D4-4312-9865-9C81F66D171A}"/>
                      </a:ext>
                    </a:extLst>
                  </p:cNvPr>
                  <p:cNvSpPr>
                    <a:spLocks/>
                  </p:cNvSpPr>
                  <p:nvPr/>
                </p:nvSpPr>
                <p:spPr bwMode="auto">
                  <a:xfrm>
                    <a:off x="9920341" y="5413468"/>
                    <a:ext cx="221818" cy="8096"/>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93" name="Freeform 223">
                    <a:extLst>
                      <a:ext uri="{FF2B5EF4-FFF2-40B4-BE49-F238E27FC236}">
                        <a16:creationId xmlns:a16="http://schemas.microsoft.com/office/drawing/2014/main" id="{3C5854B8-D7CA-41BC-AFB2-893FC0D0EB33}"/>
                      </a:ext>
                    </a:extLst>
                  </p:cNvPr>
                  <p:cNvSpPr>
                    <a:spLocks/>
                  </p:cNvSpPr>
                  <p:nvPr/>
                </p:nvSpPr>
                <p:spPr bwMode="auto">
                  <a:xfrm>
                    <a:off x="9920341" y="5462041"/>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94" name="Freeform 224">
                    <a:extLst>
                      <a:ext uri="{FF2B5EF4-FFF2-40B4-BE49-F238E27FC236}">
                        <a16:creationId xmlns:a16="http://schemas.microsoft.com/office/drawing/2014/main" id="{16163BAC-D97E-48B5-9E85-FA802BCC554C}"/>
                      </a:ext>
                    </a:extLst>
                  </p:cNvPr>
                  <p:cNvSpPr>
                    <a:spLocks/>
                  </p:cNvSpPr>
                  <p:nvPr/>
                </p:nvSpPr>
                <p:spPr bwMode="auto">
                  <a:xfrm>
                    <a:off x="9920340" y="5518710"/>
                    <a:ext cx="219456" cy="9715"/>
                  </a:xfrm>
                  <a:custGeom>
                    <a:avLst/>
                    <a:gdLst>
                      <a:gd name="T0" fmla="*/ 330 w 344"/>
                      <a:gd name="T1" fmla="*/ 27 h 27"/>
                      <a:gd name="T2" fmla="*/ 330 w 344"/>
                      <a:gd name="T3" fmla="*/ 27 h 27"/>
                      <a:gd name="T4" fmla="*/ 13 w 344"/>
                      <a:gd name="T5" fmla="*/ 27 h 27"/>
                      <a:gd name="T6" fmla="*/ 0 w 344"/>
                      <a:gd name="T7" fmla="*/ 14 h 27"/>
                      <a:gd name="T8" fmla="*/ 13 w 344"/>
                      <a:gd name="T9" fmla="*/ 0 h 27"/>
                      <a:gd name="T10" fmla="*/ 330 w 344"/>
                      <a:gd name="T11" fmla="*/ 0 h 27"/>
                      <a:gd name="T12" fmla="*/ 344 w 344"/>
                      <a:gd name="T13" fmla="*/ 14 h 27"/>
                      <a:gd name="T14" fmla="*/ 330 w 3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7">
                        <a:moveTo>
                          <a:pt x="330" y="27"/>
                        </a:moveTo>
                        <a:lnTo>
                          <a:pt x="330" y="27"/>
                        </a:lnTo>
                        <a:lnTo>
                          <a:pt x="13" y="27"/>
                        </a:lnTo>
                        <a:cubicBezTo>
                          <a:pt x="6" y="27"/>
                          <a:pt x="0" y="21"/>
                          <a:pt x="0" y="14"/>
                        </a:cubicBezTo>
                        <a:cubicBezTo>
                          <a:pt x="0" y="6"/>
                          <a:pt x="6" y="0"/>
                          <a:pt x="13" y="0"/>
                        </a:cubicBezTo>
                        <a:lnTo>
                          <a:pt x="330" y="0"/>
                        </a:lnTo>
                        <a:cubicBezTo>
                          <a:pt x="338" y="0"/>
                          <a:pt x="344" y="6"/>
                          <a:pt x="344" y="14"/>
                        </a:cubicBezTo>
                        <a:cubicBezTo>
                          <a:pt x="344" y="21"/>
                          <a:pt x="338" y="27"/>
                          <a:pt x="330"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95" name="Freeform 217">
                    <a:extLst>
                      <a:ext uri="{FF2B5EF4-FFF2-40B4-BE49-F238E27FC236}">
                        <a16:creationId xmlns:a16="http://schemas.microsoft.com/office/drawing/2014/main" id="{9680C7A4-DB88-4214-9FE1-1EED6AABC976}"/>
                      </a:ext>
                    </a:extLst>
                  </p:cNvPr>
                  <p:cNvSpPr>
                    <a:spLocks/>
                  </p:cNvSpPr>
                  <p:nvPr/>
                </p:nvSpPr>
                <p:spPr bwMode="auto">
                  <a:xfrm>
                    <a:off x="9939770" y="5695192"/>
                    <a:ext cx="335156" cy="9715"/>
                  </a:xfrm>
                  <a:custGeom>
                    <a:avLst/>
                    <a:gdLst>
                      <a:gd name="T0" fmla="*/ 1016 w 1030"/>
                      <a:gd name="T1" fmla="*/ 27 h 27"/>
                      <a:gd name="T2" fmla="*/ 1016 w 1030"/>
                      <a:gd name="T3" fmla="*/ 27 h 27"/>
                      <a:gd name="T4" fmla="*/ 14 w 1030"/>
                      <a:gd name="T5" fmla="*/ 27 h 27"/>
                      <a:gd name="T6" fmla="*/ 0 w 1030"/>
                      <a:gd name="T7" fmla="*/ 13 h 27"/>
                      <a:gd name="T8" fmla="*/ 14 w 1030"/>
                      <a:gd name="T9" fmla="*/ 0 h 27"/>
                      <a:gd name="T10" fmla="*/ 1016 w 1030"/>
                      <a:gd name="T11" fmla="*/ 0 h 27"/>
                      <a:gd name="T12" fmla="*/ 1030 w 1030"/>
                      <a:gd name="T13" fmla="*/ 13 h 27"/>
                      <a:gd name="T14" fmla="*/ 1016 w 1030"/>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27">
                        <a:moveTo>
                          <a:pt x="1016" y="27"/>
                        </a:moveTo>
                        <a:lnTo>
                          <a:pt x="1016" y="27"/>
                        </a:lnTo>
                        <a:lnTo>
                          <a:pt x="14" y="27"/>
                        </a:lnTo>
                        <a:cubicBezTo>
                          <a:pt x="6" y="27"/>
                          <a:pt x="0" y="21"/>
                          <a:pt x="0" y="13"/>
                        </a:cubicBezTo>
                        <a:cubicBezTo>
                          <a:pt x="0" y="6"/>
                          <a:pt x="6" y="0"/>
                          <a:pt x="14" y="0"/>
                        </a:cubicBezTo>
                        <a:lnTo>
                          <a:pt x="1016" y="0"/>
                        </a:lnTo>
                        <a:cubicBezTo>
                          <a:pt x="1024" y="0"/>
                          <a:pt x="1030" y="6"/>
                          <a:pt x="1030" y="13"/>
                        </a:cubicBezTo>
                        <a:cubicBezTo>
                          <a:pt x="1030" y="21"/>
                          <a:pt x="1024" y="27"/>
                          <a:pt x="1016"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grpSp>
            <p:nvGrpSpPr>
              <p:cNvPr id="165" name="Group 164">
                <a:extLst>
                  <a:ext uri="{FF2B5EF4-FFF2-40B4-BE49-F238E27FC236}">
                    <a16:creationId xmlns:a16="http://schemas.microsoft.com/office/drawing/2014/main" id="{EDA7A637-B943-4762-92E0-4FA97A3FC05E}"/>
                  </a:ext>
                </a:extLst>
              </p:cNvPr>
              <p:cNvGrpSpPr/>
              <p:nvPr/>
            </p:nvGrpSpPr>
            <p:grpSpPr>
              <a:xfrm>
                <a:off x="4314657" y="4341688"/>
                <a:ext cx="557986" cy="539640"/>
                <a:chOff x="4212581" y="4384439"/>
                <a:chExt cx="590975" cy="571545"/>
              </a:xfrm>
              <a:grpFill/>
            </p:grpSpPr>
            <p:sp>
              <p:nvSpPr>
                <p:cNvPr id="166" name="Rectangle: Top Corners Rounded 165">
                  <a:extLst>
                    <a:ext uri="{FF2B5EF4-FFF2-40B4-BE49-F238E27FC236}">
                      <a16:creationId xmlns:a16="http://schemas.microsoft.com/office/drawing/2014/main" id="{D33507E1-9E75-4503-8180-55344612A5B4}"/>
                    </a:ext>
                  </a:extLst>
                </p:cNvPr>
                <p:cNvSpPr/>
                <p:nvPr/>
              </p:nvSpPr>
              <p:spPr bwMode="auto">
                <a:xfrm>
                  <a:off x="4317350" y="4394156"/>
                  <a:ext cx="319438" cy="493088"/>
                </a:xfrm>
                <a:prstGeom prst="round2SameRect">
                  <a:avLst>
                    <a:gd name="adj1" fmla="val 22258"/>
                    <a:gd name="adj2"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6EA4BE09-E6F0-4216-9711-B160A9E3A732}"/>
                    </a:ext>
                  </a:extLst>
                </p:cNvPr>
                <p:cNvGrpSpPr/>
                <p:nvPr/>
              </p:nvGrpSpPr>
              <p:grpSpPr>
                <a:xfrm>
                  <a:off x="4212581" y="4384439"/>
                  <a:ext cx="590975" cy="571545"/>
                  <a:chOff x="9763287" y="5133362"/>
                  <a:chExt cx="590975" cy="571545"/>
                </a:xfrm>
                <a:grpFill/>
              </p:grpSpPr>
              <p:sp>
                <p:nvSpPr>
                  <p:cNvPr id="168" name="Freeform 212">
                    <a:extLst>
                      <a:ext uri="{FF2B5EF4-FFF2-40B4-BE49-F238E27FC236}">
                        <a16:creationId xmlns:a16="http://schemas.microsoft.com/office/drawing/2014/main" id="{455CCC5E-F34E-4A92-BBC0-6E7C88796902}"/>
                      </a:ext>
                    </a:extLst>
                  </p:cNvPr>
                  <p:cNvSpPr>
                    <a:spLocks/>
                  </p:cNvSpPr>
                  <p:nvPr/>
                </p:nvSpPr>
                <p:spPr bwMode="auto">
                  <a:xfrm>
                    <a:off x="9860434" y="5617475"/>
                    <a:ext cx="87432" cy="87432"/>
                  </a:xfrm>
                  <a:custGeom>
                    <a:avLst/>
                    <a:gdLst>
                      <a:gd name="T0" fmla="*/ 255 w 268"/>
                      <a:gd name="T1" fmla="*/ 269 h 269"/>
                      <a:gd name="T2" fmla="*/ 255 w 268"/>
                      <a:gd name="T3" fmla="*/ 269 h 269"/>
                      <a:gd name="T4" fmla="*/ 0 w 268"/>
                      <a:gd name="T5" fmla="*/ 13 h 269"/>
                      <a:gd name="T6" fmla="*/ 13 w 268"/>
                      <a:gd name="T7" fmla="*/ 0 h 269"/>
                      <a:gd name="T8" fmla="*/ 27 w 268"/>
                      <a:gd name="T9" fmla="*/ 13 h 269"/>
                      <a:gd name="T10" fmla="*/ 255 w 268"/>
                      <a:gd name="T11" fmla="*/ 242 h 269"/>
                      <a:gd name="T12" fmla="*/ 268 w 268"/>
                      <a:gd name="T13" fmla="*/ 255 h 269"/>
                      <a:gd name="T14" fmla="*/ 255 w 268"/>
                      <a:gd name="T15" fmla="*/ 269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9">
                        <a:moveTo>
                          <a:pt x="255" y="269"/>
                        </a:moveTo>
                        <a:lnTo>
                          <a:pt x="255" y="269"/>
                        </a:lnTo>
                        <a:cubicBezTo>
                          <a:pt x="114" y="269"/>
                          <a:pt x="0" y="154"/>
                          <a:pt x="0" y="13"/>
                        </a:cubicBezTo>
                        <a:cubicBezTo>
                          <a:pt x="0" y="6"/>
                          <a:pt x="6" y="0"/>
                          <a:pt x="13" y="0"/>
                        </a:cubicBezTo>
                        <a:cubicBezTo>
                          <a:pt x="21" y="0"/>
                          <a:pt x="27" y="6"/>
                          <a:pt x="27" y="13"/>
                        </a:cubicBezTo>
                        <a:cubicBezTo>
                          <a:pt x="27" y="139"/>
                          <a:pt x="129" y="242"/>
                          <a:pt x="255" y="242"/>
                        </a:cubicBezTo>
                        <a:cubicBezTo>
                          <a:pt x="262" y="242"/>
                          <a:pt x="268" y="248"/>
                          <a:pt x="268" y="255"/>
                        </a:cubicBezTo>
                        <a:cubicBezTo>
                          <a:pt x="268" y="263"/>
                          <a:pt x="262" y="269"/>
                          <a:pt x="255" y="2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69" name="Freeform 213">
                    <a:extLst>
                      <a:ext uri="{FF2B5EF4-FFF2-40B4-BE49-F238E27FC236}">
                        <a16:creationId xmlns:a16="http://schemas.microsoft.com/office/drawing/2014/main" id="{B5C2DA36-C16A-456B-9187-B41E25BB763E}"/>
                      </a:ext>
                    </a:extLst>
                  </p:cNvPr>
                  <p:cNvSpPr>
                    <a:spLocks noEditPoints="1"/>
                  </p:cNvSpPr>
                  <p:nvPr/>
                </p:nvSpPr>
                <p:spPr bwMode="auto">
                  <a:xfrm>
                    <a:off x="10187494" y="5617475"/>
                    <a:ext cx="166768" cy="87432"/>
                  </a:xfrm>
                  <a:custGeom>
                    <a:avLst/>
                    <a:gdLst>
                      <a:gd name="T0" fmla="*/ 27 w 510"/>
                      <a:gd name="T1" fmla="*/ 27 h 269"/>
                      <a:gd name="T2" fmla="*/ 27 w 510"/>
                      <a:gd name="T3" fmla="*/ 27 h 269"/>
                      <a:gd name="T4" fmla="*/ 255 w 510"/>
                      <a:gd name="T5" fmla="*/ 242 h 269"/>
                      <a:gd name="T6" fmla="*/ 483 w 510"/>
                      <a:gd name="T7" fmla="*/ 27 h 269"/>
                      <a:gd name="T8" fmla="*/ 27 w 510"/>
                      <a:gd name="T9" fmla="*/ 27 h 269"/>
                      <a:gd name="T10" fmla="*/ 255 w 510"/>
                      <a:gd name="T11" fmla="*/ 269 h 269"/>
                      <a:gd name="T12" fmla="*/ 255 w 510"/>
                      <a:gd name="T13" fmla="*/ 269 h 269"/>
                      <a:gd name="T14" fmla="*/ 0 w 510"/>
                      <a:gd name="T15" fmla="*/ 13 h 269"/>
                      <a:gd name="T16" fmla="*/ 0 w 510"/>
                      <a:gd name="T17" fmla="*/ 0 h 269"/>
                      <a:gd name="T18" fmla="*/ 510 w 510"/>
                      <a:gd name="T19" fmla="*/ 0 h 269"/>
                      <a:gd name="T20" fmla="*/ 510 w 510"/>
                      <a:gd name="T21" fmla="*/ 13 h 269"/>
                      <a:gd name="T22" fmla="*/ 255 w 510"/>
                      <a:gd name="T23"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269">
                        <a:moveTo>
                          <a:pt x="27" y="27"/>
                        </a:moveTo>
                        <a:lnTo>
                          <a:pt x="27" y="27"/>
                        </a:lnTo>
                        <a:cubicBezTo>
                          <a:pt x="34" y="146"/>
                          <a:pt x="134" y="242"/>
                          <a:pt x="255" y="242"/>
                        </a:cubicBezTo>
                        <a:cubicBezTo>
                          <a:pt x="377" y="242"/>
                          <a:pt x="476" y="146"/>
                          <a:pt x="483" y="27"/>
                        </a:cubicBezTo>
                        <a:lnTo>
                          <a:pt x="27" y="27"/>
                        </a:lnTo>
                        <a:close/>
                        <a:moveTo>
                          <a:pt x="255" y="269"/>
                        </a:moveTo>
                        <a:lnTo>
                          <a:pt x="255" y="269"/>
                        </a:lnTo>
                        <a:cubicBezTo>
                          <a:pt x="115" y="269"/>
                          <a:pt x="0" y="154"/>
                          <a:pt x="0" y="13"/>
                        </a:cubicBezTo>
                        <a:lnTo>
                          <a:pt x="0" y="0"/>
                        </a:lnTo>
                        <a:lnTo>
                          <a:pt x="510" y="0"/>
                        </a:lnTo>
                        <a:lnTo>
                          <a:pt x="510" y="13"/>
                        </a:lnTo>
                        <a:cubicBezTo>
                          <a:pt x="510" y="154"/>
                          <a:pt x="396" y="269"/>
                          <a:pt x="255" y="2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70" name="Freeform 214">
                    <a:extLst>
                      <a:ext uri="{FF2B5EF4-FFF2-40B4-BE49-F238E27FC236}">
                        <a16:creationId xmlns:a16="http://schemas.microsoft.com/office/drawing/2014/main" id="{F3F9C70A-8A9F-438E-9F2D-FECC31DCA23F}"/>
                      </a:ext>
                    </a:extLst>
                  </p:cNvPr>
                  <p:cNvSpPr>
                    <a:spLocks/>
                  </p:cNvSpPr>
                  <p:nvPr/>
                </p:nvSpPr>
                <p:spPr bwMode="auto">
                  <a:xfrm>
                    <a:off x="10187494" y="5212698"/>
                    <a:ext cx="8096" cy="412873"/>
                  </a:xfrm>
                  <a:custGeom>
                    <a:avLst/>
                    <a:gdLst>
                      <a:gd name="T0" fmla="*/ 14 w 27"/>
                      <a:gd name="T1" fmla="*/ 1260 h 1260"/>
                      <a:gd name="T2" fmla="*/ 14 w 27"/>
                      <a:gd name="T3" fmla="*/ 1260 h 1260"/>
                      <a:gd name="T4" fmla="*/ 0 w 27"/>
                      <a:gd name="T5" fmla="*/ 1246 h 1260"/>
                      <a:gd name="T6" fmla="*/ 0 w 27"/>
                      <a:gd name="T7" fmla="*/ 13 h 1260"/>
                      <a:gd name="T8" fmla="*/ 14 w 27"/>
                      <a:gd name="T9" fmla="*/ 0 h 1260"/>
                      <a:gd name="T10" fmla="*/ 27 w 27"/>
                      <a:gd name="T11" fmla="*/ 13 h 1260"/>
                      <a:gd name="T12" fmla="*/ 27 w 27"/>
                      <a:gd name="T13" fmla="*/ 1246 h 1260"/>
                      <a:gd name="T14" fmla="*/ 14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4" y="1260"/>
                        </a:moveTo>
                        <a:lnTo>
                          <a:pt x="14" y="1260"/>
                        </a:lnTo>
                        <a:cubicBezTo>
                          <a:pt x="6" y="1260"/>
                          <a:pt x="0" y="1254"/>
                          <a:pt x="0" y="1246"/>
                        </a:cubicBezTo>
                        <a:lnTo>
                          <a:pt x="0" y="13"/>
                        </a:lnTo>
                        <a:cubicBezTo>
                          <a:pt x="0" y="6"/>
                          <a:pt x="6" y="0"/>
                          <a:pt x="14" y="0"/>
                        </a:cubicBezTo>
                        <a:cubicBezTo>
                          <a:pt x="21" y="0"/>
                          <a:pt x="27" y="6"/>
                          <a:pt x="27" y="13"/>
                        </a:cubicBezTo>
                        <a:lnTo>
                          <a:pt x="27" y="1246"/>
                        </a:lnTo>
                        <a:cubicBezTo>
                          <a:pt x="27" y="1254"/>
                          <a:pt x="21" y="1260"/>
                          <a:pt x="14" y="126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71" name="Freeform 215">
                    <a:extLst>
                      <a:ext uri="{FF2B5EF4-FFF2-40B4-BE49-F238E27FC236}">
                        <a16:creationId xmlns:a16="http://schemas.microsoft.com/office/drawing/2014/main" id="{12422DDA-1F48-44F2-ACEC-F0CC8A1E48C4}"/>
                      </a:ext>
                    </a:extLst>
                  </p:cNvPr>
                  <p:cNvSpPr>
                    <a:spLocks/>
                  </p:cNvSpPr>
                  <p:nvPr/>
                </p:nvSpPr>
                <p:spPr bwMode="auto">
                  <a:xfrm>
                    <a:off x="9860434" y="5212698"/>
                    <a:ext cx="8096" cy="412873"/>
                  </a:xfrm>
                  <a:custGeom>
                    <a:avLst/>
                    <a:gdLst>
                      <a:gd name="T0" fmla="*/ 13 w 27"/>
                      <a:gd name="T1" fmla="*/ 1260 h 1260"/>
                      <a:gd name="T2" fmla="*/ 13 w 27"/>
                      <a:gd name="T3" fmla="*/ 1260 h 1260"/>
                      <a:gd name="T4" fmla="*/ 0 w 27"/>
                      <a:gd name="T5" fmla="*/ 1246 h 1260"/>
                      <a:gd name="T6" fmla="*/ 0 w 27"/>
                      <a:gd name="T7" fmla="*/ 13 h 1260"/>
                      <a:gd name="T8" fmla="*/ 13 w 27"/>
                      <a:gd name="T9" fmla="*/ 0 h 1260"/>
                      <a:gd name="T10" fmla="*/ 27 w 27"/>
                      <a:gd name="T11" fmla="*/ 13 h 1260"/>
                      <a:gd name="T12" fmla="*/ 27 w 27"/>
                      <a:gd name="T13" fmla="*/ 1246 h 1260"/>
                      <a:gd name="T14" fmla="*/ 13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3" y="1260"/>
                        </a:moveTo>
                        <a:lnTo>
                          <a:pt x="13" y="1260"/>
                        </a:lnTo>
                        <a:cubicBezTo>
                          <a:pt x="6" y="1260"/>
                          <a:pt x="0" y="1254"/>
                          <a:pt x="0" y="1246"/>
                        </a:cubicBezTo>
                        <a:lnTo>
                          <a:pt x="0" y="13"/>
                        </a:lnTo>
                        <a:cubicBezTo>
                          <a:pt x="0" y="6"/>
                          <a:pt x="6" y="0"/>
                          <a:pt x="13" y="0"/>
                        </a:cubicBezTo>
                        <a:cubicBezTo>
                          <a:pt x="21" y="0"/>
                          <a:pt x="27" y="6"/>
                          <a:pt x="27" y="13"/>
                        </a:cubicBezTo>
                        <a:lnTo>
                          <a:pt x="27" y="1246"/>
                        </a:lnTo>
                        <a:cubicBezTo>
                          <a:pt x="27" y="1254"/>
                          <a:pt x="21" y="1260"/>
                          <a:pt x="13" y="126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72" name="Freeform 216">
                    <a:extLst>
                      <a:ext uri="{FF2B5EF4-FFF2-40B4-BE49-F238E27FC236}">
                        <a16:creationId xmlns:a16="http://schemas.microsoft.com/office/drawing/2014/main" id="{E7B071A5-D078-4DBE-B132-70C8D7ED06A6}"/>
                      </a:ext>
                    </a:extLst>
                  </p:cNvPr>
                  <p:cNvSpPr>
                    <a:spLocks/>
                  </p:cNvSpPr>
                  <p:nvPr/>
                </p:nvSpPr>
                <p:spPr bwMode="auto">
                  <a:xfrm>
                    <a:off x="9842623" y="5133362"/>
                    <a:ext cx="273630" cy="9715"/>
                  </a:xfrm>
                  <a:custGeom>
                    <a:avLst/>
                    <a:gdLst>
                      <a:gd name="T0" fmla="*/ 831 w 844"/>
                      <a:gd name="T1" fmla="*/ 27 h 27"/>
                      <a:gd name="T2" fmla="*/ 831 w 844"/>
                      <a:gd name="T3" fmla="*/ 27 h 27"/>
                      <a:gd name="T4" fmla="*/ 14 w 844"/>
                      <a:gd name="T5" fmla="*/ 27 h 27"/>
                      <a:gd name="T6" fmla="*/ 0 w 844"/>
                      <a:gd name="T7" fmla="*/ 13 h 27"/>
                      <a:gd name="T8" fmla="*/ 14 w 844"/>
                      <a:gd name="T9" fmla="*/ 0 h 27"/>
                      <a:gd name="T10" fmla="*/ 831 w 844"/>
                      <a:gd name="T11" fmla="*/ 0 h 27"/>
                      <a:gd name="T12" fmla="*/ 844 w 844"/>
                      <a:gd name="T13" fmla="*/ 13 h 27"/>
                      <a:gd name="T14" fmla="*/ 831 w 8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4" h="27">
                        <a:moveTo>
                          <a:pt x="831" y="27"/>
                        </a:moveTo>
                        <a:lnTo>
                          <a:pt x="831" y="27"/>
                        </a:lnTo>
                        <a:lnTo>
                          <a:pt x="14" y="27"/>
                        </a:lnTo>
                        <a:cubicBezTo>
                          <a:pt x="6" y="27"/>
                          <a:pt x="0" y="21"/>
                          <a:pt x="0" y="13"/>
                        </a:cubicBezTo>
                        <a:cubicBezTo>
                          <a:pt x="0" y="6"/>
                          <a:pt x="6" y="0"/>
                          <a:pt x="14" y="0"/>
                        </a:cubicBezTo>
                        <a:lnTo>
                          <a:pt x="831" y="0"/>
                        </a:lnTo>
                        <a:cubicBezTo>
                          <a:pt x="838" y="0"/>
                          <a:pt x="844" y="6"/>
                          <a:pt x="844" y="13"/>
                        </a:cubicBezTo>
                        <a:cubicBezTo>
                          <a:pt x="844" y="21"/>
                          <a:pt x="838" y="27"/>
                          <a:pt x="831"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73" name="Freeform 218">
                    <a:extLst>
                      <a:ext uri="{FF2B5EF4-FFF2-40B4-BE49-F238E27FC236}">
                        <a16:creationId xmlns:a16="http://schemas.microsoft.com/office/drawing/2014/main" id="{E88C7113-336B-4B98-A68D-1A53B5B5A379}"/>
                      </a:ext>
                    </a:extLst>
                  </p:cNvPr>
                  <p:cNvSpPr>
                    <a:spLocks/>
                  </p:cNvSpPr>
                  <p:nvPr/>
                </p:nvSpPr>
                <p:spPr bwMode="auto">
                  <a:xfrm>
                    <a:off x="9763287" y="5133362"/>
                    <a:ext cx="432302" cy="89051"/>
                  </a:xfrm>
                  <a:custGeom>
                    <a:avLst/>
                    <a:gdLst>
                      <a:gd name="T0" fmla="*/ 1314 w 1327"/>
                      <a:gd name="T1" fmla="*/ 269 h 269"/>
                      <a:gd name="T2" fmla="*/ 1314 w 1327"/>
                      <a:gd name="T3" fmla="*/ 269 h 269"/>
                      <a:gd name="T4" fmla="*/ 1300 w 1327"/>
                      <a:gd name="T5" fmla="*/ 255 h 269"/>
                      <a:gd name="T6" fmla="*/ 1072 w 1327"/>
                      <a:gd name="T7" fmla="*/ 27 h 269"/>
                      <a:gd name="T8" fmla="*/ 843 w 1327"/>
                      <a:gd name="T9" fmla="*/ 255 h 269"/>
                      <a:gd name="T10" fmla="*/ 843 w 1327"/>
                      <a:gd name="T11" fmla="*/ 269 h 269"/>
                      <a:gd name="T12" fmla="*/ 0 w 1327"/>
                      <a:gd name="T13" fmla="*/ 269 h 269"/>
                      <a:gd name="T14" fmla="*/ 0 w 1327"/>
                      <a:gd name="T15" fmla="*/ 255 h 269"/>
                      <a:gd name="T16" fmla="*/ 255 w 1327"/>
                      <a:gd name="T17" fmla="*/ 0 h 269"/>
                      <a:gd name="T18" fmla="*/ 268 w 1327"/>
                      <a:gd name="T19" fmla="*/ 13 h 269"/>
                      <a:gd name="T20" fmla="*/ 255 w 1327"/>
                      <a:gd name="T21" fmla="*/ 27 h 269"/>
                      <a:gd name="T22" fmla="*/ 27 w 1327"/>
                      <a:gd name="T23" fmla="*/ 242 h 269"/>
                      <a:gd name="T24" fmla="*/ 817 w 1327"/>
                      <a:gd name="T25" fmla="*/ 242 h 269"/>
                      <a:gd name="T26" fmla="*/ 1072 w 1327"/>
                      <a:gd name="T27" fmla="*/ 0 h 269"/>
                      <a:gd name="T28" fmla="*/ 1327 w 1327"/>
                      <a:gd name="T29" fmla="*/ 255 h 269"/>
                      <a:gd name="T30" fmla="*/ 1314 w 1327"/>
                      <a:gd name="T3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7" h="269">
                        <a:moveTo>
                          <a:pt x="1314" y="269"/>
                        </a:moveTo>
                        <a:lnTo>
                          <a:pt x="1314" y="269"/>
                        </a:lnTo>
                        <a:cubicBezTo>
                          <a:pt x="1306" y="269"/>
                          <a:pt x="1300" y="263"/>
                          <a:pt x="1300" y="255"/>
                        </a:cubicBezTo>
                        <a:cubicBezTo>
                          <a:pt x="1300" y="129"/>
                          <a:pt x="1198" y="27"/>
                          <a:pt x="1072" y="27"/>
                        </a:cubicBezTo>
                        <a:cubicBezTo>
                          <a:pt x="946" y="27"/>
                          <a:pt x="843" y="129"/>
                          <a:pt x="843" y="255"/>
                        </a:cubicBezTo>
                        <a:lnTo>
                          <a:pt x="843" y="269"/>
                        </a:lnTo>
                        <a:lnTo>
                          <a:pt x="0" y="269"/>
                        </a:lnTo>
                        <a:lnTo>
                          <a:pt x="0" y="255"/>
                        </a:lnTo>
                        <a:cubicBezTo>
                          <a:pt x="0" y="115"/>
                          <a:pt x="114" y="0"/>
                          <a:pt x="255" y="0"/>
                        </a:cubicBezTo>
                        <a:cubicBezTo>
                          <a:pt x="262" y="0"/>
                          <a:pt x="268" y="6"/>
                          <a:pt x="268" y="13"/>
                        </a:cubicBezTo>
                        <a:cubicBezTo>
                          <a:pt x="268" y="21"/>
                          <a:pt x="262" y="27"/>
                          <a:pt x="255" y="27"/>
                        </a:cubicBezTo>
                        <a:cubicBezTo>
                          <a:pt x="133" y="27"/>
                          <a:pt x="33" y="122"/>
                          <a:pt x="27" y="242"/>
                        </a:cubicBezTo>
                        <a:lnTo>
                          <a:pt x="817" y="242"/>
                        </a:lnTo>
                        <a:cubicBezTo>
                          <a:pt x="824" y="107"/>
                          <a:pt x="936" y="0"/>
                          <a:pt x="1072" y="0"/>
                        </a:cubicBezTo>
                        <a:cubicBezTo>
                          <a:pt x="1213" y="0"/>
                          <a:pt x="1327" y="115"/>
                          <a:pt x="1327" y="255"/>
                        </a:cubicBezTo>
                        <a:cubicBezTo>
                          <a:pt x="1327" y="263"/>
                          <a:pt x="1321" y="269"/>
                          <a:pt x="1314" y="2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74" name="Freeform 219">
                    <a:extLst>
                      <a:ext uri="{FF2B5EF4-FFF2-40B4-BE49-F238E27FC236}">
                        <a16:creationId xmlns:a16="http://schemas.microsoft.com/office/drawing/2014/main" id="{E6C3E087-6628-41B3-A22C-0816ABDA6D7A}"/>
                      </a:ext>
                    </a:extLst>
                  </p:cNvPr>
                  <p:cNvSpPr>
                    <a:spLocks/>
                  </p:cNvSpPr>
                  <p:nvPr/>
                </p:nvSpPr>
                <p:spPr bwMode="auto">
                  <a:xfrm>
                    <a:off x="9920341" y="5266129"/>
                    <a:ext cx="221818" cy="9715"/>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75" name="Freeform 220">
                    <a:extLst>
                      <a:ext uri="{FF2B5EF4-FFF2-40B4-BE49-F238E27FC236}">
                        <a16:creationId xmlns:a16="http://schemas.microsoft.com/office/drawing/2014/main" id="{17EDCABF-8CF5-4F3D-9EAA-F10DF528E29D}"/>
                      </a:ext>
                    </a:extLst>
                  </p:cNvPr>
                  <p:cNvSpPr>
                    <a:spLocks/>
                  </p:cNvSpPr>
                  <p:nvPr/>
                </p:nvSpPr>
                <p:spPr bwMode="auto">
                  <a:xfrm>
                    <a:off x="9920341" y="5314702"/>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76" name="Freeform 221">
                    <a:extLst>
                      <a:ext uri="{FF2B5EF4-FFF2-40B4-BE49-F238E27FC236}">
                        <a16:creationId xmlns:a16="http://schemas.microsoft.com/office/drawing/2014/main" id="{6A0711D8-8CB3-4312-8233-5D1FD6370475}"/>
                      </a:ext>
                    </a:extLst>
                  </p:cNvPr>
                  <p:cNvSpPr>
                    <a:spLocks/>
                  </p:cNvSpPr>
                  <p:nvPr/>
                </p:nvSpPr>
                <p:spPr bwMode="auto">
                  <a:xfrm>
                    <a:off x="9920341" y="5364894"/>
                    <a:ext cx="221818" cy="8096"/>
                  </a:xfrm>
                  <a:custGeom>
                    <a:avLst/>
                    <a:gdLst>
                      <a:gd name="T0" fmla="*/ 665 w 678"/>
                      <a:gd name="T1" fmla="*/ 26 h 26"/>
                      <a:gd name="T2" fmla="*/ 665 w 678"/>
                      <a:gd name="T3" fmla="*/ 26 h 26"/>
                      <a:gd name="T4" fmla="*/ 13 w 678"/>
                      <a:gd name="T5" fmla="*/ 26 h 26"/>
                      <a:gd name="T6" fmla="*/ 0 w 678"/>
                      <a:gd name="T7" fmla="*/ 13 h 26"/>
                      <a:gd name="T8" fmla="*/ 13 w 678"/>
                      <a:gd name="T9" fmla="*/ 0 h 26"/>
                      <a:gd name="T10" fmla="*/ 665 w 678"/>
                      <a:gd name="T11" fmla="*/ 0 h 26"/>
                      <a:gd name="T12" fmla="*/ 678 w 678"/>
                      <a:gd name="T13" fmla="*/ 13 h 26"/>
                      <a:gd name="T14" fmla="*/ 665 w 67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6">
                        <a:moveTo>
                          <a:pt x="665" y="26"/>
                        </a:moveTo>
                        <a:lnTo>
                          <a:pt x="665" y="26"/>
                        </a:lnTo>
                        <a:lnTo>
                          <a:pt x="13" y="26"/>
                        </a:lnTo>
                        <a:cubicBezTo>
                          <a:pt x="6" y="26"/>
                          <a:pt x="0" y="20"/>
                          <a:pt x="0" y="13"/>
                        </a:cubicBezTo>
                        <a:cubicBezTo>
                          <a:pt x="0" y="6"/>
                          <a:pt x="6" y="0"/>
                          <a:pt x="13" y="0"/>
                        </a:cubicBezTo>
                        <a:lnTo>
                          <a:pt x="665" y="0"/>
                        </a:lnTo>
                        <a:cubicBezTo>
                          <a:pt x="672" y="0"/>
                          <a:pt x="678" y="6"/>
                          <a:pt x="678" y="13"/>
                        </a:cubicBezTo>
                        <a:cubicBezTo>
                          <a:pt x="678" y="20"/>
                          <a:pt x="672" y="26"/>
                          <a:pt x="665"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77" name="Freeform 222">
                    <a:extLst>
                      <a:ext uri="{FF2B5EF4-FFF2-40B4-BE49-F238E27FC236}">
                        <a16:creationId xmlns:a16="http://schemas.microsoft.com/office/drawing/2014/main" id="{932773F6-F62B-4231-9334-4252CA7B1A67}"/>
                      </a:ext>
                    </a:extLst>
                  </p:cNvPr>
                  <p:cNvSpPr>
                    <a:spLocks/>
                  </p:cNvSpPr>
                  <p:nvPr/>
                </p:nvSpPr>
                <p:spPr bwMode="auto">
                  <a:xfrm>
                    <a:off x="9920341" y="5413468"/>
                    <a:ext cx="221818" cy="8096"/>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78" name="Freeform 223">
                    <a:extLst>
                      <a:ext uri="{FF2B5EF4-FFF2-40B4-BE49-F238E27FC236}">
                        <a16:creationId xmlns:a16="http://schemas.microsoft.com/office/drawing/2014/main" id="{5DCC7A3B-AA76-4A38-A559-6BE20572A4E9}"/>
                      </a:ext>
                    </a:extLst>
                  </p:cNvPr>
                  <p:cNvSpPr>
                    <a:spLocks/>
                  </p:cNvSpPr>
                  <p:nvPr/>
                </p:nvSpPr>
                <p:spPr bwMode="auto">
                  <a:xfrm>
                    <a:off x="9920341" y="5462041"/>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79" name="Freeform 224">
                    <a:extLst>
                      <a:ext uri="{FF2B5EF4-FFF2-40B4-BE49-F238E27FC236}">
                        <a16:creationId xmlns:a16="http://schemas.microsoft.com/office/drawing/2014/main" id="{6DDE06E6-0E38-4E5A-889C-02D8C64A2040}"/>
                      </a:ext>
                    </a:extLst>
                  </p:cNvPr>
                  <p:cNvSpPr>
                    <a:spLocks/>
                  </p:cNvSpPr>
                  <p:nvPr/>
                </p:nvSpPr>
                <p:spPr bwMode="auto">
                  <a:xfrm>
                    <a:off x="9920340" y="5518710"/>
                    <a:ext cx="219456" cy="9715"/>
                  </a:xfrm>
                  <a:custGeom>
                    <a:avLst/>
                    <a:gdLst>
                      <a:gd name="T0" fmla="*/ 330 w 344"/>
                      <a:gd name="T1" fmla="*/ 27 h 27"/>
                      <a:gd name="T2" fmla="*/ 330 w 344"/>
                      <a:gd name="T3" fmla="*/ 27 h 27"/>
                      <a:gd name="T4" fmla="*/ 13 w 344"/>
                      <a:gd name="T5" fmla="*/ 27 h 27"/>
                      <a:gd name="T6" fmla="*/ 0 w 344"/>
                      <a:gd name="T7" fmla="*/ 14 h 27"/>
                      <a:gd name="T8" fmla="*/ 13 w 344"/>
                      <a:gd name="T9" fmla="*/ 0 h 27"/>
                      <a:gd name="T10" fmla="*/ 330 w 344"/>
                      <a:gd name="T11" fmla="*/ 0 h 27"/>
                      <a:gd name="T12" fmla="*/ 344 w 344"/>
                      <a:gd name="T13" fmla="*/ 14 h 27"/>
                      <a:gd name="T14" fmla="*/ 330 w 3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7">
                        <a:moveTo>
                          <a:pt x="330" y="27"/>
                        </a:moveTo>
                        <a:lnTo>
                          <a:pt x="330" y="27"/>
                        </a:lnTo>
                        <a:lnTo>
                          <a:pt x="13" y="27"/>
                        </a:lnTo>
                        <a:cubicBezTo>
                          <a:pt x="6" y="27"/>
                          <a:pt x="0" y="21"/>
                          <a:pt x="0" y="14"/>
                        </a:cubicBezTo>
                        <a:cubicBezTo>
                          <a:pt x="0" y="6"/>
                          <a:pt x="6" y="0"/>
                          <a:pt x="13" y="0"/>
                        </a:cubicBezTo>
                        <a:lnTo>
                          <a:pt x="330" y="0"/>
                        </a:lnTo>
                        <a:cubicBezTo>
                          <a:pt x="338" y="0"/>
                          <a:pt x="344" y="6"/>
                          <a:pt x="344" y="14"/>
                        </a:cubicBezTo>
                        <a:cubicBezTo>
                          <a:pt x="344" y="21"/>
                          <a:pt x="338" y="27"/>
                          <a:pt x="330"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80" name="Freeform 217">
                    <a:extLst>
                      <a:ext uri="{FF2B5EF4-FFF2-40B4-BE49-F238E27FC236}">
                        <a16:creationId xmlns:a16="http://schemas.microsoft.com/office/drawing/2014/main" id="{1C55F7B5-F4DE-4D47-B750-86C2E5C8EE70}"/>
                      </a:ext>
                    </a:extLst>
                  </p:cNvPr>
                  <p:cNvSpPr>
                    <a:spLocks/>
                  </p:cNvSpPr>
                  <p:nvPr/>
                </p:nvSpPr>
                <p:spPr bwMode="auto">
                  <a:xfrm>
                    <a:off x="9939770" y="5695192"/>
                    <a:ext cx="335156" cy="9715"/>
                  </a:xfrm>
                  <a:custGeom>
                    <a:avLst/>
                    <a:gdLst>
                      <a:gd name="T0" fmla="*/ 1016 w 1030"/>
                      <a:gd name="T1" fmla="*/ 27 h 27"/>
                      <a:gd name="T2" fmla="*/ 1016 w 1030"/>
                      <a:gd name="T3" fmla="*/ 27 h 27"/>
                      <a:gd name="T4" fmla="*/ 14 w 1030"/>
                      <a:gd name="T5" fmla="*/ 27 h 27"/>
                      <a:gd name="T6" fmla="*/ 0 w 1030"/>
                      <a:gd name="T7" fmla="*/ 13 h 27"/>
                      <a:gd name="T8" fmla="*/ 14 w 1030"/>
                      <a:gd name="T9" fmla="*/ 0 h 27"/>
                      <a:gd name="T10" fmla="*/ 1016 w 1030"/>
                      <a:gd name="T11" fmla="*/ 0 h 27"/>
                      <a:gd name="T12" fmla="*/ 1030 w 1030"/>
                      <a:gd name="T13" fmla="*/ 13 h 27"/>
                      <a:gd name="T14" fmla="*/ 1016 w 1030"/>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27">
                        <a:moveTo>
                          <a:pt x="1016" y="27"/>
                        </a:moveTo>
                        <a:lnTo>
                          <a:pt x="1016" y="27"/>
                        </a:lnTo>
                        <a:lnTo>
                          <a:pt x="14" y="27"/>
                        </a:lnTo>
                        <a:cubicBezTo>
                          <a:pt x="6" y="27"/>
                          <a:pt x="0" y="21"/>
                          <a:pt x="0" y="13"/>
                        </a:cubicBezTo>
                        <a:cubicBezTo>
                          <a:pt x="0" y="6"/>
                          <a:pt x="6" y="0"/>
                          <a:pt x="14" y="0"/>
                        </a:cubicBezTo>
                        <a:lnTo>
                          <a:pt x="1016" y="0"/>
                        </a:lnTo>
                        <a:cubicBezTo>
                          <a:pt x="1024" y="0"/>
                          <a:pt x="1030" y="6"/>
                          <a:pt x="1030" y="13"/>
                        </a:cubicBezTo>
                        <a:cubicBezTo>
                          <a:pt x="1030" y="21"/>
                          <a:pt x="1024" y="27"/>
                          <a:pt x="1016"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grpSp>
        <p:sp>
          <p:nvSpPr>
            <p:cNvPr id="162" name="TextBox 161">
              <a:extLst>
                <a:ext uri="{FF2B5EF4-FFF2-40B4-BE49-F238E27FC236}">
                  <a16:creationId xmlns:a16="http://schemas.microsoft.com/office/drawing/2014/main" id="{4840D1C2-5CEB-4F9D-A576-E9270C85E03C}"/>
                </a:ext>
              </a:extLst>
            </p:cNvPr>
            <p:cNvSpPr txBox="1"/>
            <p:nvPr/>
          </p:nvSpPr>
          <p:spPr>
            <a:xfrm>
              <a:off x="3882064" y="4520188"/>
              <a:ext cx="682303" cy="258532"/>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r>
                <a:rPr lang="en-US" sz="1200">
                  <a:solidFill>
                    <a:schemeClr val="bg1"/>
                  </a:solidFill>
                </a:rPr>
                <a:t>Policies</a:t>
              </a:r>
            </a:p>
          </p:txBody>
        </p:sp>
      </p:grpSp>
      <p:grpSp>
        <p:nvGrpSpPr>
          <p:cNvPr id="209" name="Group 208">
            <a:extLst>
              <a:ext uri="{FF2B5EF4-FFF2-40B4-BE49-F238E27FC236}">
                <a16:creationId xmlns:a16="http://schemas.microsoft.com/office/drawing/2014/main" id="{C8B45D8A-9DE5-4E73-AB82-A7605C9C3F6D}"/>
              </a:ext>
            </a:extLst>
          </p:cNvPr>
          <p:cNvGrpSpPr/>
          <p:nvPr/>
        </p:nvGrpSpPr>
        <p:grpSpPr>
          <a:xfrm>
            <a:off x="5575916" y="3605035"/>
            <a:ext cx="978971" cy="1126905"/>
            <a:chOff x="5727971" y="2924092"/>
            <a:chExt cx="978971" cy="1126905"/>
          </a:xfrm>
        </p:grpSpPr>
        <p:grpSp>
          <p:nvGrpSpPr>
            <p:cNvPr id="210" name="Group 209">
              <a:extLst>
                <a:ext uri="{FF2B5EF4-FFF2-40B4-BE49-F238E27FC236}">
                  <a16:creationId xmlns:a16="http://schemas.microsoft.com/office/drawing/2014/main" id="{8E1FB1EF-A0A8-464C-A86B-5C0323CD14D2}"/>
                </a:ext>
              </a:extLst>
            </p:cNvPr>
            <p:cNvGrpSpPr/>
            <p:nvPr/>
          </p:nvGrpSpPr>
          <p:grpSpPr>
            <a:xfrm>
              <a:off x="5727971" y="2924092"/>
              <a:ext cx="729430" cy="562554"/>
              <a:chOff x="5199063" y="3544889"/>
              <a:chExt cx="673100" cy="519112"/>
            </a:xfrm>
            <a:solidFill>
              <a:schemeClr val="bg1"/>
            </a:solidFill>
          </p:grpSpPr>
          <p:sp>
            <p:nvSpPr>
              <p:cNvPr id="212" name="Freeform 160">
                <a:extLst>
                  <a:ext uri="{FF2B5EF4-FFF2-40B4-BE49-F238E27FC236}">
                    <a16:creationId xmlns:a16="http://schemas.microsoft.com/office/drawing/2014/main" id="{17217ACD-D311-47D8-9B78-77A60C96FFB6}"/>
                  </a:ext>
                </a:extLst>
              </p:cNvPr>
              <p:cNvSpPr>
                <a:spLocks noEditPoints="1"/>
              </p:cNvSpPr>
              <p:nvPr/>
            </p:nvSpPr>
            <p:spPr bwMode="auto">
              <a:xfrm>
                <a:off x="5426075" y="3614739"/>
                <a:ext cx="196850" cy="196850"/>
              </a:xfrm>
              <a:custGeom>
                <a:avLst/>
                <a:gdLst>
                  <a:gd name="T0" fmla="*/ 329 w 720"/>
                  <a:gd name="T1" fmla="*/ 433 h 720"/>
                  <a:gd name="T2" fmla="*/ 433 w 720"/>
                  <a:gd name="T3" fmla="*/ 330 h 720"/>
                  <a:gd name="T4" fmla="*/ 330 w 720"/>
                  <a:gd name="T5" fmla="*/ 287 h 720"/>
                  <a:gd name="T6" fmla="*/ 329 w 720"/>
                  <a:gd name="T7" fmla="*/ 433 h 720"/>
                  <a:gd name="T8" fmla="*/ 360 w 720"/>
                  <a:gd name="T9" fmla="*/ 466 h 720"/>
                  <a:gd name="T10" fmla="*/ 319 w 720"/>
                  <a:gd name="T11" fmla="*/ 458 h 720"/>
                  <a:gd name="T12" fmla="*/ 262 w 720"/>
                  <a:gd name="T13" fmla="*/ 319 h 720"/>
                  <a:gd name="T14" fmla="*/ 401 w 720"/>
                  <a:gd name="T15" fmla="*/ 263 h 720"/>
                  <a:gd name="T16" fmla="*/ 458 w 720"/>
                  <a:gd name="T17" fmla="*/ 401 h 720"/>
                  <a:gd name="T18" fmla="*/ 322 w 720"/>
                  <a:gd name="T19" fmla="*/ 613 h 720"/>
                  <a:gd name="T20" fmla="*/ 395 w 720"/>
                  <a:gd name="T21" fmla="*/ 613 h 720"/>
                  <a:gd name="T22" fmla="*/ 519 w 720"/>
                  <a:gd name="T23" fmla="*/ 665 h 720"/>
                  <a:gd name="T24" fmla="*/ 563 w 720"/>
                  <a:gd name="T25" fmla="*/ 515 h 720"/>
                  <a:gd name="T26" fmla="*/ 688 w 720"/>
                  <a:gd name="T27" fmla="*/ 463 h 720"/>
                  <a:gd name="T28" fmla="*/ 613 w 720"/>
                  <a:gd name="T29" fmla="*/ 326 h 720"/>
                  <a:gd name="T30" fmla="*/ 665 w 720"/>
                  <a:gd name="T31" fmla="*/ 201 h 720"/>
                  <a:gd name="T32" fmla="*/ 514 w 720"/>
                  <a:gd name="T33" fmla="*/ 157 h 720"/>
                  <a:gd name="T34" fmla="*/ 463 w 720"/>
                  <a:gd name="T35" fmla="*/ 32 h 720"/>
                  <a:gd name="T36" fmla="*/ 325 w 720"/>
                  <a:gd name="T37" fmla="*/ 107 h 720"/>
                  <a:gd name="T38" fmla="*/ 201 w 720"/>
                  <a:gd name="T39" fmla="*/ 55 h 720"/>
                  <a:gd name="T40" fmla="*/ 157 w 720"/>
                  <a:gd name="T41" fmla="*/ 206 h 720"/>
                  <a:gd name="T42" fmla="*/ 32 w 720"/>
                  <a:gd name="T43" fmla="*/ 257 h 720"/>
                  <a:gd name="T44" fmla="*/ 107 w 720"/>
                  <a:gd name="T45" fmla="*/ 395 h 720"/>
                  <a:gd name="T46" fmla="*/ 55 w 720"/>
                  <a:gd name="T47" fmla="*/ 519 h 720"/>
                  <a:gd name="T48" fmla="*/ 205 w 720"/>
                  <a:gd name="T49" fmla="*/ 564 h 720"/>
                  <a:gd name="T50" fmla="*/ 257 w 720"/>
                  <a:gd name="T51" fmla="*/ 688 h 720"/>
                  <a:gd name="T52" fmla="*/ 264 w 720"/>
                  <a:gd name="T53" fmla="*/ 720 h 720"/>
                  <a:gd name="T54" fmla="*/ 172 w 720"/>
                  <a:gd name="T55" fmla="*/ 681 h 720"/>
                  <a:gd name="T56" fmla="*/ 144 w 720"/>
                  <a:gd name="T57" fmla="*/ 540 h 720"/>
                  <a:gd name="T58" fmla="*/ 0 w 720"/>
                  <a:gd name="T59" fmla="*/ 455 h 720"/>
                  <a:gd name="T60" fmla="*/ 81 w 720"/>
                  <a:gd name="T61" fmla="*/ 335 h 720"/>
                  <a:gd name="T62" fmla="*/ 39 w 720"/>
                  <a:gd name="T63" fmla="*/ 172 h 720"/>
                  <a:gd name="T64" fmla="*/ 181 w 720"/>
                  <a:gd name="T65" fmla="*/ 144 h 720"/>
                  <a:gd name="T66" fmla="*/ 266 w 720"/>
                  <a:gd name="T67" fmla="*/ 0 h 720"/>
                  <a:gd name="T68" fmla="*/ 386 w 720"/>
                  <a:gd name="T69" fmla="*/ 81 h 720"/>
                  <a:gd name="T70" fmla="*/ 548 w 720"/>
                  <a:gd name="T71" fmla="*/ 39 h 720"/>
                  <a:gd name="T72" fmla="*/ 576 w 720"/>
                  <a:gd name="T73" fmla="*/ 181 h 720"/>
                  <a:gd name="T74" fmla="*/ 720 w 720"/>
                  <a:gd name="T75" fmla="*/ 266 h 720"/>
                  <a:gd name="T76" fmla="*/ 639 w 720"/>
                  <a:gd name="T77" fmla="*/ 386 h 720"/>
                  <a:gd name="T78" fmla="*/ 681 w 720"/>
                  <a:gd name="T79" fmla="*/ 548 h 720"/>
                  <a:gd name="T80" fmla="*/ 539 w 720"/>
                  <a:gd name="T81" fmla="*/ 576 h 720"/>
                  <a:gd name="T82" fmla="*/ 454 w 720"/>
                  <a:gd name="T83" fmla="*/ 720 h 720"/>
                  <a:gd name="T84" fmla="*/ 334 w 720"/>
                  <a:gd name="T85" fmla="*/ 6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0" h="720">
                    <a:moveTo>
                      <a:pt x="329" y="433"/>
                    </a:moveTo>
                    <a:lnTo>
                      <a:pt x="329" y="433"/>
                    </a:lnTo>
                    <a:cubicBezTo>
                      <a:pt x="369" y="450"/>
                      <a:pt x="416" y="431"/>
                      <a:pt x="433" y="391"/>
                    </a:cubicBezTo>
                    <a:cubicBezTo>
                      <a:pt x="441" y="372"/>
                      <a:pt x="441" y="350"/>
                      <a:pt x="433" y="330"/>
                    </a:cubicBezTo>
                    <a:cubicBezTo>
                      <a:pt x="425" y="311"/>
                      <a:pt x="410" y="295"/>
                      <a:pt x="391" y="287"/>
                    </a:cubicBezTo>
                    <a:cubicBezTo>
                      <a:pt x="371" y="279"/>
                      <a:pt x="350" y="279"/>
                      <a:pt x="330" y="287"/>
                    </a:cubicBezTo>
                    <a:cubicBezTo>
                      <a:pt x="310" y="295"/>
                      <a:pt x="295" y="310"/>
                      <a:pt x="287" y="329"/>
                    </a:cubicBezTo>
                    <a:cubicBezTo>
                      <a:pt x="270" y="370"/>
                      <a:pt x="289" y="416"/>
                      <a:pt x="329" y="433"/>
                    </a:cubicBezTo>
                    <a:lnTo>
                      <a:pt x="329" y="433"/>
                    </a:lnTo>
                    <a:close/>
                    <a:moveTo>
                      <a:pt x="360" y="466"/>
                    </a:moveTo>
                    <a:lnTo>
                      <a:pt x="360" y="466"/>
                    </a:lnTo>
                    <a:cubicBezTo>
                      <a:pt x="346" y="466"/>
                      <a:pt x="332" y="464"/>
                      <a:pt x="319" y="458"/>
                    </a:cubicBezTo>
                    <a:lnTo>
                      <a:pt x="319" y="458"/>
                    </a:lnTo>
                    <a:cubicBezTo>
                      <a:pt x="265" y="435"/>
                      <a:pt x="240" y="373"/>
                      <a:pt x="262" y="319"/>
                    </a:cubicBezTo>
                    <a:cubicBezTo>
                      <a:pt x="273" y="293"/>
                      <a:pt x="294" y="273"/>
                      <a:pt x="320" y="262"/>
                    </a:cubicBezTo>
                    <a:cubicBezTo>
                      <a:pt x="346" y="251"/>
                      <a:pt x="375" y="252"/>
                      <a:pt x="401" y="263"/>
                    </a:cubicBezTo>
                    <a:cubicBezTo>
                      <a:pt x="427" y="274"/>
                      <a:pt x="447" y="294"/>
                      <a:pt x="458" y="320"/>
                    </a:cubicBezTo>
                    <a:cubicBezTo>
                      <a:pt x="469" y="347"/>
                      <a:pt x="469" y="375"/>
                      <a:pt x="458" y="401"/>
                    </a:cubicBezTo>
                    <a:cubicBezTo>
                      <a:pt x="441" y="442"/>
                      <a:pt x="401" y="466"/>
                      <a:pt x="360" y="466"/>
                    </a:cubicBezTo>
                    <a:close/>
                    <a:moveTo>
                      <a:pt x="322" y="613"/>
                    </a:moveTo>
                    <a:lnTo>
                      <a:pt x="322" y="613"/>
                    </a:lnTo>
                    <a:lnTo>
                      <a:pt x="395" y="613"/>
                    </a:lnTo>
                    <a:lnTo>
                      <a:pt x="462" y="688"/>
                    </a:lnTo>
                    <a:lnTo>
                      <a:pt x="519" y="665"/>
                    </a:lnTo>
                    <a:lnTo>
                      <a:pt x="512" y="566"/>
                    </a:lnTo>
                    <a:lnTo>
                      <a:pt x="563" y="515"/>
                    </a:lnTo>
                    <a:lnTo>
                      <a:pt x="664" y="520"/>
                    </a:lnTo>
                    <a:lnTo>
                      <a:pt x="688" y="463"/>
                    </a:lnTo>
                    <a:lnTo>
                      <a:pt x="613" y="398"/>
                    </a:lnTo>
                    <a:lnTo>
                      <a:pt x="613" y="326"/>
                    </a:lnTo>
                    <a:lnTo>
                      <a:pt x="688" y="259"/>
                    </a:lnTo>
                    <a:lnTo>
                      <a:pt x="665" y="201"/>
                    </a:lnTo>
                    <a:lnTo>
                      <a:pt x="565" y="208"/>
                    </a:lnTo>
                    <a:lnTo>
                      <a:pt x="514" y="157"/>
                    </a:lnTo>
                    <a:lnTo>
                      <a:pt x="520" y="56"/>
                    </a:lnTo>
                    <a:lnTo>
                      <a:pt x="463" y="32"/>
                    </a:lnTo>
                    <a:lnTo>
                      <a:pt x="398" y="108"/>
                    </a:lnTo>
                    <a:lnTo>
                      <a:pt x="325" y="107"/>
                    </a:lnTo>
                    <a:lnTo>
                      <a:pt x="258" y="32"/>
                    </a:lnTo>
                    <a:lnTo>
                      <a:pt x="201" y="55"/>
                    </a:lnTo>
                    <a:lnTo>
                      <a:pt x="208" y="155"/>
                    </a:lnTo>
                    <a:lnTo>
                      <a:pt x="157" y="206"/>
                    </a:lnTo>
                    <a:lnTo>
                      <a:pt x="56" y="200"/>
                    </a:lnTo>
                    <a:lnTo>
                      <a:pt x="32" y="257"/>
                    </a:lnTo>
                    <a:lnTo>
                      <a:pt x="107" y="322"/>
                    </a:lnTo>
                    <a:lnTo>
                      <a:pt x="107" y="395"/>
                    </a:lnTo>
                    <a:lnTo>
                      <a:pt x="32" y="462"/>
                    </a:lnTo>
                    <a:lnTo>
                      <a:pt x="55" y="519"/>
                    </a:lnTo>
                    <a:lnTo>
                      <a:pt x="155" y="512"/>
                    </a:lnTo>
                    <a:lnTo>
                      <a:pt x="205" y="564"/>
                    </a:lnTo>
                    <a:lnTo>
                      <a:pt x="200" y="664"/>
                    </a:lnTo>
                    <a:lnTo>
                      <a:pt x="257" y="688"/>
                    </a:lnTo>
                    <a:lnTo>
                      <a:pt x="322" y="613"/>
                    </a:lnTo>
                    <a:close/>
                    <a:moveTo>
                      <a:pt x="264" y="720"/>
                    </a:moveTo>
                    <a:lnTo>
                      <a:pt x="264" y="720"/>
                    </a:lnTo>
                    <a:lnTo>
                      <a:pt x="172" y="681"/>
                    </a:lnTo>
                    <a:lnTo>
                      <a:pt x="178" y="574"/>
                    </a:lnTo>
                    <a:lnTo>
                      <a:pt x="144" y="540"/>
                    </a:lnTo>
                    <a:lnTo>
                      <a:pt x="38" y="547"/>
                    </a:lnTo>
                    <a:lnTo>
                      <a:pt x="0" y="455"/>
                    </a:lnTo>
                    <a:lnTo>
                      <a:pt x="80" y="383"/>
                    </a:lnTo>
                    <a:lnTo>
                      <a:pt x="81" y="335"/>
                    </a:lnTo>
                    <a:lnTo>
                      <a:pt x="0" y="265"/>
                    </a:lnTo>
                    <a:lnTo>
                      <a:pt x="39" y="172"/>
                    </a:lnTo>
                    <a:lnTo>
                      <a:pt x="146" y="178"/>
                    </a:lnTo>
                    <a:lnTo>
                      <a:pt x="181" y="144"/>
                    </a:lnTo>
                    <a:lnTo>
                      <a:pt x="173" y="38"/>
                    </a:lnTo>
                    <a:lnTo>
                      <a:pt x="266" y="0"/>
                    </a:lnTo>
                    <a:lnTo>
                      <a:pt x="337" y="81"/>
                    </a:lnTo>
                    <a:lnTo>
                      <a:pt x="386" y="81"/>
                    </a:lnTo>
                    <a:lnTo>
                      <a:pt x="456" y="0"/>
                    </a:lnTo>
                    <a:lnTo>
                      <a:pt x="548" y="39"/>
                    </a:lnTo>
                    <a:lnTo>
                      <a:pt x="542" y="146"/>
                    </a:lnTo>
                    <a:lnTo>
                      <a:pt x="576" y="181"/>
                    </a:lnTo>
                    <a:lnTo>
                      <a:pt x="682" y="173"/>
                    </a:lnTo>
                    <a:lnTo>
                      <a:pt x="720" y="266"/>
                    </a:lnTo>
                    <a:lnTo>
                      <a:pt x="640" y="338"/>
                    </a:lnTo>
                    <a:lnTo>
                      <a:pt x="639" y="386"/>
                    </a:lnTo>
                    <a:lnTo>
                      <a:pt x="720" y="456"/>
                    </a:lnTo>
                    <a:lnTo>
                      <a:pt x="681" y="548"/>
                    </a:lnTo>
                    <a:lnTo>
                      <a:pt x="574" y="542"/>
                    </a:lnTo>
                    <a:lnTo>
                      <a:pt x="539" y="576"/>
                    </a:lnTo>
                    <a:lnTo>
                      <a:pt x="547" y="682"/>
                    </a:lnTo>
                    <a:lnTo>
                      <a:pt x="454" y="720"/>
                    </a:lnTo>
                    <a:lnTo>
                      <a:pt x="383" y="640"/>
                    </a:lnTo>
                    <a:lnTo>
                      <a:pt x="334" y="640"/>
                    </a:lnTo>
                    <a:lnTo>
                      <a:pt x="264" y="72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13" name="Freeform 161">
                <a:extLst>
                  <a:ext uri="{FF2B5EF4-FFF2-40B4-BE49-F238E27FC236}">
                    <a16:creationId xmlns:a16="http://schemas.microsoft.com/office/drawing/2014/main" id="{E556E05D-A6B9-41FA-A8B4-3EF4AE413564}"/>
                  </a:ext>
                </a:extLst>
              </p:cNvPr>
              <p:cNvSpPr>
                <a:spLocks noEditPoints="1"/>
              </p:cNvSpPr>
              <p:nvPr/>
            </p:nvSpPr>
            <p:spPr bwMode="auto">
              <a:xfrm>
                <a:off x="5589588" y="3744914"/>
                <a:ext cx="138113" cy="138113"/>
              </a:xfrm>
              <a:custGeom>
                <a:avLst/>
                <a:gdLst>
                  <a:gd name="T0" fmla="*/ 253 w 505"/>
                  <a:gd name="T1" fmla="*/ 202 h 505"/>
                  <a:gd name="T2" fmla="*/ 233 w 505"/>
                  <a:gd name="T3" fmla="*/ 299 h 505"/>
                  <a:gd name="T4" fmla="*/ 272 w 505"/>
                  <a:gd name="T5" fmla="*/ 299 h 505"/>
                  <a:gd name="T6" fmla="*/ 272 w 505"/>
                  <a:gd name="T7" fmla="*/ 206 h 505"/>
                  <a:gd name="T8" fmla="*/ 253 w 505"/>
                  <a:gd name="T9" fmla="*/ 329 h 505"/>
                  <a:gd name="T10" fmla="*/ 223 w 505"/>
                  <a:gd name="T11" fmla="*/ 323 h 505"/>
                  <a:gd name="T12" fmla="*/ 283 w 505"/>
                  <a:gd name="T13" fmla="*/ 181 h 505"/>
                  <a:gd name="T14" fmla="*/ 282 w 505"/>
                  <a:gd name="T15" fmla="*/ 324 h 505"/>
                  <a:gd name="T16" fmla="*/ 225 w 505"/>
                  <a:gd name="T17" fmla="*/ 422 h 505"/>
                  <a:gd name="T18" fmla="*/ 279 w 505"/>
                  <a:gd name="T19" fmla="*/ 422 h 505"/>
                  <a:gd name="T20" fmla="*/ 358 w 505"/>
                  <a:gd name="T21" fmla="*/ 459 h 505"/>
                  <a:gd name="T22" fmla="*/ 391 w 505"/>
                  <a:gd name="T23" fmla="*/ 354 h 505"/>
                  <a:gd name="T24" fmla="*/ 473 w 505"/>
                  <a:gd name="T25" fmla="*/ 324 h 505"/>
                  <a:gd name="T26" fmla="*/ 423 w 505"/>
                  <a:gd name="T27" fmla="*/ 227 h 505"/>
                  <a:gd name="T28" fmla="*/ 460 w 505"/>
                  <a:gd name="T29" fmla="*/ 147 h 505"/>
                  <a:gd name="T30" fmla="*/ 355 w 505"/>
                  <a:gd name="T31" fmla="*/ 114 h 505"/>
                  <a:gd name="T32" fmla="*/ 325 w 505"/>
                  <a:gd name="T33" fmla="*/ 32 h 505"/>
                  <a:gd name="T34" fmla="*/ 227 w 505"/>
                  <a:gd name="T35" fmla="*/ 82 h 505"/>
                  <a:gd name="T36" fmla="*/ 148 w 505"/>
                  <a:gd name="T37" fmla="*/ 45 h 505"/>
                  <a:gd name="T38" fmla="*/ 114 w 505"/>
                  <a:gd name="T39" fmla="*/ 150 h 505"/>
                  <a:gd name="T40" fmla="*/ 32 w 505"/>
                  <a:gd name="T41" fmla="*/ 180 h 505"/>
                  <a:gd name="T42" fmla="*/ 83 w 505"/>
                  <a:gd name="T43" fmla="*/ 278 h 505"/>
                  <a:gd name="T44" fmla="*/ 46 w 505"/>
                  <a:gd name="T45" fmla="*/ 357 h 505"/>
                  <a:gd name="T46" fmla="*/ 151 w 505"/>
                  <a:gd name="T47" fmla="*/ 391 h 505"/>
                  <a:gd name="T48" fmla="*/ 181 w 505"/>
                  <a:gd name="T49" fmla="*/ 473 h 505"/>
                  <a:gd name="T50" fmla="*/ 188 w 505"/>
                  <a:gd name="T51" fmla="*/ 505 h 505"/>
                  <a:gd name="T52" fmla="*/ 119 w 505"/>
                  <a:gd name="T53" fmla="*/ 476 h 505"/>
                  <a:gd name="T54" fmla="*/ 103 w 505"/>
                  <a:gd name="T55" fmla="*/ 380 h 505"/>
                  <a:gd name="T56" fmla="*/ 0 w 505"/>
                  <a:gd name="T57" fmla="*/ 316 h 505"/>
                  <a:gd name="T58" fmla="*/ 56 w 505"/>
                  <a:gd name="T59" fmla="*/ 236 h 505"/>
                  <a:gd name="T60" fmla="*/ 29 w 505"/>
                  <a:gd name="T61" fmla="*/ 119 h 505"/>
                  <a:gd name="T62" fmla="*/ 125 w 505"/>
                  <a:gd name="T63" fmla="*/ 102 h 505"/>
                  <a:gd name="T64" fmla="*/ 189 w 505"/>
                  <a:gd name="T65" fmla="*/ 0 h 505"/>
                  <a:gd name="T66" fmla="*/ 269 w 505"/>
                  <a:gd name="T67" fmla="*/ 56 h 505"/>
                  <a:gd name="T68" fmla="*/ 386 w 505"/>
                  <a:gd name="T69" fmla="*/ 29 h 505"/>
                  <a:gd name="T70" fmla="*/ 403 w 505"/>
                  <a:gd name="T71" fmla="*/ 125 h 505"/>
                  <a:gd name="T72" fmla="*/ 505 w 505"/>
                  <a:gd name="T73" fmla="*/ 189 h 505"/>
                  <a:gd name="T74" fmla="*/ 449 w 505"/>
                  <a:gd name="T75" fmla="*/ 268 h 505"/>
                  <a:gd name="T76" fmla="*/ 476 w 505"/>
                  <a:gd name="T77" fmla="*/ 386 h 505"/>
                  <a:gd name="T78" fmla="*/ 381 w 505"/>
                  <a:gd name="T79" fmla="*/ 402 h 505"/>
                  <a:gd name="T80" fmla="*/ 317 w 505"/>
                  <a:gd name="T81" fmla="*/ 505 h 505"/>
                  <a:gd name="T82" fmla="*/ 237 w 505"/>
                  <a:gd name="T83" fmla="*/ 449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5" h="505">
                    <a:moveTo>
                      <a:pt x="253" y="202"/>
                    </a:moveTo>
                    <a:lnTo>
                      <a:pt x="253" y="202"/>
                    </a:lnTo>
                    <a:cubicBezTo>
                      <a:pt x="233" y="202"/>
                      <a:pt x="215" y="213"/>
                      <a:pt x="206" y="233"/>
                    </a:cubicBezTo>
                    <a:cubicBezTo>
                      <a:pt x="196" y="258"/>
                      <a:pt x="208" y="288"/>
                      <a:pt x="233" y="299"/>
                    </a:cubicBezTo>
                    <a:lnTo>
                      <a:pt x="233" y="299"/>
                    </a:lnTo>
                    <a:cubicBezTo>
                      <a:pt x="246" y="304"/>
                      <a:pt x="259" y="304"/>
                      <a:pt x="272" y="299"/>
                    </a:cubicBezTo>
                    <a:cubicBezTo>
                      <a:pt x="284" y="294"/>
                      <a:pt x="294" y="284"/>
                      <a:pt x="299" y="272"/>
                    </a:cubicBezTo>
                    <a:cubicBezTo>
                      <a:pt x="310" y="246"/>
                      <a:pt x="298" y="217"/>
                      <a:pt x="272" y="206"/>
                    </a:cubicBezTo>
                    <a:cubicBezTo>
                      <a:pt x="266" y="203"/>
                      <a:pt x="259" y="202"/>
                      <a:pt x="253" y="202"/>
                    </a:cubicBezTo>
                    <a:close/>
                    <a:moveTo>
                      <a:pt x="253" y="329"/>
                    </a:moveTo>
                    <a:lnTo>
                      <a:pt x="253" y="329"/>
                    </a:lnTo>
                    <a:cubicBezTo>
                      <a:pt x="243" y="329"/>
                      <a:pt x="233" y="327"/>
                      <a:pt x="223" y="323"/>
                    </a:cubicBezTo>
                    <a:cubicBezTo>
                      <a:pt x="184" y="307"/>
                      <a:pt x="165" y="261"/>
                      <a:pt x="182" y="222"/>
                    </a:cubicBezTo>
                    <a:cubicBezTo>
                      <a:pt x="198" y="183"/>
                      <a:pt x="244" y="165"/>
                      <a:pt x="283" y="181"/>
                    </a:cubicBezTo>
                    <a:cubicBezTo>
                      <a:pt x="322" y="198"/>
                      <a:pt x="340" y="243"/>
                      <a:pt x="324" y="282"/>
                    </a:cubicBezTo>
                    <a:cubicBezTo>
                      <a:pt x="316" y="301"/>
                      <a:pt x="301" y="316"/>
                      <a:pt x="282" y="324"/>
                    </a:cubicBezTo>
                    <a:cubicBezTo>
                      <a:pt x="272" y="327"/>
                      <a:pt x="263" y="329"/>
                      <a:pt x="253" y="329"/>
                    </a:cubicBezTo>
                    <a:close/>
                    <a:moveTo>
                      <a:pt x="225" y="422"/>
                    </a:moveTo>
                    <a:lnTo>
                      <a:pt x="225" y="422"/>
                    </a:lnTo>
                    <a:lnTo>
                      <a:pt x="279" y="422"/>
                    </a:lnTo>
                    <a:lnTo>
                      <a:pt x="324" y="473"/>
                    </a:lnTo>
                    <a:lnTo>
                      <a:pt x="358" y="459"/>
                    </a:lnTo>
                    <a:lnTo>
                      <a:pt x="353" y="392"/>
                    </a:lnTo>
                    <a:lnTo>
                      <a:pt x="391" y="354"/>
                    </a:lnTo>
                    <a:lnTo>
                      <a:pt x="459" y="358"/>
                    </a:lnTo>
                    <a:lnTo>
                      <a:pt x="473" y="324"/>
                    </a:lnTo>
                    <a:lnTo>
                      <a:pt x="422" y="280"/>
                    </a:lnTo>
                    <a:lnTo>
                      <a:pt x="423" y="227"/>
                    </a:lnTo>
                    <a:lnTo>
                      <a:pt x="474" y="181"/>
                    </a:lnTo>
                    <a:lnTo>
                      <a:pt x="460" y="147"/>
                    </a:lnTo>
                    <a:lnTo>
                      <a:pt x="393" y="152"/>
                    </a:lnTo>
                    <a:lnTo>
                      <a:pt x="355" y="114"/>
                    </a:lnTo>
                    <a:lnTo>
                      <a:pt x="359" y="46"/>
                    </a:lnTo>
                    <a:lnTo>
                      <a:pt x="325" y="32"/>
                    </a:lnTo>
                    <a:lnTo>
                      <a:pt x="281" y="83"/>
                    </a:lnTo>
                    <a:lnTo>
                      <a:pt x="227" y="82"/>
                    </a:lnTo>
                    <a:lnTo>
                      <a:pt x="182" y="32"/>
                    </a:lnTo>
                    <a:lnTo>
                      <a:pt x="148" y="45"/>
                    </a:lnTo>
                    <a:lnTo>
                      <a:pt x="153" y="113"/>
                    </a:lnTo>
                    <a:lnTo>
                      <a:pt x="114" y="150"/>
                    </a:lnTo>
                    <a:lnTo>
                      <a:pt x="46" y="146"/>
                    </a:lnTo>
                    <a:lnTo>
                      <a:pt x="32" y="180"/>
                    </a:lnTo>
                    <a:lnTo>
                      <a:pt x="83" y="224"/>
                    </a:lnTo>
                    <a:lnTo>
                      <a:pt x="83" y="278"/>
                    </a:lnTo>
                    <a:lnTo>
                      <a:pt x="32" y="323"/>
                    </a:lnTo>
                    <a:lnTo>
                      <a:pt x="46" y="357"/>
                    </a:lnTo>
                    <a:lnTo>
                      <a:pt x="113" y="353"/>
                    </a:lnTo>
                    <a:lnTo>
                      <a:pt x="151" y="391"/>
                    </a:lnTo>
                    <a:lnTo>
                      <a:pt x="147" y="459"/>
                    </a:lnTo>
                    <a:lnTo>
                      <a:pt x="181" y="473"/>
                    </a:lnTo>
                    <a:lnTo>
                      <a:pt x="225" y="422"/>
                    </a:lnTo>
                    <a:close/>
                    <a:moveTo>
                      <a:pt x="188" y="505"/>
                    </a:moveTo>
                    <a:lnTo>
                      <a:pt x="188" y="505"/>
                    </a:lnTo>
                    <a:lnTo>
                      <a:pt x="119" y="476"/>
                    </a:lnTo>
                    <a:lnTo>
                      <a:pt x="123" y="401"/>
                    </a:lnTo>
                    <a:lnTo>
                      <a:pt x="103" y="380"/>
                    </a:lnTo>
                    <a:lnTo>
                      <a:pt x="28" y="385"/>
                    </a:lnTo>
                    <a:lnTo>
                      <a:pt x="0" y="316"/>
                    </a:lnTo>
                    <a:lnTo>
                      <a:pt x="56" y="266"/>
                    </a:lnTo>
                    <a:lnTo>
                      <a:pt x="56" y="236"/>
                    </a:lnTo>
                    <a:lnTo>
                      <a:pt x="0" y="188"/>
                    </a:lnTo>
                    <a:lnTo>
                      <a:pt x="29" y="119"/>
                    </a:lnTo>
                    <a:lnTo>
                      <a:pt x="104" y="123"/>
                    </a:lnTo>
                    <a:lnTo>
                      <a:pt x="125" y="102"/>
                    </a:lnTo>
                    <a:lnTo>
                      <a:pt x="120" y="28"/>
                    </a:lnTo>
                    <a:lnTo>
                      <a:pt x="189" y="0"/>
                    </a:lnTo>
                    <a:lnTo>
                      <a:pt x="239" y="56"/>
                    </a:lnTo>
                    <a:lnTo>
                      <a:pt x="269" y="56"/>
                    </a:lnTo>
                    <a:lnTo>
                      <a:pt x="317" y="0"/>
                    </a:lnTo>
                    <a:lnTo>
                      <a:pt x="386" y="29"/>
                    </a:lnTo>
                    <a:lnTo>
                      <a:pt x="382" y="104"/>
                    </a:lnTo>
                    <a:lnTo>
                      <a:pt x="403" y="125"/>
                    </a:lnTo>
                    <a:lnTo>
                      <a:pt x="477" y="119"/>
                    </a:lnTo>
                    <a:lnTo>
                      <a:pt x="505" y="189"/>
                    </a:lnTo>
                    <a:lnTo>
                      <a:pt x="449" y="239"/>
                    </a:lnTo>
                    <a:lnTo>
                      <a:pt x="449" y="268"/>
                    </a:lnTo>
                    <a:lnTo>
                      <a:pt x="505" y="317"/>
                    </a:lnTo>
                    <a:lnTo>
                      <a:pt x="476" y="386"/>
                    </a:lnTo>
                    <a:lnTo>
                      <a:pt x="402" y="382"/>
                    </a:lnTo>
                    <a:lnTo>
                      <a:pt x="381" y="402"/>
                    </a:lnTo>
                    <a:lnTo>
                      <a:pt x="386" y="477"/>
                    </a:lnTo>
                    <a:lnTo>
                      <a:pt x="317" y="505"/>
                    </a:lnTo>
                    <a:lnTo>
                      <a:pt x="267" y="449"/>
                    </a:lnTo>
                    <a:lnTo>
                      <a:pt x="237" y="449"/>
                    </a:lnTo>
                    <a:lnTo>
                      <a:pt x="188" y="50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14" name="Freeform 162">
                <a:extLst>
                  <a:ext uri="{FF2B5EF4-FFF2-40B4-BE49-F238E27FC236}">
                    <a16:creationId xmlns:a16="http://schemas.microsoft.com/office/drawing/2014/main" id="{2C80D5A9-B672-4471-BF67-C0E489356BF2}"/>
                  </a:ext>
                </a:extLst>
              </p:cNvPr>
              <p:cNvSpPr>
                <a:spLocks/>
              </p:cNvSpPr>
              <p:nvPr/>
            </p:nvSpPr>
            <p:spPr bwMode="auto">
              <a:xfrm>
                <a:off x="5281613" y="3752851"/>
                <a:ext cx="201613" cy="201613"/>
              </a:xfrm>
              <a:custGeom>
                <a:avLst/>
                <a:gdLst>
                  <a:gd name="T0" fmla="*/ 457 w 738"/>
                  <a:gd name="T1" fmla="*/ 606 h 738"/>
                  <a:gd name="T2" fmla="*/ 401 w 738"/>
                  <a:gd name="T3" fmla="*/ 711 h 738"/>
                  <a:gd name="T4" fmla="*/ 306 w 738"/>
                  <a:gd name="T5" fmla="*/ 616 h 738"/>
                  <a:gd name="T6" fmla="*/ 150 w 738"/>
                  <a:gd name="T7" fmla="*/ 634 h 738"/>
                  <a:gd name="T8" fmla="*/ 149 w 738"/>
                  <a:gd name="T9" fmla="*/ 499 h 738"/>
                  <a:gd name="T10" fmla="*/ 27 w 738"/>
                  <a:gd name="T11" fmla="*/ 401 h 738"/>
                  <a:gd name="T12" fmla="*/ 121 w 738"/>
                  <a:gd name="T13" fmla="*/ 305 h 738"/>
                  <a:gd name="T14" fmla="*/ 104 w 738"/>
                  <a:gd name="T15" fmla="*/ 150 h 738"/>
                  <a:gd name="T16" fmla="*/ 239 w 738"/>
                  <a:gd name="T17" fmla="*/ 149 h 738"/>
                  <a:gd name="T18" fmla="*/ 337 w 738"/>
                  <a:gd name="T19" fmla="*/ 26 h 738"/>
                  <a:gd name="T20" fmla="*/ 432 w 738"/>
                  <a:gd name="T21" fmla="*/ 121 h 738"/>
                  <a:gd name="T22" fmla="*/ 588 w 738"/>
                  <a:gd name="T23" fmla="*/ 104 h 738"/>
                  <a:gd name="T24" fmla="*/ 589 w 738"/>
                  <a:gd name="T25" fmla="*/ 239 h 738"/>
                  <a:gd name="T26" fmla="*/ 711 w 738"/>
                  <a:gd name="T27" fmla="*/ 336 h 738"/>
                  <a:gd name="T28" fmla="*/ 616 w 738"/>
                  <a:gd name="T29" fmla="*/ 432 h 738"/>
                  <a:gd name="T30" fmla="*/ 616 w 738"/>
                  <a:gd name="T31" fmla="*/ 467 h 738"/>
                  <a:gd name="T32" fmla="*/ 637 w 738"/>
                  <a:gd name="T33" fmla="*/ 453 h 738"/>
                  <a:gd name="T34" fmla="*/ 738 w 738"/>
                  <a:gd name="T35" fmla="*/ 317 h 738"/>
                  <a:gd name="T36" fmla="*/ 618 w 738"/>
                  <a:gd name="T37" fmla="*/ 239 h 738"/>
                  <a:gd name="T38" fmla="*/ 593 w 738"/>
                  <a:gd name="T39" fmla="*/ 71 h 738"/>
                  <a:gd name="T40" fmla="*/ 453 w 738"/>
                  <a:gd name="T41" fmla="*/ 101 h 738"/>
                  <a:gd name="T42" fmla="*/ 317 w 738"/>
                  <a:gd name="T43" fmla="*/ 0 h 738"/>
                  <a:gd name="T44" fmla="*/ 239 w 738"/>
                  <a:gd name="T45" fmla="*/ 120 h 738"/>
                  <a:gd name="T46" fmla="*/ 72 w 738"/>
                  <a:gd name="T47" fmla="*/ 144 h 738"/>
                  <a:gd name="T48" fmla="*/ 101 w 738"/>
                  <a:gd name="T49" fmla="*/ 284 h 738"/>
                  <a:gd name="T50" fmla="*/ 0 w 738"/>
                  <a:gd name="T51" fmla="*/ 420 h 738"/>
                  <a:gd name="T52" fmla="*/ 120 w 738"/>
                  <a:gd name="T53" fmla="*/ 498 h 738"/>
                  <a:gd name="T54" fmla="*/ 145 w 738"/>
                  <a:gd name="T55" fmla="*/ 666 h 738"/>
                  <a:gd name="T56" fmla="*/ 284 w 738"/>
                  <a:gd name="T57" fmla="*/ 636 h 738"/>
                  <a:gd name="T58" fmla="*/ 421 w 738"/>
                  <a:gd name="T59" fmla="*/ 738 h 738"/>
                  <a:gd name="T60" fmla="*/ 476 w 738"/>
                  <a:gd name="T61" fmla="*/ 627 h 738"/>
                  <a:gd name="T62" fmla="*/ 457 w 738"/>
                  <a:gd name="T63" fmla="*/ 606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38" h="738">
                    <a:moveTo>
                      <a:pt x="457" y="606"/>
                    </a:moveTo>
                    <a:lnTo>
                      <a:pt x="457" y="606"/>
                    </a:lnTo>
                    <a:lnTo>
                      <a:pt x="432" y="616"/>
                    </a:lnTo>
                    <a:lnTo>
                      <a:pt x="401" y="711"/>
                    </a:lnTo>
                    <a:lnTo>
                      <a:pt x="339" y="711"/>
                    </a:lnTo>
                    <a:lnTo>
                      <a:pt x="306" y="616"/>
                    </a:lnTo>
                    <a:lnTo>
                      <a:pt x="239" y="588"/>
                    </a:lnTo>
                    <a:lnTo>
                      <a:pt x="150" y="634"/>
                    </a:lnTo>
                    <a:lnTo>
                      <a:pt x="106" y="590"/>
                    </a:lnTo>
                    <a:lnTo>
                      <a:pt x="149" y="499"/>
                    </a:lnTo>
                    <a:lnTo>
                      <a:pt x="121" y="432"/>
                    </a:lnTo>
                    <a:lnTo>
                      <a:pt x="27" y="401"/>
                    </a:lnTo>
                    <a:lnTo>
                      <a:pt x="27" y="339"/>
                    </a:lnTo>
                    <a:lnTo>
                      <a:pt x="121" y="305"/>
                    </a:lnTo>
                    <a:lnTo>
                      <a:pt x="149" y="238"/>
                    </a:lnTo>
                    <a:lnTo>
                      <a:pt x="104" y="150"/>
                    </a:lnTo>
                    <a:lnTo>
                      <a:pt x="148" y="106"/>
                    </a:lnTo>
                    <a:lnTo>
                      <a:pt x="239" y="149"/>
                    </a:lnTo>
                    <a:lnTo>
                      <a:pt x="306" y="121"/>
                    </a:lnTo>
                    <a:lnTo>
                      <a:pt x="337" y="26"/>
                    </a:lnTo>
                    <a:lnTo>
                      <a:pt x="398" y="27"/>
                    </a:lnTo>
                    <a:lnTo>
                      <a:pt x="432" y="121"/>
                    </a:lnTo>
                    <a:lnTo>
                      <a:pt x="499" y="149"/>
                    </a:lnTo>
                    <a:lnTo>
                      <a:pt x="588" y="104"/>
                    </a:lnTo>
                    <a:lnTo>
                      <a:pt x="632" y="148"/>
                    </a:lnTo>
                    <a:lnTo>
                      <a:pt x="589" y="239"/>
                    </a:lnTo>
                    <a:lnTo>
                      <a:pt x="616" y="305"/>
                    </a:lnTo>
                    <a:lnTo>
                      <a:pt x="711" y="336"/>
                    </a:lnTo>
                    <a:lnTo>
                      <a:pt x="711" y="398"/>
                    </a:lnTo>
                    <a:lnTo>
                      <a:pt x="616" y="432"/>
                    </a:lnTo>
                    <a:lnTo>
                      <a:pt x="606" y="457"/>
                    </a:lnTo>
                    <a:lnTo>
                      <a:pt x="616" y="467"/>
                    </a:lnTo>
                    <a:lnTo>
                      <a:pt x="627" y="477"/>
                    </a:lnTo>
                    <a:lnTo>
                      <a:pt x="637" y="453"/>
                    </a:lnTo>
                    <a:lnTo>
                      <a:pt x="738" y="417"/>
                    </a:lnTo>
                    <a:lnTo>
                      <a:pt x="738" y="317"/>
                    </a:lnTo>
                    <a:lnTo>
                      <a:pt x="636" y="284"/>
                    </a:lnTo>
                    <a:lnTo>
                      <a:pt x="618" y="239"/>
                    </a:lnTo>
                    <a:lnTo>
                      <a:pt x="664" y="142"/>
                    </a:lnTo>
                    <a:lnTo>
                      <a:pt x="593" y="71"/>
                    </a:lnTo>
                    <a:lnTo>
                      <a:pt x="498" y="120"/>
                    </a:lnTo>
                    <a:lnTo>
                      <a:pt x="453" y="101"/>
                    </a:lnTo>
                    <a:lnTo>
                      <a:pt x="417" y="0"/>
                    </a:lnTo>
                    <a:lnTo>
                      <a:pt x="317" y="0"/>
                    </a:lnTo>
                    <a:lnTo>
                      <a:pt x="284" y="101"/>
                    </a:lnTo>
                    <a:lnTo>
                      <a:pt x="239" y="120"/>
                    </a:lnTo>
                    <a:lnTo>
                      <a:pt x="142" y="74"/>
                    </a:lnTo>
                    <a:lnTo>
                      <a:pt x="72" y="144"/>
                    </a:lnTo>
                    <a:lnTo>
                      <a:pt x="120" y="240"/>
                    </a:lnTo>
                    <a:lnTo>
                      <a:pt x="101" y="284"/>
                    </a:lnTo>
                    <a:lnTo>
                      <a:pt x="0" y="320"/>
                    </a:lnTo>
                    <a:lnTo>
                      <a:pt x="0" y="420"/>
                    </a:lnTo>
                    <a:lnTo>
                      <a:pt x="101" y="454"/>
                    </a:lnTo>
                    <a:lnTo>
                      <a:pt x="120" y="498"/>
                    </a:lnTo>
                    <a:lnTo>
                      <a:pt x="74" y="595"/>
                    </a:lnTo>
                    <a:lnTo>
                      <a:pt x="145" y="666"/>
                    </a:lnTo>
                    <a:lnTo>
                      <a:pt x="240" y="618"/>
                    </a:lnTo>
                    <a:lnTo>
                      <a:pt x="284" y="636"/>
                    </a:lnTo>
                    <a:lnTo>
                      <a:pt x="321" y="738"/>
                    </a:lnTo>
                    <a:lnTo>
                      <a:pt x="421" y="738"/>
                    </a:lnTo>
                    <a:lnTo>
                      <a:pt x="454" y="636"/>
                    </a:lnTo>
                    <a:lnTo>
                      <a:pt x="476" y="627"/>
                    </a:lnTo>
                    <a:lnTo>
                      <a:pt x="467" y="617"/>
                    </a:lnTo>
                    <a:lnTo>
                      <a:pt x="457" y="60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15" name="Freeform 163">
                <a:extLst>
                  <a:ext uri="{FF2B5EF4-FFF2-40B4-BE49-F238E27FC236}">
                    <a16:creationId xmlns:a16="http://schemas.microsoft.com/office/drawing/2014/main" id="{A3627669-9D04-405E-AC9D-4E48C251ACF9}"/>
                  </a:ext>
                </a:extLst>
              </p:cNvPr>
              <p:cNvSpPr>
                <a:spLocks noEditPoints="1"/>
              </p:cNvSpPr>
              <p:nvPr/>
            </p:nvSpPr>
            <p:spPr bwMode="auto">
              <a:xfrm>
                <a:off x="5353050" y="3822701"/>
                <a:ext cx="58738" cy="60325"/>
              </a:xfrm>
              <a:custGeom>
                <a:avLst/>
                <a:gdLst>
                  <a:gd name="T0" fmla="*/ 185 w 212"/>
                  <a:gd name="T1" fmla="*/ 112 h 218"/>
                  <a:gd name="T2" fmla="*/ 185 w 212"/>
                  <a:gd name="T3" fmla="*/ 112 h 218"/>
                  <a:gd name="T4" fmla="*/ 162 w 212"/>
                  <a:gd name="T5" fmla="*/ 168 h 218"/>
                  <a:gd name="T6" fmla="*/ 50 w 212"/>
                  <a:gd name="T7" fmla="*/ 168 h 218"/>
                  <a:gd name="T8" fmla="*/ 27 w 212"/>
                  <a:gd name="T9" fmla="*/ 112 h 218"/>
                  <a:gd name="T10" fmla="*/ 50 w 212"/>
                  <a:gd name="T11" fmla="*/ 56 h 218"/>
                  <a:gd name="T12" fmla="*/ 106 w 212"/>
                  <a:gd name="T13" fmla="*/ 32 h 218"/>
                  <a:gd name="T14" fmla="*/ 162 w 212"/>
                  <a:gd name="T15" fmla="*/ 56 h 218"/>
                  <a:gd name="T16" fmla="*/ 185 w 212"/>
                  <a:gd name="T17" fmla="*/ 112 h 218"/>
                  <a:gd name="T18" fmla="*/ 31 w 212"/>
                  <a:gd name="T19" fmla="*/ 37 h 218"/>
                  <a:gd name="T20" fmla="*/ 31 w 212"/>
                  <a:gd name="T21" fmla="*/ 37 h 218"/>
                  <a:gd name="T22" fmla="*/ 0 w 212"/>
                  <a:gd name="T23" fmla="*/ 112 h 218"/>
                  <a:gd name="T24" fmla="*/ 3 w 212"/>
                  <a:gd name="T25" fmla="*/ 136 h 218"/>
                  <a:gd name="T26" fmla="*/ 16 w 212"/>
                  <a:gd name="T27" fmla="*/ 167 h 218"/>
                  <a:gd name="T28" fmla="*/ 31 w 212"/>
                  <a:gd name="T29" fmla="*/ 187 h 218"/>
                  <a:gd name="T30" fmla="*/ 106 w 212"/>
                  <a:gd name="T31" fmla="*/ 218 h 218"/>
                  <a:gd name="T32" fmla="*/ 181 w 212"/>
                  <a:gd name="T33" fmla="*/ 187 h 218"/>
                  <a:gd name="T34" fmla="*/ 212 w 212"/>
                  <a:gd name="T35" fmla="*/ 112 h 218"/>
                  <a:gd name="T36" fmla="*/ 181 w 212"/>
                  <a:gd name="T37" fmla="*/ 37 h 218"/>
                  <a:gd name="T38" fmla="*/ 162 w 212"/>
                  <a:gd name="T39" fmla="*/ 21 h 218"/>
                  <a:gd name="T40" fmla="*/ 131 w 212"/>
                  <a:gd name="T41" fmla="*/ 9 h 218"/>
                  <a:gd name="T42" fmla="*/ 31 w 212"/>
                  <a:gd name="T43" fmla="*/ 3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 h="218">
                    <a:moveTo>
                      <a:pt x="185" y="112"/>
                    </a:moveTo>
                    <a:lnTo>
                      <a:pt x="185" y="112"/>
                    </a:lnTo>
                    <a:cubicBezTo>
                      <a:pt x="185" y="133"/>
                      <a:pt x="177" y="153"/>
                      <a:pt x="162" y="168"/>
                    </a:cubicBezTo>
                    <a:cubicBezTo>
                      <a:pt x="131" y="199"/>
                      <a:pt x="81" y="199"/>
                      <a:pt x="50" y="168"/>
                    </a:cubicBezTo>
                    <a:cubicBezTo>
                      <a:pt x="35" y="153"/>
                      <a:pt x="27" y="133"/>
                      <a:pt x="27" y="112"/>
                    </a:cubicBezTo>
                    <a:cubicBezTo>
                      <a:pt x="27" y="90"/>
                      <a:pt x="35" y="70"/>
                      <a:pt x="50" y="56"/>
                    </a:cubicBezTo>
                    <a:cubicBezTo>
                      <a:pt x="66" y="40"/>
                      <a:pt x="86" y="32"/>
                      <a:pt x="106" y="32"/>
                    </a:cubicBezTo>
                    <a:cubicBezTo>
                      <a:pt x="126" y="32"/>
                      <a:pt x="147" y="40"/>
                      <a:pt x="162" y="56"/>
                    </a:cubicBezTo>
                    <a:cubicBezTo>
                      <a:pt x="177" y="70"/>
                      <a:pt x="185" y="90"/>
                      <a:pt x="185" y="112"/>
                    </a:cubicBezTo>
                    <a:close/>
                    <a:moveTo>
                      <a:pt x="31" y="37"/>
                    </a:moveTo>
                    <a:lnTo>
                      <a:pt x="31" y="37"/>
                    </a:lnTo>
                    <a:cubicBezTo>
                      <a:pt x="11" y="57"/>
                      <a:pt x="0" y="83"/>
                      <a:pt x="0" y="112"/>
                    </a:cubicBezTo>
                    <a:cubicBezTo>
                      <a:pt x="0" y="120"/>
                      <a:pt x="1" y="128"/>
                      <a:pt x="3" y="136"/>
                    </a:cubicBezTo>
                    <a:cubicBezTo>
                      <a:pt x="6" y="147"/>
                      <a:pt x="10" y="157"/>
                      <a:pt x="16" y="167"/>
                    </a:cubicBezTo>
                    <a:cubicBezTo>
                      <a:pt x="20" y="174"/>
                      <a:pt x="25" y="181"/>
                      <a:pt x="31" y="187"/>
                    </a:cubicBezTo>
                    <a:cubicBezTo>
                      <a:pt x="52" y="207"/>
                      <a:pt x="79" y="218"/>
                      <a:pt x="106" y="218"/>
                    </a:cubicBezTo>
                    <a:cubicBezTo>
                      <a:pt x="133" y="218"/>
                      <a:pt x="160" y="207"/>
                      <a:pt x="181" y="187"/>
                    </a:cubicBezTo>
                    <a:cubicBezTo>
                      <a:pt x="201" y="167"/>
                      <a:pt x="212" y="140"/>
                      <a:pt x="212" y="112"/>
                    </a:cubicBezTo>
                    <a:cubicBezTo>
                      <a:pt x="212" y="83"/>
                      <a:pt x="201" y="57"/>
                      <a:pt x="181" y="37"/>
                    </a:cubicBezTo>
                    <a:cubicBezTo>
                      <a:pt x="175" y="31"/>
                      <a:pt x="169" y="26"/>
                      <a:pt x="162" y="21"/>
                    </a:cubicBezTo>
                    <a:cubicBezTo>
                      <a:pt x="152" y="15"/>
                      <a:pt x="141" y="11"/>
                      <a:pt x="131" y="9"/>
                    </a:cubicBezTo>
                    <a:cubicBezTo>
                      <a:pt x="96" y="0"/>
                      <a:pt x="58" y="10"/>
                      <a:pt x="31" y="3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16" name="Freeform 164">
                <a:extLst>
                  <a:ext uri="{FF2B5EF4-FFF2-40B4-BE49-F238E27FC236}">
                    <a16:creationId xmlns:a16="http://schemas.microsoft.com/office/drawing/2014/main" id="{49FF7431-5113-4F5E-ACB2-FE6FE9D65F07}"/>
                  </a:ext>
                </a:extLst>
              </p:cNvPr>
              <p:cNvSpPr>
                <a:spLocks/>
              </p:cNvSpPr>
              <p:nvPr/>
            </p:nvSpPr>
            <p:spPr bwMode="auto">
              <a:xfrm>
                <a:off x="5199063" y="3544889"/>
                <a:ext cx="673100" cy="442913"/>
              </a:xfrm>
              <a:custGeom>
                <a:avLst/>
                <a:gdLst>
                  <a:gd name="T0" fmla="*/ 2209 w 2450"/>
                  <a:gd name="T1" fmla="*/ 633 h 1612"/>
                  <a:gd name="T2" fmla="*/ 2209 w 2450"/>
                  <a:gd name="T3" fmla="*/ 633 h 1612"/>
                  <a:gd name="T4" fmla="*/ 2032 w 2450"/>
                  <a:gd name="T5" fmla="*/ 316 h 1612"/>
                  <a:gd name="T6" fmla="*/ 1809 w 2450"/>
                  <a:gd name="T7" fmla="*/ 249 h 1612"/>
                  <a:gd name="T8" fmla="*/ 1630 w 2450"/>
                  <a:gd name="T9" fmla="*/ 294 h 1612"/>
                  <a:gd name="T10" fmla="*/ 1069 w 2450"/>
                  <a:gd name="T11" fmla="*/ 0 h 1612"/>
                  <a:gd name="T12" fmla="*/ 687 w 2450"/>
                  <a:gd name="T13" fmla="*/ 116 h 1612"/>
                  <a:gd name="T14" fmla="*/ 385 w 2450"/>
                  <a:gd name="T15" fmla="*/ 681 h 1612"/>
                  <a:gd name="T16" fmla="*/ 385 w 2450"/>
                  <a:gd name="T17" fmla="*/ 701 h 1612"/>
                  <a:gd name="T18" fmla="*/ 0 w 2450"/>
                  <a:gd name="T19" fmla="*/ 1153 h 1612"/>
                  <a:gd name="T20" fmla="*/ 464 w 2450"/>
                  <a:gd name="T21" fmla="*/ 1612 h 1612"/>
                  <a:gd name="T22" fmla="*/ 1007 w 2450"/>
                  <a:gd name="T23" fmla="*/ 1612 h 1612"/>
                  <a:gd name="T24" fmla="*/ 980 w 2450"/>
                  <a:gd name="T25" fmla="*/ 1585 h 1612"/>
                  <a:gd name="T26" fmla="*/ 464 w 2450"/>
                  <a:gd name="T27" fmla="*/ 1585 h 1612"/>
                  <a:gd name="T28" fmla="*/ 26 w 2450"/>
                  <a:gd name="T29" fmla="*/ 1153 h 1612"/>
                  <a:gd name="T30" fmla="*/ 401 w 2450"/>
                  <a:gd name="T31" fmla="*/ 725 h 1612"/>
                  <a:gd name="T32" fmla="*/ 412 w 2450"/>
                  <a:gd name="T33" fmla="*/ 723 h 1612"/>
                  <a:gd name="T34" fmla="*/ 412 w 2450"/>
                  <a:gd name="T35" fmla="*/ 681 h 1612"/>
                  <a:gd name="T36" fmla="*/ 702 w 2450"/>
                  <a:gd name="T37" fmla="*/ 138 h 1612"/>
                  <a:gd name="T38" fmla="*/ 1069 w 2450"/>
                  <a:gd name="T39" fmla="*/ 27 h 1612"/>
                  <a:gd name="T40" fmla="*/ 1615 w 2450"/>
                  <a:gd name="T41" fmla="*/ 319 h 1612"/>
                  <a:gd name="T42" fmla="*/ 1622 w 2450"/>
                  <a:gd name="T43" fmla="*/ 329 h 1612"/>
                  <a:gd name="T44" fmla="*/ 1633 w 2450"/>
                  <a:gd name="T45" fmla="*/ 323 h 1612"/>
                  <a:gd name="T46" fmla="*/ 1809 w 2450"/>
                  <a:gd name="T47" fmla="*/ 276 h 1612"/>
                  <a:gd name="T48" fmla="*/ 2017 w 2450"/>
                  <a:gd name="T49" fmla="*/ 338 h 1612"/>
                  <a:gd name="T50" fmla="*/ 2183 w 2450"/>
                  <a:gd name="T51" fmla="*/ 641 h 1612"/>
                  <a:gd name="T52" fmla="*/ 2183 w 2450"/>
                  <a:gd name="T53" fmla="*/ 648 h 1612"/>
                  <a:gd name="T54" fmla="*/ 2189 w 2450"/>
                  <a:gd name="T55" fmla="*/ 652 h 1612"/>
                  <a:gd name="T56" fmla="*/ 2423 w 2450"/>
                  <a:gd name="T57" fmla="*/ 1077 h 1612"/>
                  <a:gd name="T58" fmla="*/ 1969 w 2450"/>
                  <a:gd name="T59" fmla="*/ 1585 h 1612"/>
                  <a:gd name="T60" fmla="*/ 1280 w 2450"/>
                  <a:gd name="T61" fmla="*/ 1585 h 1612"/>
                  <a:gd name="T62" fmla="*/ 1306 w 2450"/>
                  <a:gd name="T63" fmla="*/ 1612 h 1612"/>
                  <a:gd name="T64" fmla="*/ 1911 w 2450"/>
                  <a:gd name="T65" fmla="*/ 1612 h 1612"/>
                  <a:gd name="T66" fmla="*/ 1971 w 2450"/>
                  <a:gd name="T67" fmla="*/ 1612 h 1612"/>
                  <a:gd name="T68" fmla="*/ 2450 w 2450"/>
                  <a:gd name="T69" fmla="*/ 1077 h 1612"/>
                  <a:gd name="T70" fmla="*/ 2209 w 2450"/>
                  <a:gd name="T71" fmla="*/ 633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50" h="1612">
                    <a:moveTo>
                      <a:pt x="2209" y="633"/>
                    </a:moveTo>
                    <a:lnTo>
                      <a:pt x="2209" y="633"/>
                    </a:lnTo>
                    <a:cubicBezTo>
                      <a:pt x="2204" y="505"/>
                      <a:pt x="2139" y="387"/>
                      <a:pt x="2032" y="316"/>
                    </a:cubicBezTo>
                    <a:cubicBezTo>
                      <a:pt x="1966" y="272"/>
                      <a:pt x="1889" y="249"/>
                      <a:pt x="1809" y="249"/>
                    </a:cubicBezTo>
                    <a:cubicBezTo>
                      <a:pt x="1746" y="249"/>
                      <a:pt x="1685" y="265"/>
                      <a:pt x="1630" y="294"/>
                    </a:cubicBezTo>
                    <a:cubicBezTo>
                      <a:pt x="1501" y="110"/>
                      <a:pt x="1292" y="0"/>
                      <a:pt x="1069" y="0"/>
                    </a:cubicBezTo>
                    <a:cubicBezTo>
                      <a:pt x="932" y="0"/>
                      <a:pt x="800" y="40"/>
                      <a:pt x="687" y="116"/>
                    </a:cubicBezTo>
                    <a:cubicBezTo>
                      <a:pt x="498" y="243"/>
                      <a:pt x="385" y="455"/>
                      <a:pt x="385" y="681"/>
                    </a:cubicBezTo>
                    <a:lnTo>
                      <a:pt x="385" y="701"/>
                    </a:lnTo>
                    <a:cubicBezTo>
                      <a:pt x="168" y="739"/>
                      <a:pt x="0" y="936"/>
                      <a:pt x="0" y="1153"/>
                    </a:cubicBezTo>
                    <a:cubicBezTo>
                      <a:pt x="0" y="1406"/>
                      <a:pt x="208" y="1612"/>
                      <a:pt x="464" y="1612"/>
                    </a:cubicBezTo>
                    <a:lnTo>
                      <a:pt x="1007" y="1612"/>
                    </a:lnTo>
                    <a:lnTo>
                      <a:pt x="980" y="1585"/>
                    </a:lnTo>
                    <a:lnTo>
                      <a:pt x="464" y="1585"/>
                    </a:lnTo>
                    <a:cubicBezTo>
                      <a:pt x="223" y="1585"/>
                      <a:pt x="26" y="1391"/>
                      <a:pt x="26" y="1153"/>
                    </a:cubicBezTo>
                    <a:cubicBezTo>
                      <a:pt x="26" y="945"/>
                      <a:pt x="191" y="757"/>
                      <a:pt x="401" y="725"/>
                    </a:cubicBezTo>
                    <a:lnTo>
                      <a:pt x="412" y="723"/>
                    </a:lnTo>
                    <a:lnTo>
                      <a:pt x="412" y="681"/>
                    </a:lnTo>
                    <a:cubicBezTo>
                      <a:pt x="412" y="463"/>
                      <a:pt x="520" y="261"/>
                      <a:pt x="702" y="138"/>
                    </a:cubicBezTo>
                    <a:cubicBezTo>
                      <a:pt x="810" y="65"/>
                      <a:pt x="937" y="27"/>
                      <a:pt x="1069" y="27"/>
                    </a:cubicBezTo>
                    <a:cubicBezTo>
                      <a:pt x="1287" y="27"/>
                      <a:pt x="1491" y="136"/>
                      <a:pt x="1615" y="319"/>
                    </a:cubicBezTo>
                    <a:lnTo>
                      <a:pt x="1622" y="329"/>
                    </a:lnTo>
                    <a:lnTo>
                      <a:pt x="1633" y="323"/>
                    </a:lnTo>
                    <a:cubicBezTo>
                      <a:pt x="1686" y="292"/>
                      <a:pt x="1747" y="276"/>
                      <a:pt x="1809" y="276"/>
                    </a:cubicBezTo>
                    <a:cubicBezTo>
                      <a:pt x="1884" y="276"/>
                      <a:pt x="1956" y="297"/>
                      <a:pt x="2017" y="338"/>
                    </a:cubicBezTo>
                    <a:cubicBezTo>
                      <a:pt x="2118" y="406"/>
                      <a:pt x="2180" y="519"/>
                      <a:pt x="2183" y="641"/>
                    </a:cubicBezTo>
                    <a:lnTo>
                      <a:pt x="2183" y="648"/>
                    </a:lnTo>
                    <a:lnTo>
                      <a:pt x="2189" y="652"/>
                    </a:lnTo>
                    <a:cubicBezTo>
                      <a:pt x="2336" y="748"/>
                      <a:pt x="2423" y="907"/>
                      <a:pt x="2423" y="1077"/>
                    </a:cubicBezTo>
                    <a:cubicBezTo>
                      <a:pt x="2423" y="1342"/>
                      <a:pt x="2228" y="1560"/>
                      <a:pt x="1969" y="1585"/>
                    </a:cubicBezTo>
                    <a:lnTo>
                      <a:pt x="1280" y="1585"/>
                    </a:lnTo>
                    <a:lnTo>
                      <a:pt x="1306" y="1612"/>
                    </a:lnTo>
                    <a:lnTo>
                      <a:pt x="1911" y="1612"/>
                    </a:lnTo>
                    <a:lnTo>
                      <a:pt x="1971" y="1612"/>
                    </a:lnTo>
                    <a:cubicBezTo>
                      <a:pt x="2244" y="1585"/>
                      <a:pt x="2450" y="1355"/>
                      <a:pt x="2450" y="1077"/>
                    </a:cubicBezTo>
                    <a:cubicBezTo>
                      <a:pt x="2450" y="900"/>
                      <a:pt x="2360" y="735"/>
                      <a:pt x="2209" y="633"/>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17" name="Freeform 165">
                <a:extLst>
                  <a:ext uri="{FF2B5EF4-FFF2-40B4-BE49-F238E27FC236}">
                    <a16:creationId xmlns:a16="http://schemas.microsoft.com/office/drawing/2014/main" id="{66F42836-937D-4C75-8157-431A7B9445F9}"/>
                  </a:ext>
                </a:extLst>
              </p:cNvPr>
              <p:cNvSpPr>
                <a:spLocks noEditPoints="1"/>
              </p:cNvSpPr>
              <p:nvPr/>
            </p:nvSpPr>
            <p:spPr bwMode="auto">
              <a:xfrm>
                <a:off x="5543550" y="4014789"/>
                <a:ext cx="34925" cy="34925"/>
              </a:xfrm>
              <a:custGeom>
                <a:avLst/>
                <a:gdLst>
                  <a:gd name="T0" fmla="*/ 63 w 125"/>
                  <a:gd name="T1" fmla="*/ 26 h 125"/>
                  <a:gd name="T2" fmla="*/ 63 w 125"/>
                  <a:gd name="T3" fmla="*/ 26 h 125"/>
                  <a:gd name="T4" fmla="*/ 37 w 125"/>
                  <a:gd name="T5" fmla="*/ 37 h 125"/>
                  <a:gd name="T6" fmla="*/ 27 w 125"/>
                  <a:gd name="T7" fmla="*/ 62 h 125"/>
                  <a:gd name="T8" fmla="*/ 37 w 125"/>
                  <a:gd name="T9" fmla="*/ 87 h 125"/>
                  <a:gd name="T10" fmla="*/ 88 w 125"/>
                  <a:gd name="T11" fmla="*/ 87 h 125"/>
                  <a:gd name="T12" fmla="*/ 98 w 125"/>
                  <a:gd name="T13" fmla="*/ 62 h 125"/>
                  <a:gd name="T14" fmla="*/ 88 w 125"/>
                  <a:gd name="T15" fmla="*/ 37 h 125"/>
                  <a:gd name="T16" fmla="*/ 63 w 125"/>
                  <a:gd name="T17" fmla="*/ 26 h 125"/>
                  <a:gd name="T18" fmla="*/ 63 w 125"/>
                  <a:gd name="T19" fmla="*/ 125 h 125"/>
                  <a:gd name="T20" fmla="*/ 63 w 125"/>
                  <a:gd name="T21" fmla="*/ 125 h 125"/>
                  <a:gd name="T22" fmla="*/ 19 w 125"/>
                  <a:gd name="T23" fmla="*/ 106 h 125"/>
                  <a:gd name="T24" fmla="*/ 0 w 125"/>
                  <a:gd name="T25" fmla="*/ 62 h 125"/>
                  <a:gd name="T26" fmla="*/ 19 w 125"/>
                  <a:gd name="T27" fmla="*/ 18 h 125"/>
                  <a:gd name="T28" fmla="*/ 63 w 125"/>
                  <a:gd name="T29" fmla="*/ 0 h 125"/>
                  <a:gd name="T30" fmla="*/ 107 w 125"/>
                  <a:gd name="T31" fmla="*/ 18 h 125"/>
                  <a:gd name="T32" fmla="*/ 125 w 125"/>
                  <a:gd name="T33" fmla="*/ 62 h 125"/>
                  <a:gd name="T34" fmla="*/ 107 w 125"/>
                  <a:gd name="T35" fmla="*/ 106 h 125"/>
                  <a:gd name="T36" fmla="*/ 63 w 125"/>
                  <a:gd name="T3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125">
                    <a:moveTo>
                      <a:pt x="63" y="26"/>
                    </a:moveTo>
                    <a:lnTo>
                      <a:pt x="63" y="26"/>
                    </a:lnTo>
                    <a:cubicBezTo>
                      <a:pt x="53" y="26"/>
                      <a:pt x="44" y="30"/>
                      <a:pt x="37" y="37"/>
                    </a:cubicBezTo>
                    <a:cubicBezTo>
                      <a:pt x="31" y="44"/>
                      <a:pt x="27" y="53"/>
                      <a:pt x="27" y="62"/>
                    </a:cubicBezTo>
                    <a:cubicBezTo>
                      <a:pt x="27" y="72"/>
                      <a:pt x="31" y="81"/>
                      <a:pt x="37" y="87"/>
                    </a:cubicBezTo>
                    <a:cubicBezTo>
                      <a:pt x="51" y="101"/>
                      <a:pt x="74" y="101"/>
                      <a:pt x="88" y="87"/>
                    </a:cubicBezTo>
                    <a:cubicBezTo>
                      <a:pt x="95" y="81"/>
                      <a:pt x="98" y="72"/>
                      <a:pt x="98" y="62"/>
                    </a:cubicBezTo>
                    <a:cubicBezTo>
                      <a:pt x="98" y="53"/>
                      <a:pt x="95" y="44"/>
                      <a:pt x="88" y="37"/>
                    </a:cubicBezTo>
                    <a:cubicBezTo>
                      <a:pt x="81" y="30"/>
                      <a:pt x="72" y="26"/>
                      <a:pt x="63" y="26"/>
                    </a:cubicBezTo>
                    <a:close/>
                    <a:moveTo>
                      <a:pt x="63" y="125"/>
                    </a:moveTo>
                    <a:lnTo>
                      <a:pt x="63" y="125"/>
                    </a:lnTo>
                    <a:cubicBezTo>
                      <a:pt x="47" y="125"/>
                      <a:pt x="31" y="118"/>
                      <a:pt x="19" y="106"/>
                    </a:cubicBezTo>
                    <a:cubicBezTo>
                      <a:pt x="7" y="94"/>
                      <a:pt x="0" y="79"/>
                      <a:pt x="0" y="62"/>
                    </a:cubicBezTo>
                    <a:cubicBezTo>
                      <a:pt x="0" y="45"/>
                      <a:pt x="7" y="30"/>
                      <a:pt x="19" y="18"/>
                    </a:cubicBezTo>
                    <a:cubicBezTo>
                      <a:pt x="30" y="6"/>
                      <a:pt x="46" y="0"/>
                      <a:pt x="63" y="0"/>
                    </a:cubicBezTo>
                    <a:cubicBezTo>
                      <a:pt x="79" y="0"/>
                      <a:pt x="95" y="6"/>
                      <a:pt x="107" y="18"/>
                    </a:cubicBezTo>
                    <a:cubicBezTo>
                      <a:pt x="119" y="30"/>
                      <a:pt x="125" y="45"/>
                      <a:pt x="125" y="62"/>
                    </a:cubicBezTo>
                    <a:cubicBezTo>
                      <a:pt x="125" y="79"/>
                      <a:pt x="119" y="94"/>
                      <a:pt x="107" y="106"/>
                    </a:cubicBezTo>
                    <a:cubicBezTo>
                      <a:pt x="95" y="118"/>
                      <a:pt x="79" y="125"/>
                      <a:pt x="63" y="12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18" name="Freeform 166">
                <a:extLst>
                  <a:ext uri="{FF2B5EF4-FFF2-40B4-BE49-F238E27FC236}">
                    <a16:creationId xmlns:a16="http://schemas.microsoft.com/office/drawing/2014/main" id="{BAD37440-09BB-4EF7-A664-EDBA066B1724}"/>
                  </a:ext>
                </a:extLst>
              </p:cNvPr>
              <p:cNvSpPr>
                <a:spLocks/>
              </p:cNvSpPr>
              <p:nvPr/>
            </p:nvSpPr>
            <p:spPr bwMode="auto">
              <a:xfrm>
                <a:off x="5329238" y="3800476"/>
                <a:ext cx="263525" cy="263525"/>
              </a:xfrm>
              <a:custGeom>
                <a:avLst/>
                <a:gdLst>
                  <a:gd name="T0" fmla="*/ 454 w 961"/>
                  <a:gd name="T1" fmla="*/ 303 h 960"/>
                  <a:gd name="T2" fmla="*/ 454 w 961"/>
                  <a:gd name="T3" fmla="*/ 303 h 960"/>
                  <a:gd name="T4" fmla="*/ 443 w 961"/>
                  <a:gd name="T5" fmla="*/ 293 h 960"/>
                  <a:gd name="T6" fmla="*/ 433 w 961"/>
                  <a:gd name="T7" fmla="*/ 283 h 960"/>
                  <a:gd name="T8" fmla="*/ 428 w 961"/>
                  <a:gd name="T9" fmla="*/ 278 h 960"/>
                  <a:gd name="T10" fmla="*/ 374 w 961"/>
                  <a:gd name="T11" fmla="*/ 66 h 960"/>
                  <a:gd name="T12" fmla="*/ 373 w 961"/>
                  <a:gd name="T13" fmla="*/ 65 h 960"/>
                  <a:gd name="T14" fmla="*/ 213 w 961"/>
                  <a:gd name="T15" fmla="*/ 1 h 960"/>
                  <a:gd name="T16" fmla="*/ 196 w 961"/>
                  <a:gd name="T17" fmla="*/ 2 h 960"/>
                  <a:gd name="T18" fmla="*/ 221 w 961"/>
                  <a:gd name="T19" fmla="*/ 93 h 960"/>
                  <a:gd name="T20" fmla="*/ 252 w 961"/>
                  <a:gd name="T21" fmla="*/ 105 h 960"/>
                  <a:gd name="T22" fmla="*/ 231 w 961"/>
                  <a:gd name="T23" fmla="*/ 28 h 960"/>
                  <a:gd name="T24" fmla="*/ 353 w 961"/>
                  <a:gd name="T25" fmla="*/ 83 h 960"/>
                  <a:gd name="T26" fmla="*/ 354 w 961"/>
                  <a:gd name="T27" fmla="*/ 83 h 960"/>
                  <a:gd name="T28" fmla="*/ 400 w 961"/>
                  <a:gd name="T29" fmla="*/ 278 h 960"/>
                  <a:gd name="T30" fmla="*/ 397 w 961"/>
                  <a:gd name="T31" fmla="*/ 286 h 960"/>
                  <a:gd name="T32" fmla="*/ 425 w 961"/>
                  <a:gd name="T33" fmla="*/ 312 h 960"/>
                  <a:gd name="T34" fmla="*/ 913 w 961"/>
                  <a:gd name="T35" fmla="*/ 801 h 960"/>
                  <a:gd name="T36" fmla="*/ 934 w 961"/>
                  <a:gd name="T37" fmla="*/ 851 h 960"/>
                  <a:gd name="T38" fmla="*/ 913 w 961"/>
                  <a:gd name="T39" fmla="*/ 901 h 960"/>
                  <a:gd name="T40" fmla="*/ 901 w 961"/>
                  <a:gd name="T41" fmla="*/ 913 h 960"/>
                  <a:gd name="T42" fmla="*/ 801 w 961"/>
                  <a:gd name="T43" fmla="*/ 913 h 960"/>
                  <a:gd name="T44" fmla="*/ 313 w 961"/>
                  <a:gd name="T45" fmla="*/ 425 h 960"/>
                  <a:gd name="T46" fmla="*/ 287 w 961"/>
                  <a:gd name="T47" fmla="*/ 397 h 960"/>
                  <a:gd name="T48" fmla="*/ 279 w 961"/>
                  <a:gd name="T49" fmla="*/ 399 h 960"/>
                  <a:gd name="T50" fmla="*/ 85 w 961"/>
                  <a:gd name="T51" fmla="*/ 354 h 960"/>
                  <a:gd name="T52" fmla="*/ 84 w 961"/>
                  <a:gd name="T53" fmla="*/ 353 h 960"/>
                  <a:gd name="T54" fmla="*/ 29 w 961"/>
                  <a:gd name="T55" fmla="*/ 230 h 960"/>
                  <a:gd name="T56" fmla="*/ 106 w 961"/>
                  <a:gd name="T57" fmla="*/ 251 h 960"/>
                  <a:gd name="T58" fmla="*/ 93 w 961"/>
                  <a:gd name="T59" fmla="*/ 220 h 960"/>
                  <a:gd name="T60" fmla="*/ 2 w 961"/>
                  <a:gd name="T61" fmla="*/ 196 h 960"/>
                  <a:gd name="T62" fmla="*/ 2 w 961"/>
                  <a:gd name="T63" fmla="*/ 213 h 960"/>
                  <a:gd name="T64" fmla="*/ 64 w 961"/>
                  <a:gd name="T65" fmla="*/ 371 h 960"/>
                  <a:gd name="T66" fmla="*/ 65 w 961"/>
                  <a:gd name="T67" fmla="*/ 372 h 960"/>
                  <a:gd name="T68" fmla="*/ 279 w 961"/>
                  <a:gd name="T69" fmla="*/ 427 h 960"/>
                  <a:gd name="T70" fmla="*/ 284 w 961"/>
                  <a:gd name="T71" fmla="*/ 432 h 960"/>
                  <a:gd name="T72" fmla="*/ 294 w 961"/>
                  <a:gd name="T73" fmla="*/ 443 h 960"/>
                  <a:gd name="T74" fmla="*/ 303 w 961"/>
                  <a:gd name="T75" fmla="*/ 453 h 960"/>
                  <a:gd name="T76" fmla="*/ 508 w 961"/>
                  <a:gd name="T77" fmla="*/ 657 h 960"/>
                  <a:gd name="T78" fmla="*/ 535 w 961"/>
                  <a:gd name="T79" fmla="*/ 684 h 960"/>
                  <a:gd name="T80" fmla="*/ 782 w 961"/>
                  <a:gd name="T81" fmla="*/ 932 h 960"/>
                  <a:gd name="T82" fmla="*/ 851 w 961"/>
                  <a:gd name="T83" fmla="*/ 960 h 960"/>
                  <a:gd name="T84" fmla="*/ 920 w 961"/>
                  <a:gd name="T85" fmla="*/ 932 h 960"/>
                  <a:gd name="T86" fmla="*/ 932 w 961"/>
                  <a:gd name="T87" fmla="*/ 920 h 960"/>
                  <a:gd name="T88" fmla="*/ 961 w 961"/>
                  <a:gd name="T89" fmla="*/ 851 h 960"/>
                  <a:gd name="T90" fmla="*/ 932 w 961"/>
                  <a:gd name="T91" fmla="*/ 782 h 960"/>
                  <a:gd name="T92" fmla="*/ 834 w 961"/>
                  <a:gd name="T93" fmla="*/ 684 h 960"/>
                  <a:gd name="T94" fmla="*/ 808 w 961"/>
                  <a:gd name="T95" fmla="*/ 657 h 960"/>
                  <a:gd name="T96" fmla="*/ 454 w 961"/>
                  <a:gd name="T97" fmla="*/ 303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1" h="960">
                    <a:moveTo>
                      <a:pt x="454" y="303"/>
                    </a:moveTo>
                    <a:lnTo>
                      <a:pt x="454" y="303"/>
                    </a:lnTo>
                    <a:lnTo>
                      <a:pt x="443" y="293"/>
                    </a:lnTo>
                    <a:lnTo>
                      <a:pt x="433" y="283"/>
                    </a:lnTo>
                    <a:lnTo>
                      <a:pt x="428" y="278"/>
                    </a:lnTo>
                    <a:cubicBezTo>
                      <a:pt x="450" y="203"/>
                      <a:pt x="429" y="122"/>
                      <a:pt x="374" y="66"/>
                    </a:cubicBezTo>
                    <a:lnTo>
                      <a:pt x="373" y="65"/>
                    </a:lnTo>
                    <a:cubicBezTo>
                      <a:pt x="330" y="22"/>
                      <a:pt x="273" y="0"/>
                      <a:pt x="213" y="1"/>
                    </a:cubicBezTo>
                    <a:lnTo>
                      <a:pt x="196" y="2"/>
                    </a:lnTo>
                    <a:lnTo>
                      <a:pt x="221" y="93"/>
                    </a:lnTo>
                    <a:cubicBezTo>
                      <a:pt x="231" y="95"/>
                      <a:pt x="242" y="99"/>
                      <a:pt x="252" y="105"/>
                    </a:cubicBezTo>
                    <a:lnTo>
                      <a:pt x="231" y="28"/>
                    </a:lnTo>
                    <a:cubicBezTo>
                      <a:pt x="277" y="31"/>
                      <a:pt x="320" y="50"/>
                      <a:pt x="353" y="83"/>
                    </a:cubicBezTo>
                    <a:lnTo>
                      <a:pt x="354" y="83"/>
                    </a:lnTo>
                    <a:cubicBezTo>
                      <a:pt x="405" y="135"/>
                      <a:pt x="423" y="209"/>
                      <a:pt x="400" y="278"/>
                    </a:cubicBezTo>
                    <a:lnTo>
                      <a:pt x="397" y="286"/>
                    </a:lnTo>
                    <a:lnTo>
                      <a:pt x="425" y="312"/>
                    </a:lnTo>
                    <a:lnTo>
                      <a:pt x="913" y="801"/>
                    </a:lnTo>
                    <a:cubicBezTo>
                      <a:pt x="927" y="814"/>
                      <a:pt x="934" y="832"/>
                      <a:pt x="934" y="851"/>
                    </a:cubicBezTo>
                    <a:cubicBezTo>
                      <a:pt x="934" y="870"/>
                      <a:pt x="927" y="887"/>
                      <a:pt x="913" y="901"/>
                    </a:cubicBezTo>
                    <a:lnTo>
                      <a:pt x="901" y="913"/>
                    </a:lnTo>
                    <a:cubicBezTo>
                      <a:pt x="874" y="940"/>
                      <a:pt x="829" y="940"/>
                      <a:pt x="801" y="913"/>
                    </a:cubicBezTo>
                    <a:lnTo>
                      <a:pt x="313" y="425"/>
                    </a:lnTo>
                    <a:lnTo>
                      <a:pt x="287" y="397"/>
                    </a:lnTo>
                    <a:lnTo>
                      <a:pt x="279" y="399"/>
                    </a:lnTo>
                    <a:cubicBezTo>
                      <a:pt x="210" y="422"/>
                      <a:pt x="136" y="405"/>
                      <a:pt x="85" y="354"/>
                    </a:cubicBezTo>
                    <a:lnTo>
                      <a:pt x="84" y="353"/>
                    </a:lnTo>
                    <a:cubicBezTo>
                      <a:pt x="51" y="320"/>
                      <a:pt x="31" y="277"/>
                      <a:pt x="29" y="230"/>
                    </a:cubicBezTo>
                    <a:lnTo>
                      <a:pt x="106" y="251"/>
                    </a:lnTo>
                    <a:cubicBezTo>
                      <a:pt x="100" y="241"/>
                      <a:pt x="96" y="231"/>
                      <a:pt x="93" y="220"/>
                    </a:cubicBezTo>
                    <a:lnTo>
                      <a:pt x="2" y="196"/>
                    </a:lnTo>
                    <a:lnTo>
                      <a:pt x="2" y="213"/>
                    </a:lnTo>
                    <a:cubicBezTo>
                      <a:pt x="0" y="273"/>
                      <a:pt x="22" y="329"/>
                      <a:pt x="64" y="371"/>
                    </a:cubicBezTo>
                    <a:lnTo>
                      <a:pt x="65" y="372"/>
                    </a:lnTo>
                    <a:cubicBezTo>
                      <a:pt x="122" y="429"/>
                      <a:pt x="203" y="449"/>
                      <a:pt x="279" y="427"/>
                    </a:cubicBezTo>
                    <a:lnTo>
                      <a:pt x="284" y="432"/>
                    </a:lnTo>
                    <a:lnTo>
                      <a:pt x="294" y="443"/>
                    </a:lnTo>
                    <a:lnTo>
                      <a:pt x="303" y="453"/>
                    </a:lnTo>
                    <a:lnTo>
                      <a:pt x="508" y="657"/>
                    </a:lnTo>
                    <a:lnTo>
                      <a:pt x="535" y="684"/>
                    </a:lnTo>
                    <a:lnTo>
                      <a:pt x="782" y="932"/>
                    </a:lnTo>
                    <a:cubicBezTo>
                      <a:pt x="801" y="951"/>
                      <a:pt x="826" y="960"/>
                      <a:pt x="851" y="960"/>
                    </a:cubicBezTo>
                    <a:cubicBezTo>
                      <a:pt x="876" y="960"/>
                      <a:pt x="901" y="951"/>
                      <a:pt x="920" y="932"/>
                    </a:cubicBezTo>
                    <a:lnTo>
                      <a:pt x="932" y="920"/>
                    </a:lnTo>
                    <a:cubicBezTo>
                      <a:pt x="951" y="901"/>
                      <a:pt x="961" y="877"/>
                      <a:pt x="961" y="851"/>
                    </a:cubicBezTo>
                    <a:cubicBezTo>
                      <a:pt x="961" y="825"/>
                      <a:pt x="951" y="800"/>
                      <a:pt x="932" y="782"/>
                    </a:cubicBezTo>
                    <a:lnTo>
                      <a:pt x="834" y="684"/>
                    </a:lnTo>
                    <a:lnTo>
                      <a:pt x="808" y="657"/>
                    </a:lnTo>
                    <a:lnTo>
                      <a:pt x="454" y="303"/>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sp>
          <p:nvSpPr>
            <p:cNvPr id="211" name="TextBox 210">
              <a:extLst>
                <a:ext uri="{FF2B5EF4-FFF2-40B4-BE49-F238E27FC236}">
                  <a16:creationId xmlns:a16="http://schemas.microsoft.com/office/drawing/2014/main" id="{1DE22044-B622-447D-B6D0-E8C9471D3017}"/>
                </a:ext>
              </a:extLst>
            </p:cNvPr>
            <p:cNvSpPr txBox="1"/>
            <p:nvPr/>
          </p:nvSpPr>
          <p:spPr>
            <a:xfrm>
              <a:off x="5826123" y="3460066"/>
              <a:ext cx="880819" cy="590931"/>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r>
                <a:rPr lang="en-US" sz="1200">
                  <a:solidFill>
                    <a:schemeClr val="bg1"/>
                  </a:solidFill>
                </a:rPr>
                <a:t>Real time</a:t>
              </a:r>
              <a:br>
                <a:rPr lang="en-US" sz="1200">
                  <a:solidFill>
                    <a:schemeClr val="bg1"/>
                  </a:solidFill>
                </a:rPr>
              </a:br>
              <a:r>
                <a:rPr lang="en-US" sz="1200">
                  <a:solidFill>
                    <a:schemeClr val="bg1"/>
                  </a:solidFill>
                </a:rPr>
                <a:t>Evaluation</a:t>
              </a:r>
            </a:p>
            <a:p>
              <a:r>
                <a:rPr lang="en-US" sz="1200">
                  <a:solidFill>
                    <a:schemeClr val="bg1"/>
                  </a:solidFill>
                </a:rPr>
                <a:t>Engine</a:t>
              </a:r>
            </a:p>
          </p:txBody>
        </p:sp>
      </p:grpSp>
      <p:sp>
        <p:nvSpPr>
          <p:cNvPr id="219" name="TextBox 218">
            <a:extLst>
              <a:ext uri="{FF2B5EF4-FFF2-40B4-BE49-F238E27FC236}">
                <a16:creationId xmlns:a16="http://schemas.microsoft.com/office/drawing/2014/main" id="{EAE715E4-F321-4F2D-89D3-AF3F58778DB4}"/>
              </a:ext>
            </a:extLst>
          </p:cNvPr>
          <p:cNvSpPr txBox="1"/>
          <p:nvPr/>
        </p:nvSpPr>
        <p:spPr>
          <a:xfrm>
            <a:off x="5160711" y="2486659"/>
            <a:ext cx="691215" cy="424732"/>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r>
              <a:rPr lang="en-US" sz="1200"/>
              <a:t>Session</a:t>
            </a:r>
            <a:br>
              <a:rPr lang="en-US" sz="1200"/>
            </a:br>
            <a:r>
              <a:rPr lang="en-US" sz="1200"/>
              <a:t>Risk</a:t>
            </a:r>
          </a:p>
        </p:txBody>
      </p:sp>
      <p:grpSp>
        <p:nvGrpSpPr>
          <p:cNvPr id="220" name="Group 219">
            <a:extLst>
              <a:ext uri="{FF2B5EF4-FFF2-40B4-BE49-F238E27FC236}">
                <a16:creationId xmlns:a16="http://schemas.microsoft.com/office/drawing/2014/main" id="{2C38D8D0-6A34-483B-9A88-537FAC003EC2}"/>
              </a:ext>
            </a:extLst>
          </p:cNvPr>
          <p:cNvGrpSpPr/>
          <p:nvPr/>
        </p:nvGrpSpPr>
        <p:grpSpPr>
          <a:xfrm>
            <a:off x="5320863" y="2824836"/>
            <a:ext cx="539920" cy="539922"/>
            <a:chOff x="5462286" y="2128965"/>
            <a:chExt cx="539920" cy="539922"/>
          </a:xfrm>
        </p:grpSpPr>
        <p:grpSp>
          <p:nvGrpSpPr>
            <p:cNvPr id="221" name="Group 220">
              <a:extLst>
                <a:ext uri="{FF2B5EF4-FFF2-40B4-BE49-F238E27FC236}">
                  <a16:creationId xmlns:a16="http://schemas.microsoft.com/office/drawing/2014/main" id="{78B8C630-2E89-4A53-BF31-025DD6102A75}"/>
                </a:ext>
              </a:extLst>
            </p:cNvPr>
            <p:cNvGrpSpPr/>
            <p:nvPr/>
          </p:nvGrpSpPr>
          <p:grpSpPr>
            <a:xfrm>
              <a:off x="5462286" y="2128965"/>
              <a:ext cx="539920" cy="539922"/>
              <a:chOff x="3060314" y="5492593"/>
              <a:chExt cx="820074" cy="820072"/>
            </a:xfrm>
          </p:grpSpPr>
          <p:sp>
            <p:nvSpPr>
              <p:cNvPr id="223" name="Circle: Hollow 222">
                <a:extLst>
                  <a:ext uri="{FF2B5EF4-FFF2-40B4-BE49-F238E27FC236}">
                    <a16:creationId xmlns:a16="http://schemas.microsoft.com/office/drawing/2014/main" id="{CFAB8BE5-5554-4ED2-956D-D92C1F2C7653}"/>
                  </a:ext>
                </a:extLst>
              </p:cNvPr>
              <p:cNvSpPr/>
              <p:nvPr/>
            </p:nvSpPr>
            <p:spPr bwMode="auto">
              <a:xfrm flipH="1">
                <a:off x="3060314" y="5492593"/>
                <a:ext cx="820074" cy="820072"/>
              </a:xfrm>
              <a:prstGeom prst="donu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tx1"/>
                  </a:solidFill>
                  <a:latin typeface="Segoe UI Semibold" panose="020B0702040204020203" pitchFamily="34" charset="0"/>
                  <a:ea typeface="Segoe UI" pitchFamily="34" charset="0"/>
                  <a:cs typeface="Segoe UI Semibold" panose="020B0702040204020203" pitchFamily="34" charset="0"/>
                </a:endParaRPr>
              </a:p>
            </p:txBody>
          </p:sp>
          <p:sp>
            <p:nvSpPr>
              <p:cNvPr id="224" name="Block Arc 223">
                <a:extLst>
                  <a:ext uri="{FF2B5EF4-FFF2-40B4-BE49-F238E27FC236}">
                    <a16:creationId xmlns:a16="http://schemas.microsoft.com/office/drawing/2014/main" id="{61B82754-BBFF-4249-8D0F-195116F17E7D}"/>
                  </a:ext>
                </a:extLst>
              </p:cNvPr>
              <p:cNvSpPr/>
              <p:nvPr/>
            </p:nvSpPr>
            <p:spPr bwMode="auto">
              <a:xfrm rot="16200000" flipH="1">
                <a:off x="3060316" y="5492593"/>
                <a:ext cx="820072" cy="820072"/>
              </a:xfrm>
              <a:prstGeom prst="blockArc">
                <a:avLst>
                  <a:gd name="adj1" fmla="val 6914879"/>
                  <a:gd name="adj2" fmla="val 0"/>
                  <a:gd name="adj3" fmla="val 25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a:gradFill>
                    <a:gsLst>
                      <a:gs pos="0">
                        <a:srgbClr val="FFFFFF"/>
                      </a:gs>
                      <a:gs pos="100000">
                        <a:srgbClr val="FFFFFF"/>
                      </a:gs>
                    </a:gsLst>
                    <a:lin ang="5400000" scaled="0"/>
                  </a:gradFill>
                  <a:ea typeface="Segoe UI" pitchFamily="34" charset="0"/>
                  <a:cs typeface="Segoe UI" pitchFamily="34" charset="0"/>
                </a:endParaRPr>
              </a:p>
            </p:txBody>
          </p:sp>
          <p:sp>
            <p:nvSpPr>
              <p:cNvPr id="225" name="Block Arc 224">
                <a:extLst>
                  <a:ext uri="{FF2B5EF4-FFF2-40B4-BE49-F238E27FC236}">
                    <a16:creationId xmlns:a16="http://schemas.microsoft.com/office/drawing/2014/main" id="{F70F1527-C670-4C8D-A26B-520716DCE226}"/>
                  </a:ext>
                </a:extLst>
              </p:cNvPr>
              <p:cNvSpPr/>
              <p:nvPr/>
            </p:nvSpPr>
            <p:spPr bwMode="auto">
              <a:xfrm rot="16200000" flipH="1">
                <a:off x="3060316" y="5492593"/>
                <a:ext cx="820072" cy="820072"/>
              </a:xfrm>
              <a:prstGeom prst="blockArc">
                <a:avLst>
                  <a:gd name="adj1" fmla="val 14771597"/>
                  <a:gd name="adj2" fmla="val 0"/>
                  <a:gd name="adj3" fmla="val 2500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a:gradFill>
                    <a:gsLst>
                      <a:gs pos="0">
                        <a:srgbClr val="FFFFFF"/>
                      </a:gs>
                      <a:gs pos="100000">
                        <a:srgbClr val="FFFFFF"/>
                      </a:gs>
                    </a:gsLst>
                    <a:lin ang="5400000" scaled="0"/>
                  </a:gradFill>
                  <a:ea typeface="Segoe UI" pitchFamily="34" charset="0"/>
                  <a:cs typeface="Segoe UI" pitchFamily="34" charset="0"/>
                </a:endParaRPr>
              </a:p>
            </p:txBody>
          </p:sp>
        </p:grpSp>
        <p:sp>
          <p:nvSpPr>
            <p:cNvPr id="222" name="Oval 221">
              <a:extLst>
                <a:ext uri="{FF2B5EF4-FFF2-40B4-BE49-F238E27FC236}">
                  <a16:creationId xmlns:a16="http://schemas.microsoft.com/office/drawing/2014/main" id="{D9FE32CF-AF90-41E0-B201-D7D5A94299CB}"/>
                </a:ext>
              </a:extLst>
            </p:cNvPr>
            <p:cNvSpPr/>
            <p:nvPr/>
          </p:nvSpPr>
          <p:spPr bwMode="auto">
            <a:xfrm>
              <a:off x="5564235" y="2230913"/>
              <a:ext cx="336022" cy="336026"/>
            </a:xfrm>
            <a:prstGeom prst="ellipse">
              <a:avLst/>
            </a:prstGeom>
            <a:solidFill>
              <a:schemeClr val="bg1"/>
            </a:solidFill>
            <a:ln w="95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900">
                <a:solidFill>
                  <a:schemeClr val="tx1"/>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226" name="Group 225">
            <a:extLst>
              <a:ext uri="{FF2B5EF4-FFF2-40B4-BE49-F238E27FC236}">
                <a16:creationId xmlns:a16="http://schemas.microsoft.com/office/drawing/2014/main" id="{2F8BBA1D-F2B2-453A-A358-303124556BCE}"/>
              </a:ext>
            </a:extLst>
          </p:cNvPr>
          <p:cNvGrpSpPr/>
          <p:nvPr/>
        </p:nvGrpSpPr>
        <p:grpSpPr>
          <a:xfrm>
            <a:off x="5321242" y="2929744"/>
            <a:ext cx="539163" cy="336026"/>
            <a:chOff x="5464398" y="2233873"/>
            <a:chExt cx="539163" cy="336026"/>
          </a:xfrm>
        </p:grpSpPr>
        <p:sp>
          <p:nvSpPr>
            <p:cNvPr id="227" name="Isosceles Triangle 226">
              <a:extLst>
                <a:ext uri="{FF2B5EF4-FFF2-40B4-BE49-F238E27FC236}">
                  <a16:creationId xmlns:a16="http://schemas.microsoft.com/office/drawing/2014/main" id="{4F58D91C-CCD1-4833-9EC3-A640CA65492D}"/>
                </a:ext>
              </a:extLst>
            </p:cNvPr>
            <p:cNvSpPr/>
            <p:nvPr/>
          </p:nvSpPr>
          <p:spPr bwMode="auto">
            <a:xfrm rot="16200000">
              <a:off x="5464398" y="2344804"/>
              <a:ext cx="114164" cy="114164"/>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28" name="Isosceles Triangle 227">
              <a:extLst>
                <a:ext uri="{FF2B5EF4-FFF2-40B4-BE49-F238E27FC236}">
                  <a16:creationId xmlns:a16="http://schemas.microsoft.com/office/drawing/2014/main" id="{1C1A05D6-11E2-49CD-B137-87E2E8DB947C}"/>
                </a:ext>
              </a:extLst>
            </p:cNvPr>
            <p:cNvSpPr/>
            <p:nvPr/>
          </p:nvSpPr>
          <p:spPr bwMode="auto">
            <a:xfrm rot="5400000" flipH="1">
              <a:off x="5889397" y="2344804"/>
              <a:ext cx="114164" cy="114164"/>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29" name="Oval 228">
              <a:extLst>
                <a:ext uri="{FF2B5EF4-FFF2-40B4-BE49-F238E27FC236}">
                  <a16:creationId xmlns:a16="http://schemas.microsoft.com/office/drawing/2014/main" id="{5105E4F9-060D-4E7A-A9AF-78E2141DA9D6}"/>
                </a:ext>
              </a:extLst>
            </p:cNvPr>
            <p:cNvSpPr/>
            <p:nvPr/>
          </p:nvSpPr>
          <p:spPr bwMode="auto">
            <a:xfrm>
              <a:off x="5565969" y="2233873"/>
              <a:ext cx="336022" cy="336026"/>
            </a:xfrm>
            <a:prstGeom prst="ellipse">
              <a:avLst/>
            </a:prstGeom>
            <a:solidFill>
              <a:schemeClr val="bg1"/>
            </a:solidFill>
            <a:ln w="95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900">
                <a:solidFill>
                  <a:schemeClr val="tx1"/>
                </a:solidFill>
                <a:latin typeface="Segoe UI Semibold" panose="020B0702040204020203" pitchFamily="34" charset="0"/>
                <a:ea typeface="Segoe UI" pitchFamily="34" charset="0"/>
                <a:cs typeface="Segoe UI Semibold" panose="020B0702040204020203" pitchFamily="34" charset="0"/>
              </a:endParaRPr>
            </a:p>
          </p:txBody>
        </p:sp>
      </p:grpSp>
      <p:sp>
        <p:nvSpPr>
          <p:cNvPr id="230" name="Rectangle 229">
            <a:extLst>
              <a:ext uri="{FF2B5EF4-FFF2-40B4-BE49-F238E27FC236}">
                <a16:creationId xmlns:a16="http://schemas.microsoft.com/office/drawing/2014/main" id="{306FB6D2-755E-48F1-8B7E-A97AE607DA83}"/>
              </a:ext>
            </a:extLst>
          </p:cNvPr>
          <p:cNvSpPr/>
          <p:nvPr/>
        </p:nvSpPr>
        <p:spPr>
          <a:xfrm>
            <a:off x="5454072" y="2958114"/>
            <a:ext cx="284052" cy="286232"/>
          </a:xfrm>
          <a:prstGeom prst="rect">
            <a:avLst/>
          </a:prstGeom>
        </p:spPr>
        <p:txBody>
          <a:bodyPr wrap="none">
            <a:spAutoFit/>
          </a:bodyPr>
          <a:lstStyle/>
          <a:p>
            <a:pPr lvl="0" algn="ctr" defTabSz="932472" fontAlgn="base">
              <a:lnSpc>
                <a:spcPct val="90000"/>
              </a:lnSpc>
              <a:spcBef>
                <a:spcPct val="0"/>
              </a:spcBef>
              <a:spcAft>
                <a:spcPct val="0"/>
              </a:spcAft>
            </a:pPr>
            <a:r>
              <a:rPr lang="en-US" sz="1400">
                <a:solidFill>
                  <a:srgbClr val="353535"/>
                </a:solidFill>
                <a:latin typeface="Segoe UI Semibold" panose="020B0702040204020203" pitchFamily="34" charset="0"/>
                <a:ea typeface="Segoe UI" pitchFamily="34" charset="0"/>
                <a:cs typeface="Segoe UI Semibold" panose="020B0702040204020203" pitchFamily="34" charset="0"/>
              </a:rPr>
              <a:t>3</a:t>
            </a:r>
            <a:endParaRPr lang="en-US" sz="900">
              <a:solidFill>
                <a:srgbClr val="353535"/>
              </a:solidFill>
              <a:latin typeface="Segoe UI Semibold" panose="020B0702040204020203" pitchFamily="34" charset="0"/>
              <a:ea typeface="Segoe UI" pitchFamily="34" charset="0"/>
              <a:cs typeface="Segoe UI Semibold" panose="020B0702040204020203" pitchFamily="34" charset="0"/>
            </a:endParaRPr>
          </a:p>
        </p:txBody>
      </p:sp>
      <p:sp>
        <p:nvSpPr>
          <p:cNvPr id="231" name="Oval 230">
            <a:extLst>
              <a:ext uri="{FF2B5EF4-FFF2-40B4-BE49-F238E27FC236}">
                <a16:creationId xmlns:a16="http://schemas.microsoft.com/office/drawing/2014/main" id="{C27C69A0-BF0F-4DCB-B850-2BFE3A749309}"/>
              </a:ext>
            </a:extLst>
          </p:cNvPr>
          <p:cNvSpPr/>
          <p:nvPr/>
        </p:nvSpPr>
        <p:spPr bwMode="auto">
          <a:xfrm>
            <a:off x="2940940" y="2165231"/>
            <a:ext cx="3930268" cy="3930044"/>
          </a:xfrm>
          <a:prstGeom prst="ellipse">
            <a:avLst/>
          </a:prstGeom>
          <a:noFill/>
          <a:ln w="28575" cap="rnd" cmpd="sng" algn="ctr">
            <a:solidFill>
              <a:srgbClr val="00B0F0"/>
            </a:solidFill>
            <a:prstDash val="sysDot"/>
            <a:headEnd type="none"/>
            <a:tailEnd type="none"/>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2" name="Isosceles Triangle 231">
            <a:extLst>
              <a:ext uri="{FF2B5EF4-FFF2-40B4-BE49-F238E27FC236}">
                <a16:creationId xmlns:a16="http://schemas.microsoft.com/office/drawing/2014/main" id="{586D7238-532D-4230-BA20-DA1F66A82B8B}"/>
              </a:ext>
            </a:extLst>
          </p:cNvPr>
          <p:cNvSpPr/>
          <p:nvPr/>
        </p:nvSpPr>
        <p:spPr bwMode="auto">
          <a:xfrm flipV="1">
            <a:off x="3899899" y="1305139"/>
            <a:ext cx="1758842" cy="1180922"/>
          </a:xfrm>
          <a:prstGeom prst="triangle">
            <a:avLst/>
          </a:prstGeom>
          <a:gradFill flip="none" rotWithShape="1">
            <a:gsLst>
              <a:gs pos="0">
                <a:srgbClr val="E6E6E6"/>
              </a:gs>
              <a:gs pos="72000">
                <a:srgbClr val="E6E6E6"/>
              </a:gs>
              <a:gs pos="100000">
                <a:srgbClr val="E6E6E6">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 </a:t>
            </a:r>
          </a:p>
        </p:txBody>
      </p:sp>
      <p:grpSp>
        <p:nvGrpSpPr>
          <p:cNvPr id="233" name="10TB of Data">
            <a:extLst>
              <a:ext uri="{FF2B5EF4-FFF2-40B4-BE49-F238E27FC236}">
                <a16:creationId xmlns:a16="http://schemas.microsoft.com/office/drawing/2014/main" id="{3C8B5EAF-8591-4EA3-A250-9F9B60EED2F6}"/>
              </a:ext>
            </a:extLst>
          </p:cNvPr>
          <p:cNvGrpSpPr/>
          <p:nvPr/>
        </p:nvGrpSpPr>
        <p:grpSpPr>
          <a:xfrm>
            <a:off x="4420582" y="1105925"/>
            <a:ext cx="787326" cy="869819"/>
            <a:chOff x="4474513" y="437335"/>
            <a:chExt cx="787326" cy="869819"/>
          </a:xfrm>
        </p:grpSpPr>
        <p:grpSp>
          <p:nvGrpSpPr>
            <p:cNvPr id="234" name="Group 167">
              <a:extLst>
                <a:ext uri="{FF2B5EF4-FFF2-40B4-BE49-F238E27FC236}">
                  <a16:creationId xmlns:a16="http://schemas.microsoft.com/office/drawing/2014/main" id="{265C172D-AB3D-444A-A1F6-E5AE1BF410D7}"/>
                </a:ext>
              </a:extLst>
            </p:cNvPr>
            <p:cNvGrpSpPr>
              <a:grpSpLocks noChangeAspect="1"/>
            </p:cNvGrpSpPr>
            <p:nvPr/>
          </p:nvGrpSpPr>
          <p:grpSpPr bwMode="auto">
            <a:xfrm>
              <a:off x="4499386" y="437335"/>
              <a:ext cx="664881" cy="869819"/>
              <a:chOff x="6332" y="882"/>
              <a:chExt cx="425" cy="556"/>
            </a:xfrm>
            <a:solidFill>
              <a:schemeClr val="tx1"/>
            </a:solidFill>
          </p:grpSpPr>
          <p:sp>
            <p:nvSpPr>
              <p:cNvPr id="236" name="Freeform 169">
                <a:extLst>
                  <a:ext uri="{FF2B5EF4-FFF2-40B4-BE49-F238E27FC236}">
                    <a16:creationId xmlns:a16="http://schemas.microsoft.com/office/drawing/2014/main" id="{73D7F5F4-9522-4D96-997D-E3735FD78782}"/>
                  </a:ext>
                </a:extLst>
              </p:cNvPr>
              <p:cNvSpPr>
                <a:spLocks/>
              </p:cNvSpPr>
              <p:nvPr/>
            </p:nvSpPr>
            <p:spPr bwMode="auto">
              <a:xfrm>
                <a:off x="6332" y="1131"/>
                <a:ext cx="368" cy="307"/>
              </a:xfrm>
              <a:custGeom>
                <a:avLst/>
                <a:gdLst>
                  <a:gd name="T0" fmla="*/ 1368 w 1391"/>
                  <a:gd name="T1" fmla="*/ 1160 h 1160"/>
                  <a:gd name="T2" fmla="*/ 1368 w 1391"/>
                  <a:gd name="T3" fmla="*/ 1160 h 1160"/>
                  <a:gd name="T4" fmla="*/ 178 w 1391"/>
                  <a:gd name="T5" fmla="*/ 1160 h 1160"/>
                  <a:gd name="T6" fmla="*/ 87 w 1391"/>
                  <a:gd name="T7" fmla="*/ 1055 h 1160"/>
                  <a:gd name="T8" fmla="*/ 30 w 1391"/>
                  <a:gd name="T9" fmla="*/ 387 h 1160"/>
                  <a:gd name="T10" fmla="*/ 1 w 1391"/>
                  <a:gd name="T11" fmla="*/ 69 h 1160"/>
                  <a:gd name="T12" fmla="*/ 16 w 1391"/>
                  <a:gd name="T13" fmla="*/ 23 h 1160"/>
                  <a:gd name="T14" fmla="*/ 80 w 1391"/>
                  <a:gd name="T15" fmla="*/ 0 h 1160"/>
                  <a:gd name="T16" fmla="*/ 456 w 1391"/>
                  <a:gd name="T17" fmla="*/ 0 h 1160"/>
                  <a:gd name="T18" fmla="*/ 541 w 1391"/>
                  <a:gd name="T19" fmla="*/ 83 h 1160"/>
                  <a:gd name="T20" fmla="*/ 544 w 1391"/>
                  <a:gd name="T21" fmla="*/ 120 h 1160"/>
                  <a:gd name="T22" fmla="*/ 1294 w 1391"/>
                  <a:gd name="T23" fmla="*/ 120 h 1160"/>
                  <a:gd name="T24" fmla="*/ 1385 w 1391"/>
                  <a:gd name="T25" fmla="*/ 189 h 1160"/>
                  <a:gd name="T26" fmla="*/ 1391 w 1391"/>
                  <a:gd name="T27" fmla="*/ 298 h 1160"/>
                  <a:gd name="T28" fmla="*/ 1364 w 1391"/>
                  <a:gd name="T29" fmla="*/ 299 h 1160"/>
                  <a:gd name="T30" fmla="*/ 1358 w 1391"/>
                  <a:gd name="T31" fmla="*/ 191 h 1160"/>
                  <a:gd name="T32" fmla="*/ 1294 w 1391"/>
                  <a:gd name="T33" fmla="*/ 146 h 1160"/>
                  <a:gd name="T34" fmla="*/ 520 w 1391"/>
                  <a:gd name="T35" fmla="*/ 146 h 1160"/>
                  <a:gd name="T36" fmla="*/ 514 w 1391"/>
                  <a:gd name="T37" fmla="*/ 85 h 1160"/>
                  <a:gd name="T38" fmla="*/ 456 w 1391"/>
                  <a:gd name="T39" fmla="*/ 26 h 1160"/>
                  <a:gd name="T40" fmla="*/ 80 w 1391"/>
                  <a:gd name="T41" fmla="*/ 26 h 1160"/>
                  <a:gd name="T42" fmla="*/ 35 w 1391"/>
                  <a:gd name="T43" fmla="*/ 41 h 1160"/>
                  <a:gd name="T44" fmla="*/ 28 w 1391"/>
                  <a:gd name="T45" fmla="*/ 66 h 1160"/>
                  <a:gd name="T46" fmla="*/ 38 w 1391"/>
                  <a:gd name="T47" fmla="*/ 171 h 1160"/>
                  <a:gd name="T48" fmla="*/ 57 w 1391"/>
                  <a:gd name="T49" fmla="*/ 384 h 1160"/>
                  <a:gd name="T50" fmla="*/ 114 w 1391"/>
                  <a:gd name="T51" fmla="*/ 1052 h 1160"/>
                  <a:gd name="T52" fmla="*/ 178 w 1391"/>
                  <a:gd name="T53" fmla="*/ 1133 h 1160"/>
                  <a:gd name="T54" fmla="*/ 1368 w 1391"/>
                  <a:gd name="T55" fmla="*/ 1133 h 1160"/>
                  <a:gd name="T56" fmla="*/ 1368 w 1391"/>
                  <a:gd name="T57" fmla="*/ 1160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1" h="1160">
                    <a:moveTo>
                      <a:pt x="1368" y="1160"/>
                    </a:moveTo>
                    <a:lnTo>
                      <a:pt x="1368" y="1160"/>
                    </a:lnTo>
                    <a:lnTo>
                      <a:pt x="178" y="1160"/>
                    </a:lnTo>
                    <a:cubicBezTo>
                      <a:pt x="131" y="1160"/>
                      <a:pt x="91" y="1097"/>
                      <a:pt x="87" y="1055"/>
                    </a:cubicBezTo>
                    <a:lnTo>
                      <a:pt x="30" y="387"/>
                    </a:lnTo>
                    <a:lnTo>
                      <a:pt x="1" y="69"/>
                    </a:lnTo>
                    <a:cubicBezTo>
                      <a:pt x="0" y="51"/>
                      <a:pt x="5" y="35"/>
                      <a:pt x="16" y="23"/>
                    </a:cubicBezTo>
                    <a:cubicBezTo>
                      <a:pt x="29" y="8"/>
                      <a:pt x="52" y="0"/>
                      <a:pt x="80" y="0"/>
                    </a:cubicBezTo>
                    <a:lnTo>
                      <a:pt x="456" y="0"/>
                    </a:lnTo>
                    <a:cubicBezTo>
                      <a:pt x="499" y="0"/>
                      <a:pt x="537" y="37"/>
                      <a:pt x="541" y="83"/>
                    </a:cubicBezTo>
                    <a:lnTo>
                      <a:pt x="544" y="120"/>
                    </a:lnTo>
                    <a:lnTo>
                      <a:pt x="1294" y="120"/>
                    </a:lnTo>
                    <a:cubicBezTo>
                      <a:pt x="1344" y="120"/>
                      <a:pt x="1381" y="148"/>
                      <a:pt x="1385" y="189"/>
                    </a:cubicBezTo>
                    <a:lnTo>
                      <a:pt x="1391" y="298"/>
                    </a:lnTo>
                    <a:lnTo>
                      <a:pt x="1364" y="299"/>
                    </a:lnTo>
                    <a:lnTo>
                      <a:pt x="1358" y="191"/>
                    </a:lnTo>
                    <a:cubicBezTo>
                      <a:pt x="1355" y="160"/>
                      <a:pt x="1323" y="146"/>
                      <a:pt x="1294" y="146"/>
                    </a:cubicBezTo>
                    <a:lnTo>
                      <a:pt x="520" y="146"/>
                    </a:lnTo>
                    <a:lnTo>
                      <a:pt x="514" y="85"/>
                    </a:lnTo>
                    <a:cubicBezTo>
                      <a:pt x="511" y="53"/>
                      <a:pt x="485" y="26"/>
                      <a:pt x="456" y="26"/>
                    </a:cubicBezTo>
                    <a:lnTo>
                      <a:pt x="80" y="26"/>
                    </a:lnTo>
                    <a:cubicBezTo>
                      <a:pt x="60" y="26"/>
                      <a:pt x="44" y="31"/>
                      <a:pt x="35" y="41"/>
                    </a:cubicBezTo>
                    <a:cubicBezTo>
                      <a:pt x="29" y="47"/>
                      <a:pt x="27" y="56"/>
                      <a:pt x="28" y="66"/>
                    </a:cubicBezTo>
                    <a:lnTo>
                      <a:pt x="38" y="171"/>
                    </a:lnTo>
                    <a:lnTo>
                      <a:pt x="57" y="384"/>
                    </a:lnTo>
                    <a:lnTo>
                      <a:pt x="114" y="1052"/>
                    </a:lnTo>
                    <a:cubicBezTo>
                      <a:pt x="117" y="1086"/>
                      <a:pt x="150" y="1133"/>
                      <a:pt x="178" y="1133"/>
                    </a:cubicBezTo>
                    <a:lnTo>
                      <a:pt x="1368" y="1133"/>
                    </a:lnTo>
                    <a:lnTo>
                      <a:pt x="1368" y="116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37" name="Freeform 170">
                <a:extLst>
                  <a:ext uri="{FF2B5EF4-FFF2-40B4-BE49-F238E27FC236}">
                    <a16:creationId xmlns:a16="http://schemas.microsoft.com/office/drawing/2014/main" id="{F2A36828-5489-4E38-98E9-EDECB7547914}"/>
                  </a:ext>
                </a:extLst>
              </p:cNvPr>
              <p:cNvSpPr>
                <a:spLocks noEditPoints="1"/>
              </p:cNvSpPr>
              <p:nvPr/>
            </p:nvSpPr>
            <p:spPr bwMode="auto">
              <a:xfrm>
                <a:off x="6361" y="1209"/>
                <a:ext cx="396" cy="229"/>
              </a:xfrm>
              <a:custGeom>
                <a:avLst/>
                <a:gdLst>
                  <a:gd name="T0" fmla="*/ 221 w 1498"/>
                  <a:gd name="T1" fmla="*/ 27 h 867"/>
                  <a:gd name="T2" fmla="*/ 221 w 1498"/>
                  <a:gd name="T3" fmla="*/ 27 h 867"/>
                  <a:gd name="T4" fmla="*/ 153 w 1498"/>
                  <a:gd name="T5" fmla="*/ 86 h 867"/>
                  <a:gd name="T6" fmla="*/ 30 w 1498"/>
                  <a:gd name="T7" fmla="*/ 786 h 867"/>
                  <a:gd name="T8" fmla="*/ 40 w 1498"/>
                  <a:gd name="T9" fmla="*/ 825 h 867"/>
                  <a:gd name="T10" fmla="*/ 74 w 1498"/>
                  <a:gd name="T11" fmla="*/ 840 h 867"/>
                  <a:gd name="T12" fmla="*/ 1277 w 1498"/>
                  <a:gd name="T13" fmla="*/ 840 h 867"/>
                  <a:gd name="T14" fmla="*/ 1344 w 1498"/>
                  <a:gd name="T15" fmla="*/ 781 h 867"/>
                  <a:gd name="T16" fmla="*/ 1467 w 1498"/>
                  <a:gd name="T17" fmla="*/ 81 h 867"/>
                  <a:gd name="T18" fmla="*/ 1458 w 1498"/>
                  <a:gd name="T19" fmla="*/ 42 h 867"/>
                  <a:gd name="T20" fmla="*/ 1424 w 1498"/>
                  <a:gd name="T21" fmla="*/ 27 h 867"/>
                  <a:gd name="T22" fmla="*/ 221 w 1498"/>
                  <a:gd name="T23" fmla="*/ 27 h 867"/>
                  <a:gd name="T24" fmla="*/ 1277 w 1498"/>
                  <a:gd name="T25" fmla="*/ 867 h 867"/>
                  <a:gd name="T26" fmla="*/ 1277 w 1498"/>
                  <a:gd name="T27" fmla="*/ 867 h 867"/>
                  <a:gd name="T28" fmla="*/ 74 w 1498"/>
                  <a:gd name="T29" fmla="*/ 867 h 867"/>
                  <a:gd name="T30" fmla="*/ 19 w 1498"/>
                  <a:gd name="T31" fmla="*/ 842 h 867"/>
                  <a:gd name="T32" fmla="*/ 4 w 1498"/>
                  <a:gd name="T33" fmla="*/ 782 h 867"/>
                  <a:gd name="T34" fmla="*/ 127 w 1498"/>
                  <a:gd name="T35" fmla="*/ 82 h 867"/>
                  <a:gd name="T36" fmla="*/ 221 w 1498"/>
                  <a:gd name="T37" fmla="*/ 0 h 867"/>
                  <a:gd name="T38" fmla="*/ 1424 w 1498"/>
                  <a:gd name="T39" fmla="*/ 0 h 867"/>
                  <a:gd name="T40" fmla="*/ 1478 w 1498"/>
                  <a:gd name="T41" fmla="*/ 24 h 867"/>
                  <a:gd name="T42" fmla="*/ 1493 w 1498"/>
                  <a:gd name="T43" fmla="*/ 86 h 867"/>
                  <a:gd name="T44" fmla="*/ 1371 w 1498"/>
                  <a:gd name="T45" fmla="*/ 785 h 867"/>
                  <a:gd name="T46" fmla="*/ 1277 w 1498"/>
                  <a:gd name="T47" fmla="*/ 867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98" h="867">
                    <a:moveTo>
                      <a:pt x="221" y="27"/>
                    </a:moveTo>
                    <a:lnTo>
                      <a:pt x="221" y="27"/>
                    </a:lnTo>
                    <a:cubicBezTo>
                      <a:pt x="190" y="27"/>
                      <a:pt x="159" y="55"/>
                      <a:pt x="153" y="86"/>
                    </a:cubicBezTo>
                    <a:lnTo>
                      <a:pt x="30" y="786"/>
                    </a:lnTo>
                    <a:cubicBezTo>
                      <a:pt x="28" y="801"/>
                      <a:pt x="31" y="815"/>
                      <a:pt x="40" y="825"/>
                    </a:cubicBezTo>
                    <a:cubicBezTo>
                      <a:pt x="48" y="835"/>
                      <a:pt x="60" y="840"/>
                      <a:pt x="74" y="840"/>
                    </a:cubicBezTo>
                    <a:lnTo>
                      <a:pt x="1277" y="840"/>
                    </a:lnTo>
                    <a:cubicBezTo>
                      <a:pt x="1308" y="840"/>
                      <a:pt x="1339" y="813"/>
                      <a:pt x="1344" y="781"/>
                    </a:cubicBezTo>
                    <a:lnTo>
                      <a:pt x="1467" y="81"/>
                    </a:lnTo>
                    <a:cubicBezTo>
                      <a:pt x="1470" y="67"/>
                      <a:pt x="1466" y="52"/>
                      <a:pt x="1458" y="42"/>
                    </a:cubicBezTo>
                    <a:cubicBezTo>
                      <a:pt x="1449" y="32"/>
                      <a:pt x="1438" y="27"/>
                      <a:pt x="1424" y="27"/>
                    </a:cubicBezTo>
                    <a:lnTo>
                      <a:pt x="221" y="27"/>
                    </a:lnTo>
                    <a:close/>
                    <a:moveTo>
                      <a:pt x="1277" y="867"/>
                    </a:moveTo>
                    <a:lnTo>
                      <a:pt x="1277" y="867"/>
                    </a:lnTo>
                    <a:lnTo>
                      <a:pt x="74" y="867"/>
                    </a:lnTo>
                    <a:cubicBezTo>
                      <a:pt x="52" y="867"/>
                      <a:pt x="32" y="858"/>
                      <a:pt x="19" y="842"/>
                    </a:cubicBezTo>
                    <a:cubicBezTo>
                      <a:pt x="6" y="826"/>
                      <a:pt x="0" y="804"/>
                      <a:pt x="4" y="782"/>
                    </a:cubicBezTo>
                    <a:lnTo>
                      <a:pt x="127" y="82"/>
                    </a:lnTo>
                    <a:cubicBezTo>
                      <a:pt x="135" y="37"/>
                      <a:pt x="177" y="0"/>
                      <a:pt x="221" y="0"/>
                    </a:cubicBezTo>
                    <a:lnTo>
                      <a:pt x="1424" y="0"/>
                    </a:lnTo>
                    <a:cubicBezTo>
                      <a:pt x="1446" y="0"/>
                      <a:pt x="1465" y="9"/>
                      <a:pt x="1478" y="24"/>
                    </a:cubicBezTo>
                    <a:cubicBezTo>
                      <a:pt x="1492" y="41"/>
                      <a:pt x="1498" y="63"/>
                      <a:pt x="1493" y="86"/>
                    </a:cubicBezTo>
                    <a:lnTo>
                      <a:pt x="1371" y="785"/>
                    </a:lnTo>
                    <a:cubicBezTo>
                      <a:pt x="1363" y="830"/>
                      <a:pt x="1321" y="867"/>
                      <a:pt x="1277" y="86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38" name="Freeform 171">
                <a:extLst>
                  <a:ext uri="{FF2B5EF4-FFF2-40B4-BE49-F238E27FC236}">
                    <a16:creationId xmlns:a16="http://schemas.microsoft.com/office/drawing/2014/main" id="{A4144413-E1B2-4B22-9401-8A6D8FD45320}"/>
                  </a:ext>
                </a:extLst>
              </p:cNvPr>
              <p:cNvSpPr>
                <a:spLocks noEditPoints="1"/>
              </p:cNvSpPr>
              <p:nvPr/>
            </p:nvSpPr>
            <p:spPr bwMode="auto">
              <a:xfrm>
                <a:off x="6455" y="1028"/>
                <a:ext cx="44" cy="66"/>
              </a:xfrm>
              <a:custGeom>
                <a:avLst/>
                <a:gdLst>
                  <a:gd name="T0" fmla="*/ 129 w 166"/>
                  <a:gd name="T1" fmla="*/ 151 h 248"/>
                  <a:gd name="T2" fmla="*/ 129 w 166"/>
                  <a:gd name="T3" fmla="*/ 151 h 248"/>
                  <a:gd name="T4" fmla="*/ 108 w 166"/>
                  <a:gd name="T5" fmla="*/ 76 h 248"/>
                  <a:gd name="T6" fmla="*/ 105 w 166"/>
                  <a:gd name="T7" fmla="*/ 66 h 248"/>
                  <a:gd name="T8" fmla="*/ 100 w 166"/>
                  <a:gd name="T9" fmla="*/ 55 h 248"/>
                  <a:gd name="T10" fmla="*/ 94 w 166"/>
                  <a:gd name="T11" fmla="*/ 45 h 248"/>
                  <a:gd name="T12" fmla="*/ 85 w 166"/>
                  <a:gd name="T13" fmla="*/ 37 h 248"/>
                  <a:gd name="T14" fmla="*/ 73 w 166"/>
                  <a:gd name="T15" fmla="*/ 32 h 248"/>
                  <a:gd name="T16" fmla="*/ 58 w 166"/>
                  <a:gd name="T17" fmla="*/ 34 h 248"/>
                  <a:gd name="T18" fmla="*/ 39 w 166"/>
                  <a:gd name="T19" fmla="*/ 45 h 248"/>
                  <a:gd name="T20" fmla="*/ 33 w 166"/>
                  <a:gd name="T21" fmla="*/ 62 h 248"/>
                  <a:gd name="T22" fmla="*/ 33 w 166"/>
                  <a:gd name="T23" fmla="*/ 80 h 248"/>
                  <a:gd name="T24" fmla="*/ 37 w 166"/>
                  <a:gd name="T25" fmla="*/ 96 h 248"/>
                  <a:gd name="T26" fmla="*/ 58 w 166"/>
                  <a:gd name="T27" fmla="*/ 171 h 248"/>
                  <a:gd name="T28" fmla="*/ 61 w 166"/>
                  <a:gd name="T29" fmla="*/ 181 h 248"/>
                  <a:gd name="T30" fmla="*/ 66 w 166"/>
                  <a:gd name="T31" fmla="*/ 192 h 248"/>
                  <a:gd name="T32" fmla="*/ 72 w 166"/>
                  <a:gd name="T33" fmla="*/ 203 h 248"/>
                  <a:gd name="T34" fmla="*/ 81 w 166"/>
                  <a:gd name="T35" fmla="*/ 211 h 248"/>
                  <a:gd name="T36" fmla="*/ 93 w 166"/>
                  <a:gd name="T37" fmla="*/ 215 h 248"/>
                  <a:gd name="T38" fmla="*/ 108 w 166"/>
                  <a:gd name="T39" fmla="*/ 214 h 248"/>
                  <a:gd name="T40" fmla="*/ 122 w 166"/>
                  <a:gd name="T41" fmla="*/ 207 h 248"/>
                  <a:gd name="T42" fmla="*/ 130 w 166"/>
                  <a:gd name="T43" fmla="*/ 197 h 248"/>
                  <a:gd name="T44" fmla="*/ 133 w 166"/>
                  <a:gd name="T45" fmla="*/ 185 h 248"/>
                  <a:gd name="T46" fmla="*/ 133 w 166"/>
                  <a:gd name="T47" fmla="*/ 173 h 248"/>
                  <a:gd name="T48" fmla="*/ 132 w 166"/>
                  <a:gd name="T49" fmla="*/ 161 h 248"/>
                  <a:gd name="T50" fmla="*/ 129 w 166"/>
                  <a:gd name="T51" fmla="*/ 151 h 248"/>
                  <a:gd name="T52" fmla="*/ 26 w 166"/>
                  <a:gd name="T53" fmla="*/ 180 h 248"/>
                  <a:gd name="T54" fmla="*/ 26 w 166"/>
                  <a:gd name="T55" fmla="*/ 180 h 248"/>
                  <a:gd name="T56" fmla="*/ 5 w 166"/>
                  <a:gd name="T57" fmla="*/ 105 h 248"/>
                  <a:gd name="T58" fmla="*/ 1 w 166"/>
                  <a:gd name="T59" fmla="*/ 89 h 248"/>
                  <a:gd name="T60" fmla="*/ 0 w 166"/>
                  <a:gd name="T61" fmla="*/ 70 h 248"/>
                  <a:gd name="T62" fmla="*/ 2 w 166"/>
                  <a:gd name="T63" fmla="*/ 50 h 248"/>
                  <a:gd name="T64" fmla="*/ 9 w 166"/>
                  <a:gd name="T65" fmla="*/ 31 h 248"/>
                  <a:gd name="T66" fmla="*/ 25 w 166"/>
                  <a:gd name="T67" fmla="*/ 15 h 248"/>
                  <a:gd name="T68" fmla="*/ 50 w 166"/>
                  <a:gd name="T69" fmla="*/ 4 h 248"/>
                  <a:gd name="T70" fmla="*/ 77 w 166"/>
                  <a:gd name="T71" fmla="*/ 1 h 248"/>
                  <a:gd name="T72" fmla="*/ 98 w 166"/>
                  <a:gd name="T73" fmla="*/ 7 h 248"/>
                  <a:gd name="T74" fmla="*/ 114 w 166"/>
                  <a:gd name="T75" fmla="*/ 19 h 248"/>
                  <a:gd name="T76" fmla="*/ 126 w 166"/>
                  <a:gd name="T77" fmla="*/ 35 h 248"/>
                  <a:gd name="T78" fmla="*/ 135 w 166"/>
                  <a:gd name="T79" fmla="*/ 52 h 248"/>
                  <a:gd name="T80" fmla="*/ 140 w 166"/>
                  <a:gd name="T81" fmla="*/ 67 h 248"/>
                  <a:gd name="T82" fmla="*/ 161 w 166"/>
                  <a:gd name="T83" fmla="*/ 142 h 248"/>
                  <a:gd name="T84" fmla="*/ 165 w 166"/>
                  <a:gd name="T85" fmla="*/ 158 h 248"/>
                  <a:gd name="T86" fmla="*/ 166 w 166"/>
                  <a:gd name="T87" fmla="*/ 177 h 248"/>
                  <a:gd name="T88" fmla="*/ 164 w 166"/>
                  <a:gd name="T89" fmla="*/ 197 h 248"/>
                  <a:gd name="T90" fmla="*/ 157 w 166"/>
                  <a:gd name="T91" fmla="*/ 216 h 248"/>
                  <a:gd name="T92" fmla="*/ 142 w 166"/>
                  <a:gd name="T93" fmla="*/ 232 h 248"/>
                  <a:gd name="T94" fmla="*/ 117 w 166"/>
                  <a:gd name="T95" fmla="*/ 244 h 248"/>
                  <a:gd name="T96" fmla="*/ 90 w 166"/>
                  <a:gd name="T97" fmla="*/ 247 h 248"/>
                  <a:gd name="T98" fmla="*/ 68 w 166"/>
                  <a:gd name="T99" fmla="*/ 241 h 248"/>
                  <a:gd name="T100" fmla="*/ 52 w 166"/>
                  <a:gd name="T101" fmla="*/ 229 h 248"/>
                  <a:gd name="T102" fmla="*/ 40 w 166"/>
                  <a:gd name="T103" fmla="*/ 213 h 248"/>
                  <a:gd name="T104" fmla="*/ 31 w 166"/>
                  <a:gd name="T105" fmla="*/ 196 h 248"/>
                  <a:gd name="T106" fmla="*/ 26 w 166"/>
                  <a:gd name="T107" fmla="*/ 18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6" h="248">
                    <a:moveTo>
                      <a:pt x="129" y="151"/>
                    </a:moveTo>
                    <a:lnTo>
                      <a:pt x="129" y="151"/>
                    </a:lnTo>
                    <a:lnTo>
                      <a:pt x="108" y="76"/>
                    </a:lnTo>
                    <a:cubicBezTo>
                      <a:pt x="107" y="73"/>
                      <a:pt x="106" y="70"/>
                      <a:pt x="105" y="66"/>
                    </a:cubicBezTo>
                    <a:cubicBezTo>
                      <a:pt x="104" y="63"/>
                      <a:pt x="102" y="59"/>
                      <a:pt x="100" y="55"/>
                    </a:cubicBezTo>
                    <a:cubicBezTo>
                      <a:pt x="99" y="52"/>
                      <a:pt x="96" y="48"/>
                      <a:pt x="94" y="45"/>
                    </a:cubicBezTo>
                    <a:cubicBezTo>
                      <a:pt x="91" y="42"/>
                      <a:pt x="88" y="39"/>
                      <a:pt x="85" y="37"/>
                    </a:cubicBezTo>
                    <a:cubicBezTo>
                      <a:pt x="82" y="34"/>
                      <a:pt x="78" y="33"/>
                      <a:pt x="73" y="32"/>
                    </a:cubicBezTo>
                    <a:cubicBezTo>
                      <a:pt x="69" y="32"/>
                      <a:pt x="64" y="32"/>
                      <a:pt x="58" y="34"/>
                    </a:cubicBezTo>
                    <a:cubicBezTo>
                      <a:pt x="49" y="36"/>
                      <a:pt x="43" y="40"/>
                      <a:pt x="39" y="45"/>
                    </a:cubicBezTo>
                    <a:cubicBezTo>
                      <a:pt x="36" y="50"/>
                      <a:pt x="33" y="56"/>
                      <a:pt x="33" y="62"/>
                    </a:cubicBezTo>
                    <a:cubicBezTo>
                      <a:pt x="32" y="68"/>
                      <a:pt x="32" y="74"/>
                      <a:pt x="33" y="80"/>
                    </a:cubicBezTo>
                    <a:cubicBezTo>
                      <a:pt x="34" y="86"/>
                      <a:pt x="36" y="92"/>
                      <a:pt x="37" y="96"/>
                    </a:cubicBezTo>
                    <a:lnTo>
                      <a:pt x="58" y="171"/>
                    </a:lnTo>
                    <a:cubicBezTo>
                      <a:pt x="59" y="174"/>
                      <a:pt x="60" y="178"/>
                      <a:pt x="61" y="181"/>
                    </a:cubicBezTo>
                    <a:cubicBezTo>
                      <a:pt x="62" y="185"/>
                      <a:pt x="64" y="188"/>
                      <a:pt x="66" y="192"/>
                    </a:cubicBezTo>
                    <a:cubicBezTo>
                      <a:pt x="67" y="196"/>
                      <a:pt x="70" y="199"/>
                      <a:pt x="72" y="203"/>
                    </a:cubicBezTo>
                    <a:cubicBezTo>
                      <a:pt x="75" y="206"/>
                      <a:pt x="78" y="209"/>
                      <a:pt x="81" y="211"/>
                    </a:cubicBezTo>
                    <a:cubicBezTo>
                      <a:pt x="85" y="213"/>
                      <a:pt x="89" y="214"/>
                      <a:pt x="93" y="215"/>
                    </a:cubicBezTo>
                    <a:cubicBezTo>
                      <a:pt x="97" y="216"/>
                      <a:pt x="103" y="215"/>
                      <a:pt x="108" y="214"/>
                    </a:cubicBezTo>
                    <a:cubicBezTo>
                      <a:pt x="114" y="212"/>
                      <a:pt x="119" y="210"/>
                      <a:pt x="122" y="207"/>
                    </a:cubicBezTo>
                    <a:cubicBezTo>
                      <a:pt x="126" y="204"/>
                      <a:pt x="128" y="201"/>
                      <a:pt x="130" y="197"/>
                    </a:cubicBezTo>
                    <a:cubicBezTo>
                      <a:pt x="132" y="193"/>
                      <a:pt x="133" y="190"/>
                      <a:pt x="133" y="185"/>
                    </a:cubicBezTo>
                    <a:cubicBezTo>
                      <a:pt x="134" y="181"/>
                      <a:pt x="134" y="177"/>
                      <a:pt x="133" y="173"/>
                    </a:cubicBezTo>
                    <a:cubicBezTo>
                      <a:pt x="133" y="169"/>
                      <a:pt x="133" y="165"/>
                      <a:pt x="132" y="161"/>
                    </a:cubicBezTo>
                    <a:cubicBezTo>
                      <a:pt x="131" y="158"/>
                      <a:pt x="130" y="154"/>
                      <a:pt x="129" y="151"/>
                    </a:cubicBezTo>
                    <a:close/>
                    <a:moveTo>
                      <a:pt x="26" y="180"/>
                    </a:moveTo>
                    <a:lnTo>
                      <a:pt x="26" y="180"/>
                    </a:lnTo>
                    <a:lnTo>
                      <a:pt x="5" y="105"/>
                    </a:lnTo>
                    <a:cubicBezTo>
                      <a:pt x="4" y="101"/>
                      <a:pt x="3" y="95"/>
                      <a:pt x="1" y="89"/>
                    </a:cubicBezTo>
                    <a:cubicBezTo>
                      <a:pt x="0" y="83"/>
                      <a:pt x="0" y="77"/>
                      <a:pt x="0" y="70"/>
                    </a:cubicBezTo>
                    <a:cubicBezTo>
                      <a:pt x="0" y="64"/>
                      <a:pt x="0" y="57"/>
                      <a:pt x="2" y="50"/>
                    </a:cubicBezTo>
                    <a:cubicBezTo>
                      <a:pt x="3" y="44"/>
                      <a:pt x="6" y="37"/>
                      <a:pt x="9" y="31"/>
                    </a:cubicBezTo>
                    <a:cubicBezTo>
                      <a:pt x="13" y="25"/>
                      <a:pt x="18" y="20"/>
                      <a:pt x="25" y="15"/>
                    </a:cubicBezTo>
                    <a:cubicBezTo>
                      <a:pt x="31" y="10"/>
                      <a:pt x="40" y="7"/>
                      <a:pt x="50" y="4"/>
                    </a:cubicBezTo>
                    <a:cubicBezTo>
                      <a:pt x="60" y="1"/>
                      <a:pt x="69" y="0"/>
                      <a:pt x="77" y="1"/>
                    </a:cubicBezTo>
                    <a:cubicBezTo>
                      <a:pt x="85" y="1"/>
                      <a:pt x="92" y="3"/>
                      <a:pt x="98" y="7"/>
                    </a:cubicBezTo>
                    <a:cubicBezTo>
                      <a:pt x="104" y="10"/>
                      <a:pt x="110" y="14"/>
                      <a:pt x="114" y="19"/>
                    </a:cubicBezTo>
                    <a:cubicBezTo>
                      <a:pt x="119" y="24"/>
                      <a:pt x="123" y="29"/>
                      <a:pt x="126" y="35"/>
                    </a:cubicBezTo>
                    <a:cubicBezTo>
                      <a:pt x="130" y="40"/>
                      <a:pt x="133" y="46"/>
                      <a:pt x="135" y="52"/>
                    </a:cubicBezTo>
                    <a:cubicBezTo>
                      <a:pt x="137" y="58"/>
                      <a:pt x="139" y="63"/>
                      <a:pt x="140" y="67"/>
                    </a:cubicBezTo>
                    <a:lnTo>
                      <a:pt x="161" y="142"/>
                    </a:lnTo>
                    <a:cubicBezTo>
                      <a:pt x="162" y="147"/>
                      <a:pt x="164" y="152"/>
                      <a:pt x="165" y="158"/>
                    </a:cubicBezTo>
                    <a:cubicBezTo>
                      <a:pt x="166" y="164"/>
                      <a:pt x="166" y="170"/>
                      <a:pt x="166" y="177"/>
                    </a:cubicBezTo>
                    <a:cubicBezTo>
                      <a:pt x="166" y="183"/>
                      <a:pt x="166" y="190"/>
                      <a:pt x="164" y="197"/>
                    </a:cubicBezTo>
                    <a:cubicBezTo>
                      <a:pt x="163" y="204"/>
                      <a:pt x="160" y="210"/>
                      <a:pt x="157" y="216"/>
                    </a:cubicBezTo>
                    <a:cubicBezTo>
                      <a:pt x="153" y="222"/>
                      <a:pt x="148" y="227"/>
                      <a:pt x="142" y="232"/>
                    </a:cubicBezTo>
                    <a:cubicBezTo>
                      <a:pt x="135" y="237"/>
                      <a:pt x="127" y="241"/>
                      <a:pt x="117" y="244"/>
                    </a:cubicBezTo>
                    <a:cubicBezTo>
                      <a:pt x="107" y="247"/>
                      <a:pt x="98" y="248"/>
                      <a:pt x="90" y="247"/>
                    </a:cubicBezTo>
                    <a:cubicBezTo>
                      <a:pt x="82" y="246"/>
                      <a:pt x="75" y="244"/>
                      <a:pt x="68" y="241"/>
                    </a:cubicBezTo>
                    <a:cubicBezTo>
                      <a:pt x="62" y="238"/>
                      <a:pt x="56" y="234"/>
                      <a:pt x="52" y="229"/>
                    </a:cubicBezTo>
                    <a:cubicBezTo>
                      <a:pt x="47" y="224"/>
                      <a:pt x="43" y="218"/>
                      <a:pt x="40" y="213"/>
                    </a:cubicBezTo>
                    <a:cubicBezTo>
                      <a:pt x="36" y="207"/>
                      <a:pt x="33" y="201"/>
                      <a:pt x="31" y="196"/>
                    </a:cubicBezTo>
                    <a:cubicBezTo>
                      <a:pt x="29" y="190"/>
                      <a:pt x="27" y="185"/>
                      <a:pt x="26" y="18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39" name="Freeform 172">
                <a:extLst>
                  <a:ext uri="{FF2B5EF4-FFF2-40B4-BE49-F238E27FC236}">
                    <a16:creationId xmlns:a16="http://schemas.microsoft.com/office/drawing/2014/main" id="{01490A22-C64F-4096-A7BB-BE5C641D06D6}"/>
                  </a:ext>
                </a:extLst>
              </p:cNvPr>
              <p:cNvSpPr>
                <a:spLocks noEditPoints="1"/>
              </p:cNvSpPr>
              <p:nvPr/>
            </p:nvSpPr>
            <p:spPr bwMode="auto">
              <a:xfrm>
                <a:off x="6681" y="935"/>
                <a:ext cx="41" cy="66"/>
              </a:xfrm>
              <a:custGeom>
                <a:avLst/>
                <a:gdLst>
                  <a:gd name="T0" fmla="*/ 108 w 158"/>
                  <a:gd name="T1" fmla="*/ 170 h 249"/>
                  <a:gd name="T2" fmla="*/ 108 w 158"/>
                  <a:gd name="T3" fmla="*/ 170 h 249"/>
                  <a:gd name="T4" fmla="*/ 123 w 158"/>
                  <a:gd name="T5" fmla="*/ 93 h 249"/>
                  <a:gd name="T6" fmla="*/ 124 w 158"/>
                  <a:gd name="T7" fmla="*/ 83 h 249"/>
                  <a:gd name="T8" fmla="*/ 125 w 158"/>
                  <a:gd name="T9" fmla="*/ 71 h 249"/>
                  <a:gd name="T10" fmla="*/ 124 w 158"/>
                  <a:gd name="T11" fmla="*/ 58 h 249"/>
                  <a:gd name="T12" fmla="*/ 120 w 158"/>
                  <a:gd name="T13" fmla="*/ 47 h 249"/>
                  <a:gd name="T14" fmla="*/ 111 w 158"/>
                  <a:gd name="T15" fmla="*/ 38 h 249"/>
                  <a:gd name="T16" fmla="*/ 97 w 158"/>
                  <a:gd name="T17" fmla="*/ 33 h 249"/>
                  <a:gd name="T18" fmla="*/ 75 w 158"/>
                  <a:gd name="T19" fmla="*/ 35 h 249"/>
                  <a:gd name="T20" fmla="*/ 61 w 158"/>
                  <a:gd name="T21" fmla="*/ 47 h 249"/>
                  <a:gd name="T22" fmla="*/ 54 w 158"/>
                  <a:gd name="T23" fmla="*/ 63 h 249"/>
                  <a:gd name="T24" fmla="*/ 50 w 158"/>
                  <a:gd name="T25" fmla="*/ 79 h 249"/>
                  <a:gd name="T26" fmla="*/ 36 w 158"/>
                  <a:gd name="T27" fmla="*/ 156 h 249"/>
                  <a:gd name="T28" fmla="*/ 34 w 158"/>
                  <a:gd name="T29" fmla="*/ 166 h 249"/>
                  <a:gd name="T30" fmla="*/ 33 w 158"/>
                  <a:gd name="T31" fmla="*/ 178 h 249"/>
                  <a:gd name="T32" fmla="*/ 34 w 158"/>
                  <a:gd name="T33" fmla="*/ 190 h 249"/>
                  <a:gd name="T34" fmla="*/ 39 w 158"/>
                  <a:gd name="T35" fmla="*/ 201 h 249"/>
                  <a:gd name="T36" fmla="*/ 48 w 158"/>
                  <a:gd name="T37" fmla="*/ 211 h 249"/>
                  <a:gd name="T38" fmla="*/ 62 w 158"/>
                  <a:gd name="T39" fmla="*/ 216 h 249"/>
                  <a:gd name="T40" fmla="*/ 77 w 158"/>
                  <a:gd name="T41" fmla="*/ 216 h 249"/>
                  <a:gd name="T42" fmla="*/ 89 w 158"/>
                  <a:gd name="T43" fmla="*/ 211 h 249"/>
                  <a:gd name="T44" fmla="*/ 97 w 158"/>
                  <a:gd name="T45" fmla="*/ 202 h 249"/>
                  <a:gd name="T46" fmla="*/ 103 w 158"/>
                  <a:gd name="T47" fmla="*/ 191 h 249"/>
                  <a:gd name="T48" fmla="*/ 106 w 158"/>
                  <a:gd name="T49" fmla="*/ 180 h 249"/>
                  <a:gd name="T50" fmla="*/ 108 w 158"/>
                  <a:gd name="T51" fmla="*/ 170 h 249"/>
                  <a:gd name="T52" fmla="*/ 3 w 158"/>
                  <a:gd name="T53" fmla="*/ 150 h 249"/>
                  <a:gd name="T54" fmla="*/ 3 w 158"/>
                  <a:gd name="T55" fmla="*/ 150 h 249"/>
                  <a:gd name="T56" fmla="*/ 18 w 158"/>
                  <a:gd name="T57" fmla="*/ 73 h 249"/>
                  <a:gd name="T58" fmla="*/ 21 w 158"/>
                  <a:gd name="T59" fmla="*/ 57 h 249"/>
                  <a:gd name="T60" fmla="*/ 28 w 158"/>
                  <a:gd name="T61" fmla="*/ 40 h 249"/>
                  <a:gd name="T62" fmla="*/ 39 w 158"/>
                  <a:gd name="T63" fmla="*/ 23 h 249"/>
                  <a:gd name="T64" fmla="*/ 54 w 158"/>
                  <a:gd name="T65" fmla="*/ 9 h 249"/>
                  <a:gd name="T66" fmla="*/ 75 w 158"/>
                  <a:gd name="T67" fmla="*/ 1 h 249"/>
                  <a:gd name="T68" fmla="*/ 103 w 158"/>
                  <a:gd name="T69" fmla="*/ 2 h 249"/>
                  <a:gd name="T70" fmla="*/ 128 w 158"/>
                  <a:gd name="T71" fmla="*/ 11 h 249"/>
                  <a:gd name="T72" fmla="*/ 145 w 158"/>
                  <a:gd name="T73" fmla="*/ 26 h 249"/>
                  <a:gd name="T74" fmla="*/ 154 w 158"/>
                  <a:gd name="T75" fmla="*/ 44 h 249"/>
                  <a:gd name="T76" fmla="*/ 158 w 158"/>
                  <a:gd name="T77" fmla="*/ 64 h 249"/>
                  <a:gd name="T78" fmla="*/ 157 w 158"/>
                  <a:gd name="T79" fmla="*/ 83 h 249"/>
                  <a:gd name="T80" fmla="*/ 155 w 158"/>
                  <a:gd name="T81" fmla="*/ 99 h 249"/>
                  <a:gd name="T82" fmla="*/ 141 w 158"/>
                  <a:gd name="T83" fmla="*/ 176 h 249"/>
                  <a:gd name="T84" fmla="*/ 137 w 158"/>
                  <a:gd name="T85" fmla="*/ 191 h 249"/>
                  <a:gd name="T86" fmla="*/ 130 w 158"/>
                  <a:gd name="T87" fmla="*/ 209 h 249"/>
                  <a:gd name="T88" fmla="*/ 120 w 158"/>
                  <a:gd name="T89" fmla="*/ 226 h 249"/>
                  <a:gd name="T90" fmla="*/ 104 w 158"/>
                  <a:gd name="T91" fmla="*/ 240 h 249"/>
                  <a:gd name="T92" fmla="*/ 84 w 158"/>
                  <a:gd name="T93" fmla="*/ 247 h 249"/>
                  <a:gd name="T94" fmla="*/ 56 w 158"/>
                  <a:gd name="T95" fmla="*/ 247 h 249"/>
                  <a:gd name="T96" fmla="*/ 31 w 158"/>
                  <a:gd name="T97" fmla="*/ 238 h 249"/>
                  <a:gd name="T98" fmla="*/ 14 w 158"/>
                  <a:gd name="T99" fmla="*/ 223 h 249"/>
                  <a:gd name="T100" fmla="*/ 5 w 158"/>
                  <a:gd name="T101" fmla="*/ 204 h 249"/>
                  <a:gd name="T102" fmla="*/ 1 w 158"/>
                  <a:gd name="T103" fmla="*/ 185 h 249"/>
                  <a:gd name="T104" fmla="*/ 1 w 158"/>
                  <a:gd name="T105" fmla="*/ 166 h 249"/>
                  <a:gd name="T106" fmla="*/ 3 w 158"/>
                  <a:gd name="T107" fmla="*/ 15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 h="249">
                    <a:moveTo>
                      <a:pt x="108" y="170"/>
                    </a:moveTo>
                    <a:lnTo>
                      <a:pt x="108" y="170"/>
                    </a:lnTo>
                    <a:lnTo>
                      <a:pt x="123" y="93"/>
                    </a:lnTo>
                    <a:cubicBezTo>
                      <a:pt x="123" y="90"/>
                      <a:pt x="124" y="86"/>
                      <a:pt x="124" y="83"/>
                    </a:cubicBezTo>
                    <a:cubicBezTo>
                      <a:pt x="125" y="79"/>
                      <a:pt x="125" y="75"/>
                      <a:pt x="125" y="71"/>
                    </a:cubicBezTo>
                    <a:cubicBezTo>
                      <a:pt x="125" y="67"/>
                      <a:pt x="125" y="63"/>
                      <a:pt x="124" y="58"/>
                    </a:cubicBezTo>
                    <a:cubicBezTo>
                      <a:pt x="123" y="54"/>
                      <a:pt x="122" y="51"/>
                      <a:pt x="120" y="47"/>
                    </a:cubicBezTo>
                    <a:cubicBezTo>
                      <a:pt x="118" y="44"/>
                      <a:pt x="115" y="41"/>
                      <a:pt x="111" y="38"/>
                    </a:cubicBezTo>
                    <a:cubicBezTo>
                      <a:pt x="107" y="36"/>
                      <a:pt x="102" y="34"/>
                      <a:pt x="97" y="33"/>
                    </a:cubicBezTo>
                    <a:cubicBezTo>
                      <a:pt x="88" y="31"/>
                      <a:pt x="81" y="32"/>
                      <a:pt x="75" y="35"/>
                    </a:cubicBezTo>
                    <a:cubicBezTo>
                      <a:pt x="69" y="38"/>
                      <a:pt x="65" y="42"/>
                      <a:pt x="61" y="47"/>
                    </a:cubicBezTo>
                    <a:cubicBezTo>
                      <a:pt x="58" y="52"/>
                      <a:pt x="56" y="57"/>
                      <a:pt x="54" y="63"/>
                    </a:cubicBezTo>
                    <a:cubicBezTo>
                      <a:pt x="52" y="69"/>
                      <a:pt x="51" y="75"/>
                      <a:pt x="50" y="79"/>
                    </a:cubicBezTo>
                    <a:lnTo>
                      <a:pt x="36" y="156"/>
                    </a:lnTo>
                    <a:cubicBezTo>
                      <a:pt x="35" y="159"/>
                      <a:pt x="35" y="162"/>
                      <a:pt x="34" y="166"/>
                    </a:cubicBezTo>
                    <a:cubicBezTo>
                      <a:pt x="34" y="170"/>
                      <a:pt x="33" y="174"/>
                      <a:pt x="33" y="178"/>
                    </a:cubicBezTo>
                    <a:cubicBezTo>
                      <a:pt x="33" y="182"/>
                      <a:pt x="34" y="186"/>
                      <a:pt x="34" y="190"/>
                    </a:cubicBezTo>
                    <a:cubicBezTo>
                      <a:pt x="35" y="194"/>
                      <a:pt x="37" y="198"/>
                      <a:pt x="39" y="201"/>
                    </a:cubicBezTo>
                    <a:cubicBezTo>
                      <a:pt x="41" y="205"/>
                      <a:pt x="44" y="208"/>
                      <a:pt x="48" y="211"/>
                    </a:cubicBezTo>
                    <a:cubicBezTo>
                      <a:pt x="51" y="213"/>
                      <a:pt x="56" y="215"/>
                      <a:pt x="62" y="216"/>
                    </a:cubicBezTo>
                    <a:cubicBezTo>
                      <a:pt x="68" y="217"/>
                      <a:pt x="73" y="217"/>
                      <a:pt x="77" y="216"/>
                    </a:cubicBezTo>
                    <a:cubicBezTo>
                      <a:pt x="82" y="215"/>
                      <a:pt x="86" y="213"/>
                      <a:pt x="89" y="211"/>
                    </a:cubicBezTo>
                    <a:cubicBezTo>
                      <a:pt x="92" y="209"/>
                      <a:pt x="95" y="206"/>
                      <a:pt x="97" y="202"/>
                    </a:cubicBezTo>
                    <a:cubicBezTo>
                      <a:pt x="99" y="198"/>
                      <a:pt x="101" y="195"/>
                      <a:pt x="103" y="191"/>
                    </a:cubicBezTo>
                    <a:cubicBezTo>
                      <a:pt x="104" y="187"/>
                      <a:pt x="105" y="183"/>
                      <a:pt x="106" y="180"/>
                    </a:cubicBezTo>
                    <a:cubicBezTo>
                      <a:pt x="107" y="176"/>
                      <a:pt x="108" y="173"/>
                      <a:pt x="108" y="170"/>
                    </a:cubicBezTo>
                    <a:close/>
                    <a:moveTo>
                      <a:pt x="3" y="150"/>
                    </a:moveTo>
                    <a:lnTo>
                      <a:pt x="3" y="150"/>
                    </a:lnTo>
                    <a:lnTo>
                      <a:pt x="18" y="73"/>
                    </a:lnTo>
                    <a:cubicBezTo>
                      <a:pt x="18" y="68"/>
                      <a:pt x="20" y="63"/>
                      <a:pt x="21" y="57"/>
                    </a:cubicBezTo>
                    <a:cubicBezTo>
                      <a:pt x="23" y="51"/>
                      <a:pt x="25" y="45"/>
                      <a:pt x="28" y="40"/>
                    </a:cubicBezTo>
                    <a:cubicBezTo>
                      <a:pt x="31" y="34"/>
                      <a:pt x="35" y="28"/>
                      <a:pt x="39" y="23"/>
                    </a:cubicBezTo>
                    <a:cubicBezTo>
                      <a:pt x="43" y="17"/>
                      <a:pt x="48" y="13"/>
                      <a:pt x="54" y="9"/>
                    </a:cubicBezTo>
                    <a:cubicBezTo>
                      <a:pt x="60" y="5"/>
                      <a:pt x="67" y="3"/>
                      <a:pt x="75" y="1"/>
                    </a:cubicBezTo>
                    <a:cubicBezTo>
                      <a:pt x="83" y="0"/>
                      <a:pt x="92" y="0"/>
                      <a:pt x="103" y="2"/>
                    </a:cubicBezTo>
                    <a:cubicBezTo>
                      <a:pt x="113" y="4"/>
                      <a:pt x="121" y="7"/>
                      <a:pt x="128" y="11"/>
                    </a:cubicBezTo>
                    <a:cubicBezTo>
                      <a:pt x="135" y="15"/>
                      <a:pt x="140" y="20"/>
                      <a:pt x="145" y="26"/>
                    </a:cubicBezTo>
                    <a:cubicBezTo>
                      <a:pt x="149" y="32"/>
                      <a:pt x="152" y="38"/>
                      <a:pt x="154" y="44"/>
                    </a:cubicBezTo>
                    <a:cubicBezTo>
                      <a:pt x="156" y="51"/>
                      <a:pt x="157" y="57"/>
                      <a:pt x="158" y="64"/>
                    </a:cubicBezTo>
                    <a:cubicBezTo>
                      <a:pt x="158" y="70"/>
                      <a:pt x="158" y="77"/>
                      <a:pt x="157" y="83"/>
                    </a:cubicBezTo>
                    <a:cubicBezTo>
                      <a:pt x="157" y="89"/>
                      <a:pt x="156" y="94"/>
                      <a:pt x="155" y="99"/>
                    </a:cubicBezTo>
                    <a:lnTo>
                      <a:pt x="141" y="176"/>
                    </a:lnTo>
                    <a:cubicBezTo>
                      <a:pt x="140" y="180"/>
                      <a:pt x="139" y="186"/>
                      <a:pt x="137" y="191"/>
                    </a:cubicBezTo>
                    <a:cubicBezTo>
                      <a:pt x="135" y="197"/>
                      <a:pt x="133" y="203"/>
                      <a:pt x="130" y="209"/>
                    </a:cubicBezTo>
                    <a:cubicBezTo>
                      <a:pt x="127" y="215"/>
                      <a:pt x="124" y="221"/>
                      <a:pt x="120" y="226"/>
                    </a:cubicBezTo>
                    <a:cubicBezTo>
                      <a:pt x="116" y="231"/>
                      <a:pt x="110" y="236"/>
                      <a:pt x="104" y="240"/>
                    </a:cubicBezTo>
                    <a:cubicBezTo>
                      <a:pt x="98" y="243"/>
                      <a:pt x="91" y="246"/>
                      <a:pt x="84" y="247"/>
                    </a:cubicBezTo>
                    <a:cubicBezTo>
                      <a:pt x="76" y="249"/>
                      <a:pt x="67" y="249"/>
                      <a:pt x="56" y="247"/>
                    </a:cubicBezTo>
                    <a:cubicBezTo>
                      <a:pt x="46" y="245"/>
                      <a:pt x="38" y="242"/>
                      <a:pt x="31" y="238"/>
                    </a:cubicBezTo>
                    <a:cubicBezTo>
                      <a:pt x="24" y="233"/>
                      <a:pt x="18" y="228"/>
                      <a:pt x="14" y="223"/>
                    </a:cubicBezTo>
                    <a:cubicBezTo>
                      <a:pt x="10" y="217"/>
                      <a:pt x="7" y="211"/>
                      <a:pt x="5" y="204"/>
                    </a:cubicBezTo>
                    <a:cubicBezTo>
                      <a:pt x="3" y="198"/>
                      <a:pt x="1" y="191"/>
                      <a:pt x="1" y="185"/>
                    </a:cubicBezTo>
                    <a:cubicBezTo>
                      <a:pt x="0" y="178"/>
                      <a:pt x="0" y="172"/>
                      <a:pt x="1" y="166"/>
                    </a:cubicBezTo>
                    <a:cubicBezTo>
                      <a:pt x="2" y="160"/>
                      <a:pt x="2" y="154"/>
                      <a:pt x="3" y="1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40" name="Freeform 173">
                <a:extLst>
                  <a:ext uri="{FF2B5EF4-FFF2-40B4-BE49-F238E27FC236}">
                    <a16:creationId xmlns:a16="http://schemas.microsoft.com/office/drawing/2014/main" id="{080E28C2-7460-41F6-9321-E0B61BD191CA}"/>
                  </a:ext>
                </a:extLst>
              </p:cNvPr>
              <p:cNvSpPr>
                <a:spLocks noEditPoints="1"/>
              </p:cNvSpPr>
              <p:nvPr/>
            </p:nvSpPr>
            <p:spPr bwMode="auto">
              <a:xfrm>
                <a:off x="6646" y="1070"/>
                <a:ext cx="47" cy="64"/>
              </a:xfrm>
              <a:custGeom>
                <a:avLst/>
                <a:gdLst>
                  <a:gd name="T0" fmla="*/ 109 w 177"/>
                  <a:gd name="T1" fmla="*/ 171 h 244"/>
                  <a:gd name="T2" fmla="*/ 109 w 177"/>
                  <a:gd name="T3" fmla="*/ 171 h 244"/>
                  <a:gd name="T4" fmla="*/ 137 w 177"/>
                  <a:gd name="T5" fmla="*/ 98 h 244"/>
                  <a:gd name="T6" fmla="*/ 141 w 177"/>
                  <a:gd name="T7" fmla="*/ 89 h 244"/>
                  <a:gd name="T8" fmla="*/ 143 w 177"/>
                  <a:gd name="T9" fmla="*/ 77 h 244"/>
                  <a:gd name="T10" fmla="*/ 144 w 177"/>
                  <a:gd name="T11" fmla="*/ 65 h 244"/>
                  <a:gd name="T12" fmla="*/ 142 w 177"/>
                  <a:gd name="T13" fmla="*/ 53 h 244"/>
                  <a:gd name="T14" fmla="*/ 135 w 177"/>
                  <a:gd name="T15" fmla="*/ 42 h 244"/>
                  <a:gd name="T16" fmla="*/ 122 w 177"/>
                  <a:gd name="T17" fmla="*/ 35 h 244"/>
                  <a:gd name="T18" fmla="*/ 100 w 177"/>
                  <a:gd name="T19" fmla="*/ 33 h 244"/>
                  <a:gd name="T20" fmla="*/ 85 w 177"/>
                  <a:gd name="T21" fmla="*/ 42 h 244"/>
                  <a:gd name="T22" fmla="*/ 75 w 177"/>
                  <a:gd name="T23" fmla="*/ 57 h 244"/>
                  <a:gd name="T24" fmla="*/ 68 w 177"/>
                  <a:gd name="T25" fmla="*/ 72 h 244"/>
                  <a:gd name="T26" fmla="*/ 40 w 177"/>
                  <a:gd name="T27" fmla="*/ 145 h 244"/>
                  <a:gd name="T28" fmla="*/ 37 w 177"/>
                  <a:gd name="T29" fmla="*/ 155 h 244"/>
                  <a:gd name="T30" fmla="*/ 34 w 177"/>
                  <a:gd name="T31" fmla="*/ 166 h 244"/>
                  <a:gd name="T32" fmla="*/ 33 w 177"/>
                  <a:gd name="T33" fmla="*/ 178 h 244"/>
                  <a:gd name="T34" fmla="*/ 35 w 177"/>
                  <a:gd name="T35" fmla="*/ 190 h 244"/>
                  <a:gd name="T36" fmla="*/ 42 w 177"/>
                  <a:gd name="T37" fmla="*/ 201 h 244"/>
                  <a:gd name="T38" fmla="*/ 55 w 177"/>
                  <a:gd name="T39" fmla="*/ 209 h 244"/>
                  <a:gd name="T40" fmla="*/ 70 w 177"/>
                  <a:gd name="T41" fmla="*/ 212 h 244"/>
                  <a:gd name="T42" fmla="*/ 83 w 177"/>
                  <a:gd name="T43" fmla="*/ 209 h 244"/>
                  <a:gd name="T44" fmla="*/ 92 w 177"/>
                  <a:gd name="T45" fmla="*/ 201 h 244"/>
                  <a:gd name="T46" fmla="*/ 100 w 177"/>
                  <a:gd name="T47" fmla="*/ 191 h 244"/>
                  <a:gd name="T48" fmla="*/ 105 w 177"/>
                  <a:gd name="T49" fmla="*/ 181 h 244"/>
                  <a:gd name="T50" fmla="*/ 109 w 177"/>
                  <a:gd name="T51" fmla="*/ 171 h 244"/>
                  <a:gd name="T52" fmla="*/ 9 w 177"/>
                  <a:gd name="T53" fmla="*/ 133 h 244"/>
                  <a:gd name="T54" fmla="*/ 9 w 177"/>
                  <a:gd name="T55" fmla="*/ 133 h 244"/>
                  <a:gd name="T56" fmla="*/ 37 w 177"/>
                  <a:gd name="T57" fmla="*/ 60 h 244"/>
                  <a:gd name="T58" fmla="*/ 44 w 177"/>
                  <a:gd name="T59" fmla="*/ 45 h 244"/>
                  <a:gd name="T60" fmla="*/ 54 w 177"/>
                  <a:gd name="T61" fmla="*/ 29 h 244"/>
                  <a:gd name="T62" fmla="*/ 67 w 177"/>
                  <a:gd name="T63" fmla="*/ 14 h 244"/>
                  <a:gd name="T64" fmla="*/ 85 w 177"/>
                  <a:gd name="T65" fmla="*/ 4 h 244"/>
                  <a:gd name="T66" fmla="*/ 107 w 177"/>
                  <a:gd name="T67" fmla="*/ 0 h 244"/>
                  <a:gd name="T68" fmla="*/ 133 w 177"/>
                  <a:gd name="T69" fmla="*/ 5 h 244"/>
                  <a:gd name="T70" fmla="*/ 157 w 177"/>
                  <a:gd name="T71" fmla="*/ 19 h 244"/>
                  <a:gd name="T72" fmla="*/ 171 w 177"/>
                  <a:gd name="T73" fmla="*/ 37 h 244"/>
                  <a:gd name="T74" fmla="*/ 176 w 177"/>
                  <a:gd name="T75" fmla="*/ 56 h 244"/>
                  <a:gd name="T76" fmla="*/ 177 w 177"/>
                  <a:gd name="T77" fmla="*/ 76 h 244"/>
                  <a:gd name="T78" fmla="*/ 173 w 177"/>
                  <a:gd name="T79" fmla="*/ 95 h 244"/>
                  <a:gd name="T80" fmla="*/ 168 w 177"/>
                  <a:gd name="T81" fmla="*/ 110 h 244"/>
                  <a:gd name="T82" fmla="*/ 140 w 177"/>
                  <a:gd name="T83" fmla="*/ 183 h 244"/>
                  <a:gd name="T84" fmla="*/ 134 w 177"/>
                  <a:gd name="T85" fmla="*/ 198 h 244"/>
                  <a:gd name="T86" fmla="*/ 124 w 177"/>
                  <a:gd name="T87" fmla="*/ 214 h 244"/>
                  <a:gd name="T88" fmla="*/ 110 w 177"/>
                  <a:gd name="T89" fmla="*/ 229 h 244"/>
                  <a:gd name="T90" fmla="*/ 93 w 177"/>
                  <a:gd name="T91" fmla="*/ 240 h 244"/>
                  <a:gd name="T92" fmla="*/ 71 w 177"/>
                  <a:gd name="T93" fmla="*/ 244 h 244"/>
                  <a:gd name="T94" fmla="*/ 44 w 177"/>
                  <a:gd name="T95" fmla="*/ 238 h 244"/>
                  <a:gd name="T96" fmla="*/ 21 w 177"/>
                  <a:gd name="T97" fmla="*/ 225 h 244"/>
                  <a:gd name="T98" fmla="*/ 7 w 177"/>
                  <a:gd name="T99" fmla="*/ 207 h 244"/>
                  <a:gd name="T100" fmla="*/ 1 w 177"/>
                  <a:gd name="T101" fmla="*/ 187 h 244"/>
                  <a:gd name="T102" fmla="*/ 1 w 177"/>
                  <a:gd name="T103" fmla="*/ 167 h 244"/>
                  <a:gd name="T104" fmla="*/ 4 w 177"/>
                  <a:gd name="T105" fmla="*/ 149 h 244"/>
                  <a:gd name="T106" fmla="*/ 9 w 177"/>
                  <a:gd name="T107" fmla="*/ 13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 h="244">
                    <a:moveTo>
                      <a:pt x="109" y="171"/>
                    </a:moveTo>
                    <a:lnTo>
                      <a:pt x="109" y="171"/>
                    </a:lnTo>
                    <a:lnTo>
                      <a:pt x="137" y="98"/>
                    </a:lnTo>
                    <a:cubicBezTo>
                      <a:pt x="138" y="96"/>
                      <a:pt x="139" y="92"/>
                      <a:pt x="141" y="89"/>
                    </a:cubicBezTo>
                    <a:cubicBezTo>
                      <a:pt x="142" y="85"/>
                      <a:pt x="143" y="81"/>
                      <a:pt x="143" y="77"/>
                    </a:cubicBezTo>
                    <a:cubicBezTo>
                      <a:pt x="144" y="73"/>
                      <a:pt x="144" y="69"/>
                      <a:pt x="144" y="65"/>
                    </a:cubicBezTo>
                    <a:cubicBezTo>
                      <a:pt x="144" y="61"/>
                      <a:pt x="144" y="57"/>
                      <a:pt x="142" y="53"/>
                    </a:cubicBezTo>
                    <a:cubicBezTo>
                      <a:pt x="141" y="49"/>
                      <a:pt x="138" y="46"/>
                      <a:pt x="135" y="42"/>
                    </a:cubicBezTo>
                    <a:cubicBezTo>
                      <a:pt x="132" y="39"/>
                      <a:pt x="128" y="37"/>
                      <a:pt x="122" y="35"/>
                    </a:cubicBezTo>
                    <a:cubicBezTo>
                      <a:pt x="114" y="31"/>
                      <a:pt x="106" y="31"/>
                      <a:pt x="100" y="33"/>
                    </a:cubicBezTo>
                    <a:cubicBezTo>
                      <a:pt x="94" y="35"/>
                      <a:pt x="89" y="38"/>
                      <a:pt x="85" y="42"/>
                    </a:cubicBezTo>
                    <a:cubicBezTo>
                      <a:pt x="81" y="47"/>
                      <a:pt x="77" y="52"/>
                      <a:pt x="75" y="57"/>
                    </a:cubicBezTo>
                    <a:cubicBezTo>
                      <a:pt x="72" y="63"/>
                      <a:pt x="70" y="68"/>
                      <a:pt x="68" y="72"/>
                    </a:cubicBezTo>
                    <a:lnTo>
                      <a:pt x="40" y="145"/>
                    </a:lnTo>
                    <a:cubicBezTo>
                      <a:pt x="39" y="148"/>
                      <a:pt x="38" y="151"/>
                      <a:pt x="37" y="155"/>
                    </a:cubicBezTo>
                    <a:cubicBezTo>
                      <a:pt x="36" y="158"/>
                      <a:pt x="35" y="162"/>
                      <a:pt x="34" y="166"/>
                    </a:cubicBezTo>
                    <a:cubicBezTo>
                      <a:pt x="33" y="170"/>
                      <a:pt x="33" y="174"/>
                      <a:pt x="33" y="178"/>
                    </a:cubicBezTo>
                    <a:cubicBezTo>
                      <a:pt x="33" y="183"/>
                      <a:pt x="34" y="187"/>
                      <a:pt x="35" y="190"/>
                    </a:cubicBezTo>
                    <a:cubicBezTo>
                      <a:pt x="37" y="194"/>
                      <a:pt x="39" y="198"/>
                      <a:pt x="42" y="201"/>
                    </a:cubicBezTo>
                    <a:cubicBezTo>
                      <a:pt x="45" y="204"/>
                      <a:pt x="50" y="207"/>
                      <a:pt x="55" y="209"/>
                    </a:cubicBezTo>
                    <a:cubicBezTo>
                      <a:pt x="61" y="211"/>
                      <a:pt x="66" y="212"/>
                      <a:pt x="70" y="212"/>
                    </a:cubicBezTo>
                    <a:cubicBezTo>
                      <a:pt x="75" y="212"/>
                      <a:pt x="79" y="210"/>
                      <a:pt x="83" y="209"/>
                    </a:cubicBezTo>
                    <a:cubicBezTo>
                      <a:pt x="86" y="207"/>
                      <a:pt x="90" y="204"/>
                      <a:pt x="92" y="201"/>
                    </a:cubicBezTo>
                    <a:cubicBezTo>
                      <a:pt x="95" y="198"/>
                      <a:pt x="98" y="195"/>
                      <a:pt x="100" y="191"/>
                    </a:cubicBezTo>
                    <a:cubicBezTo>
                      <a:pt x="102" y="188"/>
                      <a:pt x="104" y="184"/>
                      <a:pt x="105" y="181"/>
                    </a:cubicBezTo>
                    <a:cubicBezTo>
                      <a:pt x="107" y="177"/>
                      <a:pt x="108" y="174"/>
                      <a:pt x="109" y="171"/>
                    </a:cubicBezTo>
                    <a:close/>
                    <a:moveTo>
                      <a:pt x="9" y="133"/>
                    </a:moveTo>
                    <a:lnTo>
                      <a:pt x="9" y="133"/>
                    </a:lnTo>
                    <a:lnTo>
                      <a:pt x="37" y="60"/>
                    </a:lnTo>
                    <a:cubicBezTo>
                      <a:pt x="39" y="56"/>
                      <a:pt x="41" y="51"/>
                      <a:pt x="44" y="45"/>
                    </a:cubicBezTo>
                    <a:cubicBezTo>
                      <a:pt x="46" y="40"/>
                      <a:pt x="50" y="35"/>
                      <a:pt x="54" y="29"/>
                    </a:cubicBezTo>
                    <a:cubicBezTo>
                      <a:pt x="58" y="24"/>
                      <a:pt x="62" y="19"/>
                      <a:pt x="67" y="14"/>
                    </a:cubicBezTo>
                    <a:cubicBezTo>
                      <a:pt x="72" y="10"/>
                      <a:pt x="78" y="6"/>
                      <a:pt x="85" y="4"/>
                    </a:cubicBezTo>
                    <a:cubicBezTo>
                      <a:pt x="91" y="1"/>
                      <a:pt x="99" y="0"/>
                      <a:pt x="107" y="0"/>
                    </a:cubicBezTo>
                    <a:cubicBezTo>
                      <a:pt x="115" y="0"/>
                      <a:pt x="124" y="2"/>
                      <a:pt x="133" y="5"/>
                    </a:cubicBezTo>
                    <a:cubicBezTo>
                      <a:pt x="143" y="9"/>
                      <a:pt x="151" y="14"/>
                      <a:pt x="157" y="19"/>
                    </a:cubicBezTo>
                    <a:cubicBezTo>
                      <a:pt x="163" y="24"/>
                      <a:pt x="167" y="30"/>
                      <a:pt x="171" y="37"/>
                    </a:cubicBezTo>
                    <a:cubicBezTo>
                      <a:pt x="174" y="43"/>
                      <a:pt x="176" y="49"/>
                      <a:pt x="176" y="56"/>
                    </a:cubicBezTo>
                    <a:cubicBezTo>
                      <a:pt x="177" y="63"/>
                      <a:pt x="177" y="70"/>
                      <a:pt x="177" y="76"/>
                    </a:cubicBezTo>
                    <a:cubicBezTo>
                      <a:pt x="176" y="83"/>
                      <a:pt x="175" y="89"/>
                      <a:pt x="173" y="95"/>
                    </a:cubicBezTo>
                    <a:cubicBezTo>
                      <a:pt x="171" y="101"/>
                      <a:pt x="170" y="106"/>
                      <a:pt x="168" y="110"/>
                    </a:cubicBezTo>
                    <a:lnTo>
                      <a:pt x="140" y="183"/>
                    </a:lnTo>
                    <a:cubicBezTo>
                      <a:pt x="138" y="188"/>
                      <a:pt x="136" y="192"/>
                      <a:pt x="134" y="198"/>
                    </a:cubicBezTo>
                    <a:cubicBezTo>
                      <a:pt x="131" y="203"/>
                      <a:pt x="128" y="209"/>
                      <a:pt x="124" y="214"/>
                    </a:cubicBezTo>
                    <a:cubicBezTo>
                      <a:pt x="120" y="219"/>
                      <a:pt x="116" y="224"/>
                      <a:pt x="110" y="229"/>
                    </a:cubicBezTo>
                    <a:cubicBezTo>
                      <a:pt x="105" y="233"/>
                      <a:pt x="99" y="237"/>
                      <a:pt x="93" y="240"/>
                    </a:cubicBezTo>
                    <a:cubicBezTo>
                      <a:pt x="86" y="242"/>
                      <a:pt x="79" y="244"/>
                      <a:pt x="71" y="244"/>
                    </a:cubicBezTo>
                    <a:cubicBezTo>
                      <a:pt x="63" y="244"/>
                      <a:pt x="54" y="242"/>
                      <a:pt x="44" y="238"/>
                    </a:cubicBezTo>
                    <a:cubicBezTo>
                      <a:pt x="35" y="234"/>
                      <a:pt x="27" y="230"/>
                      <a:pt x="21" y="225"/>
                    </a:cubicBezTo>
                    <a:cubicBezTo>
                      <a:pt x="15" y="219"/>
                      <a:pt x="10" y="213"/>
                      <a:pt x="7" y="207"/>
                    </a:cubicBezTo>
                    <a:cubicBezTo>
                      <a:pt x="4" y="201"/>
                      <a:pt x="2" y="194"/>
                      <a:pt x="1" y="187"/>
                    </a:cubicBezTo>
                    <a:cubicBezTo>
                      <a:pt x="0" y="180"/>
                      <a:pt x="0" y="174"/>
                      <a:pt x="1" y="167"/>
                    </a:cubicBezTo>
                    <a:cubicBezTo>
                      <a:pt x="1" y="161"/>
                      <a:pt x="3" y="154"/>
                      <a:pt x="4" y="149"/>
                    </a:cubicBezTo>
                    <a:cubicBezTo>
                      <a:pt x="6" y="143"/>
                      <a:pt x="8" y="138"/>
                      <a:pt x="9" y="133"/>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41" name="Freeform 174">
                <a:extLst>
                  <a:ext uri="{FF2B5EF4-FFF2-40B4-BE49-F238E27FC236}">
                    <a16:creationId xmlns:a16="http://schemas.microsoft.com/office/drawing/2014/main" id="{7716107A-70EB-470C-9D59-302CFB9BD012}"/>
                  </a:ext>
                </a:extLst>
              </p:cNvPr>
              <p:cNvSpPr>
                <a:spLocks noEditPoints="1"/>
              </p:cNvSpPr>
              <p:nvPr/>
            </p:nvSpPr>
            <p:spPr bwMode="auto">
              <a:xfrm>
                <a:off x="6384" y="928"/>
                <a:ext cx="46" cy="64"/>
              </a:xfrm>
              <a:custGeom>
                <a:avLst/>
                <a:gdLst>
                  <a:gd name="T0" fmla="*/ 109 w 177"/>
                  <a:gd name="T1" fmla="*/ 172 h 244"/>
                  <a:gd name="T2" fmla="*/ 109 w 177"/>
                  <a:gd name="T3" fmla="*/ 172 h 244"/>
                  <a:gd name="T4" fmla="*/ 137 w 177"/>
                  <a:gd name="T5" fmla="*/ 99 h 244"/>
                  <a:gd name="T6" fmla="*/ 140 w 177"/>
                  <a:gd name="T7" fmla="*/ 89 h 244"/>
                  <a:gd name="T8" fmla="*/ 143 w 177"/>
                  <a:gd name="T9" fmla="*/ 78 h 244"/>
                  <a:gd name="T10" fmla="*/ 144 w 177"/>
                  <a:gd name="T11" fmla="*/ 65 h 244"/>
                  <a:gd name="T12" fmla="*/ 142 w 177"/>
                  <a:gd name="T13" fmla="*/ 53 h 244"/>
                  <a:gd name="T14" fmla="*/ 135 w 177"/>
                  <a:gd name="T15" fmla="*/ 43 h 244"/>
                  <a:gd name="T16" fmla="*/ 122 w 177"/>
                  <a:gd name="T17" fmla="*/ 35 h 244"/>
                  <a:gd name="T18" fmla="*/ 100 w 177"/>
                  <a:gd name="T19" fmla="*/ 33 h 244"/>
                  <a:gd name="T20" fmla="*/ 85 w 177"/>
                  <a:gd name="T21" fmla="*/ 43 h 244"/>
                  <a:gd name="T22" fmla="*/ 74 w 177"/>
                  <a:gd name="T23" fmla="*/ 58 h 244"/>
                  <a:gd name="T24" fmla="*/ 68 w 177"/>
                  <a:gd name="T25" fmla="*/ 72 h 244"/>
                  <a:gd name="T26" fmla="*/ 40 w 177"/>
                  <a:gd name="T27" fmla="*/ 146 h 244"/>
                  <a:gd name="T28" fmla="*/ 36 w 177"/>
                  <a:gd name="T29" fmla="*/ 155 h 244"/>
                  <a:gd name="T30" fmla="*/ 34 w 177"/>
                  <a:gd name="T31" fmla="*/ 167 h 244"/>
                  <a:gd name="T32" fmla="*/ 32 w 177"/>
                  <a:gd name="T33" fmla="*/ 179 h 244"/>
                  <a:gd name="T34" fmla="*/ 35 w 177"/>
                  <a:gd name="T35" fmla="*/ 191 h 244"/>
                  <a:gd name="T36" fmla="*/ 42 w 177"/>
                  <a:gd name="T37" fmla="*/ 201 h 244"/>
                  <a:gd name="T38" fmla="*/ 55 w 177"/>
                  <a:gd name="T39" fmla="*/ 209 h 244"/>
                  <a:gd name="T40" fmla="*/ 70 w 177"/>
                  <a:gd name="T41" fmla="*/ 212 h 244"/>
                  <a:gd name="T42" fmla="*/ 82 w 177"/>
                  <a:gd name="T43" fmla="*/ 209 h 244"/>
                  <a:gd name="T44" fmla="*/ 92 w 177"/>
                  <a:gd name="T45" fmla="*/ 202 h 244"/>
                  <a:gd name="T46" fmla="*/ 99 w 177"/>
                  <a:gd name="T47" fmla="*/ 192 h 244"/>
                  <a:gd name="T48" fmla="*/ 105 w 177"/>
                  <a:gd name="T49" fmla="*/ 181 h 244"/>
                  <a:gd name="T50" fmla="*/ 109 w 177"/>
                  <a:gd name="T51" fmla="*/ 172 h 244"/>
                  <a:gd name="T52" fmla="*/ 9 w 177"/>
                  <a:gd name="T53" fmla="*/ 134 h 244"/>
                  <a:gd name="T54" fmla="*/ 9 w 177"/>
                  <a:gd name="T55" fmla="*/ 134 h 244"/>
                  <a:gd name="T56" fmla="*/ 37 w 177"/>
                  <a:gd name="T57" fmla="*/ 61 h 244"/>
                  <a:gd name="T58" fmla="*/ 43 w 177"/>
                  <a:gd name="T59" fmla="*/ 46 h 244"/>
                  <a:gd name="T60" fmla="*/ 53 w 177"/>
                  <a:gd name="T61" fmla="*/ 30 h 244"/>
                  <a:gd name="T62" fmla="*/ 67 w 177"/>
                  <a:gd name="T63" fmla="*/ 15 h 244"/>
                  <a:gd name="T64" fmla="*/ 84 w 177"/>
                  <a:gd name="T65" fmla="*/ 4 h 244"/>
                  <a:gd name="T66" fmla="*/ 106 w 177"/>
                  <a:gd name="T67" fmla="*/ 0 h 244"/>
                  <a:gd name="T68" fmla="*/ 133 w 177"/>
                  <a:gd name="T69" fmla="*/ 6 h 244"/>
                  <a:gd name="T70" fmla="*/ 157 w 177"/>
                  <a:gd name="T71" fmla="*/ 19 h 244"/>
                  <a:gd name="T72" fmla="*/ 170 w 177"/>
                  <a:gd name="T73" fmla="*/ 37 h 244"/>
                  <a:gd name="T74" fmla="*/ 176 w 177"/>
                  <a:gd name="T75" fmla="*/ 57 h 244"/>
                  <a:gd name="T76" fmla="*/ 176 w 177"/>
                  <a:gd name="T77" fmla="*/ 77 h 244"/>
                  <a:gd name="T78" fmla="*/ 173 w 177"/>
                  <a:gd name="T79" fmla="*/ 95 h 244"/>
                  <a:gd name="T80" fmla="*/ 168 w 177"/>
                  <a:gd name="T81" fmla="*/ 111 h 244"/>
                  <a:gd name="T82" fmla="*/ 140 w 177"/>
                  <a:gd name="T83" fmla="*/ 184 h 244"/>
                  <a:gd name="T84" fmla="*/ 133 w 177"/>
                  <a:gd name="T85" fmla="*/ 198 h 244"/>
                  <a:gd name="T86" fmla="*/ 123 w 177"/>
                  <a:gd name="T87" fmla="*/ 215 h 244"/>
                  <a:gd name="T88" fmla="*/ 110 w 177"/>
                  <a:gd name="T89" fmla="*/ 229 h 244"/>
                  <a:gd name="T90" fmla="*/ 92 w 177"/>
                  <a:gd name="T91" fmla="*/ 240 h 244"/>
                  <a:gd name="T92" fmla="*/ 71 w 177"/>
                  <a:gd name="T93" fmla="*/ 244 h 244"/>
                  <a:gd name="T94" fmla="*/ 44 w 177"/>
                  <a:gd name="T95" fmla="*/ 239 h 244"/>
                  <a:gd name="T96" fmla="*/ 20 w 177"/>
                  <a:gd name="T97" fmla="*/ 225 h 244"/>
                  <a:gd name="T98" fmla="*/ 7 w 177"/>
                  <a:gd name="T99" fmla="*/ 207 h 244"/>
                  <a:gd name="T100" fmla="*/ 1 w 177"/>
                  <a:gd name="T101" fmla="*/ 188 h 244"/>
                  <a:gd name="T102" fmla="*/ 0 w 177"/>
                  <a:gd name="T103" fmla="*/ 168 h 244"/>
                  <a:gd name="T104" fmla="*/ 4 w 177"/>
                  <a:gd name="T105" fmla="*/ 149 h 244"/>
                  <a:gd name="T106" fmla="*/ 9 w 177"/>
                  <a:gd name="T107" fmla="*/ 13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 h="244">
                    <a:moveTo>
                      <a:pt x="109" y="172"/>
                    </a:moveTo>
                    <a:lnTo>
                      <a:pt x="109" y="172"/>
                    </a:lnTo>
                    <a:lnTo>
                      <a:pt x="137" y="99"/>
                    </a:lnTo>
                    <a:cubicBezTo>
                      <a:pt x="138" y="96"/>
                      <a:pt x="139" y="93"/>
                      <a:pt x="140" y="89"/>
                    </a:cubicBezTo>
                    <a:cubicBezTo>
                      <a:pt x="141" y="86"/>
                      <a:pt x="142" y="82"/>
                      <a:pt x="143" y="78"/>
                    </a:cubicBezTo>
                    <a:cubicBezTo>
                      <a:pt x="144" y="74"/>
                      <a:pt x="144" y="70"/>
                      <a:pt x="144" y="65"/>
                    </a:cubicBezTo>
                    <a:cubicBezTo>
                      <a:pt x="144" y="61"/>
                      <a:pt x="143" y="57"/>
                      <a:pt x="142" y="53"/>
                    </a:cubicBezTo>
                    <a:cubicBezTo>
                      <a:pt x="140" y="50"/>
                      <a:pt x="138" y="46"/>
                      <a:pt x="135" y="43"/>
                    </a:cubicBezTo>
                    <a:cubicBezTo>
                      <a:pt x="132" y="40"/>
                      <a:pt x="127" y="37"/>
                      <a:pt x="122" y="35"/>
                    </a:cubicBezTo>
                    <a:cubicBezTo>
                      <a:pt x="113" y="32"/>
                      <a:pt x="106" y="31"/>
                      <a:pt x="100" y="33"/>
                    </a:cubicBezTo>
                    <a:cubicBezTo>
                      <a:pt x="94" y="35"/>
                      <a:pt x="89" y="38"/>
                      <a:pt x="85" y="43"/>
                    </a:cubicBezTo>
                    <a:cubicBezTo>
                      <a:pt x="80" y="47"/>
                      <a:pt x="77" y="52"/>
                      <a:pt x="74" y="58"/>
                    </a:cubicBezTo>
                    <a:cubicBezTo>
                      <a:pt x="72" y="63"/>
                      <a:pt x="69" y="68"/>
                      <a:pt x="68" y="72"/>
                    </a:cubicBezTo>
                    <a:lnTo>
                      <a:pt x="40" y="146"/>
                    </a:lnTo>
                    <a:cubicBezTo>
                      <a:pt x="39" y="148"/>
                      <a:pt x="38" y="152"/>
                      <a:pt x="36" y="155"/>
                    </a:cubicBezTo>
                    <a:cubicBezTo>
                      <a:pt x="35" y="159"/>
                      <a:pt x="34" y="163"/>
                      <a:pt x="34" y="167"/>
                    </a:cubicBezTo>
                    <a:cubicBezTo>
                      <a:pt x="33" y="171"/>
                      <a:pt x="32" y="175"/>
                      <a:pt x="32" y="179"/>
                    </a:cubicBezTo>
                    <a:cubicBezTo>
                      <a:pt x="33" y="183"/>
                      <a:pt x="33" y="187"/>
                      <a:pt x="35" y="191"/>
                    </a:cubicBezTo>
                    <a:cubicBezTo>
                      <a:pt x="36" y="195"/>
                      <a:pt x="39" y="198"/>
                      <a:pt x="42" y="201"/>
                    </a:cubicBezTo>
                    <a:cubicBezTo>
                      <a:pt x="45" y="205"/>
                      <a:pt x="49" y="207"/>
                      <a:pt x="55" y="209"/>
                    </a:cubicBezTo>
                    <a:cubicBezTo>
                      <a:pt x="60" y="211"/>
                      <a:pt x="65" y="212"/>
                      <a:pt x="70" y="212"/>
                    </a:cubicBezTo>
                    <a:cubicBezTo>
                      <a:pt x="74" y="212"/>
                      <a:pt x="79" y="211"/>
                      <a:pt x="82" y="209"/>
                    </a:cubicBezTo>
                    <a:cubicBezTo>
                      <a:pt x="86" y="207"/>
                      <a:pt x="89" y="205"/>
                      <a:pt x="92" y="202"/>
                    </a:cubicBezTo>
                    <a:cubicBezTo>
                      <a:pt x="95" y="199"/>
                      <a:pt x="97" y="195"/>
                      <a:pt x="99" y="192"/>
                    </a:cubicBezTo>
                    <a:cubicBezTo>
                      <a:pt x="101" y="188"/>
                      <a:pt x="103" y="185"/>
                      <a:pt x="105" y="181"/>
                    </a:cubicBezTo>
                    <a:cubicBezTo>
                      <a:pt x="106" y="178"/>
                      <a:pt x="108" y="175"/>
                      <a:pt x="109" y="172"/>
                    </a:cubicBezTo>
                    <a:close/>
                    <a:moveTo>
                      <a:pt x="9" y="134"/>
                    </a:moveTo>
                    <a:lnTo>
                      <a:pt x="9" y="134"/>
                    </a:lnTo>
                    <a:lnTo>
                      <a:pt x="37" y="61"/>
                    </a:lnTo>
                    <a:cubicBezTo>
                      <a:pt x="38" y="56"/>
                      <a:pt x="41" y="51"/>
                      <a:pt x="43" y="46"/>
                    </a:cubicBezTo>
                    <a:cubicBezTo>
                      <a:pt x="46" y="40"/>
                      <a:pt x="49" y="35"/>
                      <a:pt x="53" y="30"/>
                    </a:cubicBezTo>
                    <a:cubicBezTo>
                      <a:pt x="57" y="24"/>
                      <a:pt x="62" y="19"/>
                      <a:pt x="67" y="15"/>
                    </a:cubicBezTo>
                    <a:cubicBezTo>
                      <a:pt x="72" y="10"/>
                      <a:pt x="78" y="7"/>
                      <a:pt x="84" y="4"/>
                    </a:cubicBezTo>
                    <a:cubicBezTo>
                      <a:pt x="91" y="2"/>
                      <a:pt x="98" y="0"/>
                      <a:pt x="106" y="0"/>
                    </a:cubicBezTo>
                    <a:cubicBezTo>
                      <a:pt x="114" y="0"/>
                      <a:pt x="123" y="2"/>
                      <a:pt x="133" y="6"/>
                    </a:cubicBezTo>
                    <a:cubicBezTo>
                      <a:pt x="143" y="10"/>
                      <a:pt x="151" y="14"/>
                      <a:pt x="157" y="19"/>
                    </a:cubicBezTo>
                    <a:cubicBezTo>
                      <a:pt x="162" y="25"/>
                      <a:pt x="167" y="31"/>
                      <a:pt x="170" y="37"/>
                    </a:cubicBezTo>
                    <a:cubicBezTo>
                      <a:pt x="173" y="43"/>
                      <a:pt x="175" y="50"/>
                      <a:pt x="176" y="57"/>
                    </a:cubicBezTo>
                    <a:cubicBezTo>
                      <a:pt x="177" y="64"/>
                      <a:pt x="177" y="70"/>
                      <a:pt x="176" y="77"/>
                    </a:cubicBezTo>
                    <a:cubicBezTo>
                      <a:pt x="175" y="83"/>
                      <a:pt x="174" y="89"/>
                      <a:pt x="173" y="95"/>
                    </a:cubicBezTo>
                    <a:cubicBezTo>
                      <a:pt x="171" y="101"/>
                      <a:pt x="169" y="106"/>
                      <a:pt x="168" y="111"/>
                    </a:cubicBezTo>
                    <a:lnTo>
                      <a:pt x="140" y="184"/>
                    </a:lnTo>
                    <a:cubicBezTo>
                      <a:pt x="138" y="188"/>
                      <a:pt x="136" y="193"/>
                      <a:pt x="133" y="198"/>
                    </a:cubicBezTo>
                    <a:cubicBezTo>
                      <a:pt x="131" y="204"/>
                      <a:pt x="127" y="209"/>
                      <a:pt x="123" y="215"/>
                    </a:cubicBezTo>
                    <a:cubicBezTo>
                      <a:pt x="120" y="220"/>
                      <a:pt x="115" y="225"/>
                      <a:pt x="110" y="229"/>
                    </a:cubicBezTo>
                    <a:cubicBezTo>
                      <a:pt x="105" y="234"/>
                      <a:pt x="99" y="238"/>
                      <a:pt x="92" y="240"/>
                    </a:cubicBezTo>
                    <a:cubicBezTo>
                      <a:pt x="86" y="243"/>
                      <a:pt x="79" y="244"/>
                      <a:pt x="71" y="244"/>
                    </a:cubicBezTo>
                    <a:cubicBezTo>
                      <a:pt x="63" y="244"/>
                      <a:pt x="54" y="242"/>
                      <a:pt x="44" y="239"/>
                    </a:cubicBezTo>
                    <a:cubicBezTo>
                      <a:pt x="34" y="235"/>
                      <a:pt x="26" y="230"/>
                      <a:pt x="20" y="225"/>
                    </a:cubicBezTo>
                    <a:cubicBezTo>
                      <a:pt x="14" y="220"/>
                      <a:pt x="10" y="214"/>
                      <a:pt x="7" y="207"/>
                    </a:cubicBezTo>
                    <a:cubicBezTo>
                      <a:pt x="3" y="201"/>
                      <a:pt x="1" y="195"/>
                      <a:pt x="1" y="188"/>
                    </a:cubicBezTo>
                    <a:cubicBezTo>
                      <a:pt x="0" y="181"/>
                      <a:pt x="0" y="174"/>
                      <a:pt x="0" y="168"/>
                    </a:cubicBezTo>
                    <a:cubicBezTo>
                      <a:pt x="1" y="161"/>
                      <a:pt x="2" y="155"/>
                      <a:pt x="4" y="149"/>
                    </a:cubicBezTo>
                    <a:cubicBezTo>
                      <a:pt x="5" y="143"/>
                      <a:pt x="7" y="138"/>
                      <a:pt x="9" y="13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42" name="Freeform 175">
                <a:extLst>
                  <a:ext uri="{FF2B5EF4-FFF2-40B4-BE49-F238E27FC236}">
                    <a16:creationId xmlns:a16="http://schemas.microsoft.com/office/drawing/2014/main" id="{80F4FBB3-9923-42EA-9DF8-1FE381760B76}"/>
                  </a:ext>
                </a:extLst>
              </p:cNvPr>
              <p:cNvSpPr>
                <a:spLocks/>
              </p:cNvSpPr>
              <p:nvPr/>
            </p:nvSpPr>
            <p:spPr bwMode="auto">
              <a:xfrm>
                <a:off x="6610" y="984"/>
                <a:ext cx="25" cy="65"/>
              </a:xfrm>
              <a:custGeom>
                <a:avLst/>
                <a:gdLst>
                  <a:gd name="T0" fmla="*/ 32 w 94"/>
                  <a:gd name="T1" fmla="*/ 246 h 246"/>
                  <a:gd name="T2" fmla="*/ 32 w 94"/>
                  <a:gd name="T3" fmla="*/ 246 h 246"/>
                  <a:gd name="T4" fmla="*/ 0 w 94"/>
                  <a:gd name="T5" fmla="*/ 237 h 246"/>
                  <a:gd name="T6" fmla="*/ 53 w 94"/>
                  <a:gd name="T7" fmla="*/ 34 h 246"/>
                  <a:gd name="T8" fmla="*/ 12 w 94"/>
                  <a:gd name="T9" fmla="*/ 47 h 246"/>
                  <a:gd name="T10" fmla="*/ 20 w 94"/>
                  <a:gd name="T11" fmla="*/ 15 h 246"/>
                  <a:gd name="T12" fmla="*/ 62 w 94"/>
                  <a:gd name="T13" fmla="*/ 0 h 246"/>
                  <a:gd name="T14" fmla="*/ 94 w 94"/>
                  <a:gd name="T15" fmla="*/ 8 h 246"/>
                  <a:gd name="T16" fmla="*/ 32 w 94"/>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6">
                    <a:moveTo>
                      <a:pt x="32" y="246"/>
                    </a:moveTo>
                    <a:lnTo>
                      <a:pt x="32" y="246"/>
                    </a:lnTo>
                    <a:lnTo>
                      <a:pt x="0" y="237"/>
                    </a:lnTo>
                    <a:lnTo>
                      <a:pt x="53" y="34"/>
                    </a:lnTo>
                    <a:lnTo>
                      <a:pt x="12" y="47"/>
                    </a:lnTo>
                    <a:lnTo>
                      <a:pt x="20" y="15"/>
                    </a:lnTo>
                    <a:lnTo>
                      <a:pt x="62" y="0"/>
                    </a:lnTo>
                    <a:lnTo>
                      <a:pt x="94" y="8"/>
                    </a:lnTo>
                    <a:lnTo>
                      <a:pt x="32" y="24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43" name="Freeform 176">
                <a:extLst>
                  <a:ext uri="{FF2B5EF4-FFF2-40B4-BE49-F238E27FC236}">
                    <a16:creationId xmlns:a16="http://schemas.microsoft.com/office/drawing/2014/main" id="{74F6EE8B-90AB-4B08-A990-41F90BE251E7}"/>
                  </a:ext>
                </a:extLst>
              </p:cNvPr>
              <p:cNvSpPr>
                <a:spLocks/>
              </p:cNvSpPr>
              <p:nvPr/>
            </p:nvSpPr>
            <p:spPr bwMode="auto">
              <a:xfrm>
                <a:off x="6350" y="1032"/>
                <a:ext cx="51" cy="55"/>
              </a:xfrm>
              <a:custGeom>
                <a:avLst/>
                <a:gdLst>
                  <a:gd name="T0" fmla="*/ 196 w 196"/>
                  <a:gd name="T1" fmla="*/ 187 h 208"/>
                  <a:gd name="T2" fmla="*/ 196 w 196"/>
                  <a:gd name="T3" fmla="*/ 187 h 208"/>
                  <a:gd name="T4" fmla="*/ 171 w 196"/>
                  <a:gd name="T5" fmla="*/ 208 h 208"/>
                  <a:gd name="T6" fmla="*/ 34 w 196"/>
                  <a:gd name="T7" fmla="*/ 48 h 208"/>
                  <a:gd name="T8" fmla="*/ 21 w 196"/>
                  <a:gd name="T9" fmla="*/ 90 h 208"/>
                  <a:gd name="T10" fmla="*/ 0 w 196"/>
                  <a:gd name="T11" fmla="*/ 65 h 208"/>
                  <a:gd name="T12" fmla="*/ 11 w 196"/>
                  <a:gd name="T13" fmla="*/ 22 h 208"/>
                  <a:gd name="T14" fmla="*/ 36 w 196"/>
                  <a:gd name="T15" fmla="*/ 0 h 208"/>
                  <a:gd name="T16" fmla="*/ 196 w 196"/>
                  <a:gd name="T17" fmla="*/ 18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208">
                    <a:moveTo>
                      <a:pt x="196" y="187"/>
                    </a:moveTo>
                    <a:lnTo>
                      <a:pt x="196" y="187"/>
                    </a:lnTo>
                    <a:lnTo>
                      <a:pt x="171" y="208"/>
                    </a:lnTo>
                    <a:lnTo>
                      <a:pt x="34" y="48"/>
                    </a:lnTo>
                    <a:lnTo>
                      <a:pt x="21" y="90"/>
                    </a:lnTo>
                    <a:lnTo>
                      <a:pt x="0" y="65"/>
                    </a:lnTo>
                    <a:lnTo>
                      <a:pt x="11" y="22"/>
                    </a:lnTo>
                    <a:lnTo>
                      <a:pt x="36" y="0"/>
                    </a:lnTo>
                    <a:lnTo>
                      <a:pt x="196" y="18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44" name="Freeform 177">
                <a:extLst>
                  <a:ext uri="{FF2B5EF4-FFF2-40B4-BE49-F238E27FC236}">
                    <a16:creationId xmlns:a16="http://schemas.microsoft.com/office/drawing/2014/main" id="{EE35A41E-117E-462D-AAB8-F468AD462A6C}"/>
                  </a:ext>
                </a:extLst>
              </p:cNvPr>
              <p:cNvSpPr>
                <a:spLocks/>
              </p:cNvSpPr>
              <p:nvPr/>
            </p:nvSpPr>
            <p:spPr bwMode="auto">
              <a:xfrm>
                <a:off x="6493" y="929"/>
                <a:ext cx="35" cy="65"/>
              </a:xfrm>
              <a:custGeom>
                <a:avLst/>
                <a:gdLst>
                  <a:gd name="T0" fmla="*/ 132 w 132"/>
                  <a:gd name="T1" fmla="*/ 234 h 244"/>
                  <a:gd name="T2" fmla="*/ 132 w 132"/>
                  <a:gd name="T3" fmla="*/ 234 h 244"/>
                  <a:gd name="T4" fmla="*/ 100 w 132"/>
                  <a:gd name="T5" fmla="*/ 244 h 244"/>
                  <a:gd name="T6" fmla="*/ 38 w 132"/>
                  <a:gd name="T7" fmla="*/ 43 h 244"/>
                  <a:gd name="T8" fmla="*/ 10 w 132"/>
                  <a:gd name="T9" fmla="*/ 76 h 244"/>
                  <a:gd name="T10" fmla="*/ 0 w 132"/>
                  <a:gd name="T11" fmla="*/ 44 h 244"/>
                  <a:gd name="T12" fmla="*/ 28 w 132"/>
                  <a:gd name="T13" fmla="*/ 9 h 244"/>
                  <a:gd name="T14" fmla="*/ 60 w 132"/>
                  <a:gd name="T15" fmla="*/ 0 h 244"/>
                  <a:gd name="T16" fmla="*/ 132 w 132"/>
                  <a:gd name="T17" fmla="*/ 23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244">
                    <a:moveTo>
                      <a:pt x="132" y="234"/>
                    </a:moveTo>
                    <a:lnTo>
                      <a:pt x="132" y="234"/>
                    </a:lnTo>
                    <a:lnTo>
                      <a:pt x="100" y="244"/>
                    </a:lnTo>
                    <a:lnTo>
                      <a:pt x="38" y="43"/>
                    </a:lnTo>
                    <a:lnTo>
                      <a:pt x="10" y="76"/>
                    </a:lnTo>
                    <a:lnTo>
                      <a:pt x="0" y="44"/>
                    </a:lnTo>
                    <a:lnTo>
                      <a:pt x="28" y="9"/>
                    </a:lnTo>
                    <a:lnTo>
                      <a:pt x="60" y="0"/>
                    </a:lnTo>
                    <a:lnTo>
                      <a:pt x="132" y="23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45" name="Freeform 178">
                <a:extLst>
                  <a:ext uri="{FF2B5EF4-FFF2-40B4-BE49-F238E27FC236}">
                    <a16:creationId xmlns:a16="http://schemas.microsoft.com/office/drawing/2014/main" id="{8EB05B33-8CC4-47F7-906E-709DD0466136}"/>
                  </a:ext>
                </a:extLst>
              </p:cNvPr>
              <p:cNvSpPr>
                <a:spLocks/>
              </p:cNvSpPr>
              <p:nvPr/>
            </p:nvSpPr>
            <p:spPr bwMode="auto">
              <a:xfrm>
                <a:off x="6724" y="1037"/>
                <a:ext cx="30" cy="65"/>
              </a:xfrm>
              <a:custGeom>
                <a:avLst/>
                <a:gdLst>
                  <a:gd name="T0" fmla="*/ 113 w 113"/>
                  <a:gd name="T1" fmla="*/ 241 h 247"/>
                  <a:gd name="T2" fmla="*/ 113 w 113"/>
                  <a:gd name="T3" fmla="*/ 241 h 247"/>
                  <a:gd name="T4" fmla="*/ 81 w 113"/>
                  <a:gd name="T5" fmla="*/ 247 h 247"/>
                  <a:gd name="T6" fmla="*/ 38 w 113"/>
                  <a:gd name="T7" fmla="*/ 41 h 247"/>
                  <a:gd name="T8" fmla="*/ 7 w 113"/>
                  <a:gd name="T9" fmla="*/ 72 h 247"/>
                  <a:gd name="T10" fmla="*/ 0 w 113"/>
                  <a:gd name="T11" fmla="*/ 40 h 247"/>
                  <a:gd name="T12" fmla="*/ 31 w 113"/>
                  <a:gd name="T13" fmla="*/ 7 h 247"/>
                  <a:gd name="T14" fmla="*/ 63 w 113"/>
                  <a:gd name="T15" fmla="*/ 0 h 247"/>
                  <a:gd name="T16" fmla="*/ 113 w 113"/>
                  <a:gd name="T17" fmla="*/ 2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47">
                    <a:moveTo>
                      <a:pt x="113" y="241"/>
                    </a:moveTo>
                    <a:lnTo>
                      <a:pt x="113" y="241"/>
                    </a:lnTo>
                    <a:lnTo>
                      <a:pt x="81" y="247"/>
                    </a:lnTo>
                    <a:lnTo>
                      <a:pt x="38" y="41"/>
                    </a:lnTo>
                    <a:lnTo>
                      <a:pt x="7" y="72"/>
                    </a:lnTo>
                    <a:lnTo>
                      <a:pt x="0" y="40"/>
                    </a:lnTo>
                    <a:lnTo>
                      <a:pt x="31" y="7"/>
                    </a:lnTo>
                    <a:lnTo>
                      <a:pt x="63" y="0"/>
                    </a:lnTo>
                    <a:lnTo>
                      <a:pt x="113" y="24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46" name="Freeform 179">
                <a:extLst>
                  <a:ext uri="{FF2B5EF4-FFF2-40B4-BE49-F238E27FC236}">
                    <a16:creationId xmlns:a16="http://schemas.microsoft.com/office/drawing/2014/main" id="{2AD1DA5F-95D6-4BDB-AEF3-B61D324ECD63}"/>
                  </a:ext>
                </a:extLst>
              </p:cNvPr>
              <p:cNvSpPr>
                <a:spLocks/>
              </p:cNvSpPr>
              <p:nvPr/>
            </p:nvSpPr>
            <p:spPr bwMode="auto">
              <a:xfrm>
                <a:off x="6626" y="1187"/>
                <a:ext cx="24" cy="26"/>
              </a:xfrm>
              <a:custGeom>
                <a:avLst/>
                <a:gdLst>
                  <a:gd name="T0" fmla="*/ 5 w 91"/>
                  <a:gd name="T1" fmla="*/ 84 h 98"/>
                  <a:gd name="T2" fmla="*/ 5 w 91"/>
                  <a:gd name="T3" fmla="*/ 84 h 98"/>
                  <a:gd name="T4" fmla="*/ 35 w 91"/>
                  <a:gd name="T5" fmla="*/ 96 h 98"/>
                  <a:gd name="T6" fmla="*/ 36 w 91"/>
                  <a:gd name="T7" fmla="*/ 98 h 98"/>
                  <a:gd name="T8" fmla="*/ 91 w 91"/>
                  <a:gd name="T9" fmla="*/ 19 h 98"/>
                  <a:gd name="T10" fmla="*/ 64 w 91"/>
                  <a:gd name="T11" fmla="*/ 0 h 98"/>
                  <a:gd name="T12" fmla="*/ 19 w 91"/>
                  <a:gd name="T13" fmla="*/ 0 h 98"/>
                  <a:gd name="T14" fmla="*/ 0 w 91"/>
                  <a:gd name="T15" fmla="*/ 27 h 98"/>
                  <a:gd name="T16" fmla="*/ 44 w 91"/>
                  <a:gd name="T17" fmla="*/ 29 h 98"/>
                  <a:gd name="T18" fmla="*/ 5 w 91"/>
                  <a:gd name="T19"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8">
                    <a:moveTo>
                      <a:pt x="5" y="84"/>
                    </a:moveTo>
                    <a:lnTo>
                      <a:pt x="5" y="84"/>
                    </a:lnTo>
                    <a:cubicBezTo>
                      <a:pt x="15" y="87"/>
                      <a:pt x="26" y="90"/>
                      <a:pt x="35" y="96"/>
                    </a:cubicBezTo>
                    <a:cubicBezTo>
                      <a:pt x="35" y="97"/>
                      <a:pt x="36" y="97"/>
                      <a:pt x="36" y="98"/>
                    </a:cubicBezTo>
                    <a:lnTo>
                      <a:pt x="91" y="19"/>
                    </a:lnTo>
                    <a:lnTo>
                      <a:pt x="64" y="0"/>
                    </a:lnTo>
                    <a:lnTo>
                      <a:pt x="19" y="0"/>
                    </a:lnTo>
                    <a:lnTo>
                      <a:pt x="0" y="27"/>
                    </a:lnTo>
                    <a:lnTo>
                      <a:pt x="44" y="29"/>
                    </a:lnTo>
                    <a:lnTo>
                      <a:pt x="5" y="8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47" name="Freeform 180">
                <a:extLst>
                  <a:ext uri="{FF2B5EF4-FFF2-40B4-BE49-F238E27FC236}">
                    <a16:creationId xmlns:a16="http://schemas.microsoft.com/office/drawing/2014/main" id="{9559E551-275D-49E9-9A96-AAE95F7E4AA9}"/>
                  </a:ext>
                </a:extLst>
              </p:cNvPr>
              <p:cNvSpPr>
                <a:spLocks/>
              </p:cNvSpPr>
              <p:nvPr/>
            </p:nvSpPr>
            <p:spPr bwMode="auto">
              <a:xfrm>
                <a:off x="6420" y="1165"/>
                <a:ext cx="21" cy="45"/>
              </a:xfrm>
              <a:custGeom>
                <a:avLst/>
                <a:gdLst>
                  <a:gd name="T0" fmla="*/ 49 w 82"/>
                  <a:gd name="T1" fmla="*/ 169 h 170"/>
                  <a:gd name="T2" fmla="*/ 49 w 82"/>
                  <a:gd name="T3" fmla="*/ 169 h 170"/>
                  <a:gd name="T4" fmla="*/ 72 w 82"/>
                  <a:gd name="T5" fmla="*/ 169 h 170"/>
                  <a:gd name="T6" fmla="*/ 82 w 82"/>
                  <a:gd name="T7" fmla="*/ 170 h 170"/>
                  <a:gd name="T8" fmla="*/ 68 w 82"/>
                  <a:gd name="T9" fmla="*/ 0 h 170"/>
                  <a:gd name="T10" fmla="*/ 35 w 82"/>
                  <a:gd name="T11" fmla="*/ 2 h 170"/>
                  <a:gd name="T12" fmla="*/ 0 w 82"/>
                  <a:gd name="T13" fmla="*/ 31 h 170"/>
                  <a:gd name="T14" fmla="*/ 3 w 82"/>
                  <a:gd name="T15" fmla="*/ 64 h 170"/>
                  <a:gd name="T16" fmla="*/ 38 w 82"/>
                  <a:gd name="T17" fmla="*/ 37 h 170"/>
                  <a:gd name="T18" fmla="*/ 49 w 82"/>
                  <a:gd name="T19" fmla="*/ 16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170">
                    <a:moveTo>
                      <a:pt x="49" y="169"/>
                    </a:moveTo>
                    <a:lnTo>
                      <a:pt x="49" y="169"/>
                    </a:lnTo>
                    <a:cubicBezTo>
                      <a:pt x="56" y="168"/>
                      <a:pt x="63" y="167"/>
                      <a:pt x="72" y="169"/>
                    </a:cubicBezTo>
                    <a:cubicBezTo>
                      <a:pt x="75" y="169"/>
                      <a:pt x="79" y="170"/>
                      <a:pt x="82" y="170"/>
                    </a:cubicBezTo>
                    <a:lnTo>
                      <a:pt x="68" y="0"/>
                    </a:lnTo>
                    <a:lnTo>
                      <a:pt x="35" y="2"/>
                    </a:lnTo>
                    <a:lnTo>
                      <a:pt x="0" y="31"/>
                    </a:lnTo>
                    <a:lnTo>
                      <a:pt x="3" y="64"/>
                    </a:lnTo>
                    <a:lnTo>
                      <a:pt x="38" y="37"/>
                    </a:lnTo>
                    <a:lnTo>
                      <a:pt x="49" y="16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48" name="Freeform 181">
                <a:extLst>
                  <a:ext uri="{FF2B5EF4-FFF2-40B4-BE49-F238E27FC236}">
                    <a16:creationId xmlns:a16="http://schemas.microsoft.com/office/drawing/2014/main" id="{E892217D-B960-428F-A87F-1162B1411673}"/>
                  </a:ext>
                </a:extLst>
              </p:cNvPr>
              <p:cNvSpPr>
                <a:spLocks/>
              </p:cNvSpPr>
              <p:nvPr/>
            </p:nvSpPr>
            <p:spPr bwMode="auto">
              <a:xfrm>
                <a:off x="6521" y="1186"/>
                <a:ext cx="40" cy="29"/>
              </a:xfrm>
              <a:custGeom>
                <a:avLst/>
                <a:gdLst>
                  <a:gd name="T0" fmla="*/ 6 w 151"/>
                  <a:gd name="T1" fmla="*/ 107 h 110"/>
                  <a:gd name="T2" fmla="*/ 6 w 151"/>
                  <a:gd name="T3" fmla="*/ 107 h 110"/>
                  <a:gd name="T4" fmla="*/ 7 w 151"/>
                  <a:gd name="T5" fmla="*/ 110 h 110"/>
                  <a:gd name="T6" fmla="*/ 17 w 151"/>
                  <a:gd name="T7" fmla="*/ 109 h 110"/>
                  <a:gd name="T8" fmla="*/ 41 w 151"/>
                  <a:gd name="T9" fmla="*/ 108 h 110"/>
                  <a:gd name="T10" fmla="*/ 38 w 151"/>
                  <a:gd name="T11" fmla="*/ 97 h 110"/>
                  <a:gd name="T12" fmla="*/ 34 w 151"/>
                  <a:gd name="T13" fmla="*/ 81 h 110"/>
                  <a:gd name="T14" fmla="*/ 33 w 151"/>
                  <a:gd name="T15" fmla="*/ 63 h 110"/>
                  <a:gd name="T16" fmla="*/ 39 w 151"/>
                  <a:gd name="T17" fmla="*/ 46 h 110"/>
                  <a:gd name="T18" fmla="*/ 57 w 151"/>
                  <a:gd name="T19" fmla="*/ 34 h 110"/>
                  <a:gd name="T20" fmla="*/ 73 w 151"/>
                  <a:gd name="T21" fmla="*/ 33 h 110"/>
                  <a:gd name="T22" fmla="*/ 85 w 151"/>
                  <a:gd name="T23" fmla="*/ 36 h 110"/>
                  <a:gd name="T24" fmla="*/ 94 w 151"/>
                  <a:gd name="T25" fmla="*/ 45 h 110"/>
                  <a:gd name="T26" fmla="*/ 101 w 151"/>
                  <a:gd name="T27" fmla="*/ 55 h 110"/>
                  <a:gd name="T28" fmla="*/ 105 w 151"/>
                  <a:gd name="T29" fmla="*/ 66 h 110"/>
                  <a:gd name="T30" fmla="*/ 109 w 151"/>
                  <a:gd name="T31" fmla="*/ 76 h 110"/>
                  <a:gd name="T32" fmla="*/ 117 w 151"/>
                  <a:gd name="T33" fmla="*/ 103 h 110"/>
                  <a:gd name="T34" fmla="*/ 151 w 151"/>
                  <a:gd name="T35" fmla="*/ 102 h 110"/>
                  <a:gd name="T36" fmla="*/ 140 w 151"/>
                  <a:gd name="T37" fmla="*/ 66 h 110"/>
                  <a:gd name="T38" fmla="*/ 135 w 151"/>
                  <a:gd name="T39" fmla="*/ 51 h 110"/>
                  <a:gd name="T40" fmla="*/ 126 w 151"/>
                  <a:gd name="T41" fmla="*/ 34 h 110"/>
                  <a:gd name="T42" fmla="*/ 114 w 151"/>
                  <a:gd name="T43" fmla="*/ 18 h 110"/>
                  <a:gd name="T44" fmla="*/ 97 w 151"/>
                  <a:gd name="T45" fmla="*/ 6 h 110"/>
                  <a:gd name="T46" fmla="*/ 75 w 151"/>
                  <a:gd name="T47" fmla="*/ 1 h 110"/>
                  <a:gd name="T48" fmla="*/ 49 w 151"/>
                  <a:gd name="T49" fmla="*/ 4 h 110"/>
                  <a:gd name="T50" fmla="*/ 24 w 151"/>
                  <a:gd name="T51" fmla="*/ 16 h 110"/>
                  <a:gd name="T52" fmla="*/ 9 w 151"/>
                  <a:gd name="T53" fmla="*/ 33 h 110"/>
                  <a:gd name="T54" fmla="*/ 2 w 151"/>
                  <a:gd name="T55" fmla="*/ 52 h 110"/>
                  <a:gd name="T56" fmla="*/ 0 w 151"/>
                  <a:gd name="T57" fmla="*/ 72 h 110"/>
                  <a:gd name="T58" fmla="*/ 2 w 151"/>
                  <a:gd name="T59" fmla="*/ 91 h 110"/>
                  <a:gd name="T60" fmla="*/ 6 w 151"/>
                  <a:gd name="T61" fmla="*/ 10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1" h="110">
                    <a:moveTo>
                      <a:pt x="6" y="107"/>
                    </a:moveTo>
                    <a:lnTo>
                      <a:pt x="6" y="107"/>
                    </a:lnTo>
                    <a:lnTo>
                      <a:pt x="7" y="110"/>
                    </a:lnTo>
                    <a:cubicBezTo>
                      <a:pt x="10" y="109"/>
                      <a:pt x="14" y="109"/>
                      <a:pt x="17" y="109"/>
                    </a:cubicBezTo>
                    <a:cubicBezTo>
                      <a:pt x="25" y="109"/>
                      <a:pt x="33" y="109"/>
                      <a:pt x="41" y="108"/>
                    </a:cubicBezTo>
                    <a:lnTo>
                      <a:pt x="38" y="97"/>
                    </a:lnTo>
                    <a:cubicBezTo>
                      <a:pt x="37" y="93"/>
                      <a:pt x="35" y="87"/>
                      <a:pt x="34" y="81"/>
                    </a:cubicBezTo>
                    <a:cubicBezTo>
                      <a:pt x="33" y="75"/>
                      <a:pt x="32" y="69"/>
                      <a:pt x="33" y="63"/>
                    </a:cubicBezTo>
                    <a:cubicBezTo>
                      <a:pt x="34" y="57"/>
                      <a:pt x="36" y="51"/>
                      <a:pt x="39" y="46"/>
                    </a:cubicBezTo>
                    <a:cubicBezTo>
                      <a:pt x="43" y="41"/>
                      <a:pt x="49" y="37"/>
                      <a:pt x="57" y="34"/>
                    </a:cubicBezTo>
                    <a:cubicBezTo>
                      <a:pt x="63" y="33"/>
                      <a:pt x="68" y="32"/>
                      <a:pt x="73" y="33"/>
                    </a:cubicBezTo>
                    <a:cubicBezTo>
                      <a:pt x="77" y="33"/>
                      <a:pt x="81" y="34"/>
                      <a:pt x="85" y="36"/>
                    </a:cubicBezTo>
                    <a:cubicBezTo>
                      <a:pt x="88" y="39"/>
                      <a:pt x="91" y="41"/>
                      <a:pt x="94" y="45"/>
                    </a:cubicBezTo>
                    <a:cubicBezTo>
                      <a:pt x="96" y="48"/>
                      <a:pt x="99" y="51"/>
                      <a:pt x="101" y="55"/>
                    </a:cubicBezTo>
                    <a:cubicBezTo>
                      <a:pt x="102" y="59"/>
                      <a:pt x="104" y="62"/>
                      <a:pt x="105" y="66"/>
                    </a:cubicBezTo>
                    <a:cubicBezTo>
                      <a:pt x="107" y="69"/>
                      <a:pt x="108" y="73"/>
                      <a:pt x="109" y="76"/>
                    </a:cubicBezTo>
                    <a:lnTo>
                      <a:pt x="117" y="103"/>
                    </a:lnTo>
                    <a:cubicBezTo>
                      <a:pt x="129" y="103"/>
                      <a:pt x="140" y="102"/>
                      <a:pt x="151" y="102"/>
                    </a:cubicBezTo>
                    <a:lnTo>
                      <a:pt x="140" y="66"/>
                    </a:lnTo>
                    <a:cubicBezTo>
                      <a:pt x="139" y="61"/>
                      <a:pt x="137" y="56"/>
                      <a:pt x="135" y="51"/>
                    </a:cubicBezTo>
                    <a:cubicBezTo>
                      <a:pt x="132" y="45"/>
                      <a:pt x="130" y="39"/>
                      <a:pt x="126" y="34"/>
                    </a:cubicBezTo>
                    <a:cubicBezTo>
                      <a:pt x="123" y="28"/>
                      <a:pt x="119" y="23"/>
                      <a:pt x="114" y="18"/>
                    </a:cubicBezTo>
                    <a:cubicBezTo>
                      <a:pt x="109" y="13"/>
                      <a:pt x="103" y="9"/>
                      <a:pt x="97" y="6"/>
                    </a:cubicBezTo>
                    <a:cubicBezTo>
                      <a:pt x="91" y="3"/>
                      <a:pt x="83" y="1"/>
                      <a:pt x="75" y="1"/>
                    </a:cubicBezTo>
                    <a:cubicBezTo>
                      <a:pt x="67" y="0"/>
                      <a:pt x="59" y="1"/>
                      <a:pt x="49" y="4"/>
                    </a:cubicBezTo>
                    <a:cubicBezTo>
                      <a:pt x="39" y="7"/>
                      <a:pt x="30" y="11"/>
                      <a:pt x="24" y="16"/>
                    </a:cubicBezTo>
                    <a:cubicBezTo>
                      <a:pt x="18" y="21"/>
                      <a:pt x="13" y="27"/>
                      <a:pt x="9" y="33"/>
                    </a:cubicBezTo>
                    <a:cubicBezTo>
                      <a:pt x="5" y="39"/>
                      <a:pt x="3" y="45"/>
                      <a:pt x="2" y="52"/>
                    </a:cubicBezTo>
                    <a:cubicBezTo>
                      <a:pt x="1" y="59"/>
                      <a:pt x="0" y="66"/>
                      <a:pt x="0" y="72"/>
                    </a:cubicBezTo>
                    <a:cubicBezTo>
                      <a:pt x="0" y="79"/>
                      <a:pt x="1" y="85"/>
                      <a:pt x="2" y="91"/>
                    </a:cubicBezTo>
                    <a:cubicBezTo>
                      <a:pt x="4" y="97"/>
                      <a:pt x="5" y="102"/>
                      <a:pt x="6" y="10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49" name="Freeform 182">
                <a:extLst>
                  <a:ext uri="{FF2B5EF4-FFF2-40B4-BE49-F238E27FC236}">
                    <a16:creationId xmlns:a16="http://schemas.microsoft.com/office/drawing/2014/main" id="{8C71DC9B-6013-4380-AA7A-DCEE79B491FC}"/>
                  </a:ext>
                </a:extLst>
              </p:cNvPr>
              <p:cNvSpPr>
                <a:spLocks noEditPoints="1"/>
              </p:cNvSpPr>
              <p:nvPr/>
            </p:nvSpPr>
            <p:spPr bwMode="auto">
              <a:xfrm>
                <a:off x="6544" y="1069"/>
                <a:ext cx="37" cy="66"/>
              </a:xfrm>
              <a:custGeom>
                <a:avLst/>
                <a:gdLst>
                  <a:gd name="T0" fmla="*/ 110 w 143"/>
                  <a:gd name="T1" fmla="*/ 162 h 250"/>
                  <a:gd name="T2" fmla="*/ 110 w 143"/>
                  <a:gd name="T3" fmla="*/ 162 h 250"/>
                  <a:gd name="T4" fmla="*/ 107 w 143"/>
                  <a:gd name="T5" fmla="*/ 84 h 250"/>
                  <a:gd name="T6" fmla="*/ 106 w 143"/>
                  <a:gd name="T7" fmla="*/ 74 h 250"/>
                  <a:gd name="T8" fmla="*/ 104 w 143"/>
                  <a:gd name="T9" fmla="*/ 62 h 250"/>
                  <a:gd name="T10" fmla="*/ 101 w 143"/>
                  <a:gd name="T11" fmla="*/ 51 h 250"/>
                  <a:gd name="T12" fmla="*/ 94 w 143"/>
                  <a:gd name="T13" fmla="*/ 40 h 250"/>
                  <a:gd name="T14" fmla="*/ 83 w 143"/>
                  <a:gd name="T15" fmla="*/ 34 h 250"/>
                  <a:gd name="T16" fmla="*/ 68 w 143"/>
                  <a:gd name="T17" fmla="*/ 31 h 250"/>
                  <a:gd name="T18" fmla="*/ 47 w 143"/>
                  <a:gd name="T19" fmla="*/ 38 h 250"/>
                  <a:gd name="T20" fmla="*/ 37 w 143"/>
                  <a:gd name="T21" fmla="*/ 53 h 250"/>
                  <a:gd name="T22" fmla="*/ 33 w 143"/>
                  <a:gd name="T23" fmla="*/ 71 h 250"/>
                  <a:gd name="T24" fmla="*/ 33 w 143"/>
                  <a:gd name="T25" fmla="*/ 87 h 250"/>
                  <a:gd name="T26" fmla="*/ 36 w 143"/>
                  <a:gd name="T27" fmla="*/ 165 h 250"/>
                  <a:gd name="T28" fmla="*/ 36 w 143"/>
                  <a:gd name="T29" fmla="*/ 175 h 250"/>
                  <a:gd name="T30" fmla="*/ 38 w 143"/>
                  <a:gd name="T31" fmla="*/ 187 h 250"/>
                  <a:gd name="T32" fmla="*/ 42 w 143"/>
                  <a:gd name="T33" fmla="*/ 199 h 250"/>
                  <a:gd name="T34" fmla="*/ 49 w 143"/>
                  <a:gd name="T35" fmla="*/ 209 h 250"/>
                  <a:gd name="T36" fmla="*/ 60 w 143"/>
                  <a:gd name="T37" fmla="*/ 216 h 250"/>
                  <a:gd name="T38" fmla="*/ 75 w 143"/>
                  <a:gd name="T39" fmla="*/ 218 h 250"/>
                  <a:gd name="T40" fmla="*/ 90 w 143"/>
                  <a:gd name="T41" fmla="*/ 215 h 250"/>
                  <a:gd name="T42" fmla="*/ 100 w 143"/>
                  <a:gd name="T43" fmla="*/ 207 h 250"/>
                  <a:gd name="T44" fmla="*/ 106 w 143"/>
                  <a:gd name="T45" fmla="*/ 197 h 250"/>
                  <a:gd name="T46" fmla="*/ 109 w 143"/>
                  <a:gd name="T47" fmla="*/ 185 h 250"/>
                  <a:gd name="T48" fmla="*/ 110 w 143"/>
                  <a:gd name="T49" fmla="*/ 173 h 250"/>
                  <a:gd name="T50" fmla="*/ 110 w 143"/>
                  <a:gd name="T51" fmla="*/ 162 h 250"/>
                  <a:gd name="T52" fmla="*/ 3 w 143"/>
                  <a:gd name="T53" fmla="*/ 166 h 250"/>
                  <a:gd name="T54" fmla="*/ 3 w 143"/>
                  <a:gd name="T55" fmla="*/ 166 h 250"/>
                  <a:gd name="T56" fmla="*/ 0 w 143"/>
                  <a:gd name="T57" fmla="*/ 88 h 250"/>
                  <a:gd name="T58" fmla="*/ 0 w 143"/>
                  <a:gd name="T59" fmla="*/ 72 h 250"/>
                  <a:gd name="T60" fmla="*/ 3 w 143"/>
                  <a:gd name="T61" fmla="*/ 53 h 250"/>
                  <a:gd name="T62" fmla="*/ 10 w 143"/>
                  <a:gd name="T63" fmla="*/ 34 h 250"/>
                  <a:gd name="T64" fmla="*/ 22 w 143"/>
                  <a:gd name="T65" fmla="*/ 18 h 250"/>
                  <a:gd name="T66" fmla="*/ 40 w 143"/>
                  <a:gd name="T67" fmla="*/ 5 h 250"/>
                  <a:gd name="T68" fmla="*/ 67 w 143"/>
                  <a:gd name="T69" fmla="*/ 0 h 250"/>
                  <a:gd name="T70" fmla="*/ 94 w 143"/>
                  <a:gd name="T71" fmla="*/ 4 h 250"/>
                  <a:gd name="T72" fmla="*/ 113 w 143"/>
                  <a:gd name="T73" fmla="*/ 14 h 250"/>
                  <a:gd name="T74" fmla="*/ 127 w 143"/>
                  <a:gd name="T75" fmla="*/ 30 h 250"/>
                  <a:gd name="T76" fmla="*/ 134 w 143"/>
                  <a:gd name="T77" fmla="*/ 49 h 250"/>
                  <a:gd name="T78" fmla="*/ 139 w 143"/>
                  <a:gd name="T79" fmla="*/ 67 h 250"/>
                  <a:gd name="T80" fmla="*/ 140 w 143"/>
                  <a:gd name="T81" fmla="*/ 83 h 250"/>
                  <a:gd name="T82" fmla="*/ 143 w 143"/>
                  <a:gd name="T83" fmla="*/ 161 h 250"/>
                  <a:gd name="T84" fmla="*/ 143 w 143"/>
                  <a:gd name="T85" fmla="*/ 177 h 250"/>
                  <a:gd name="T86" fmla="*/ 140 w 143"/>
                  <a:gd name="T87" fmla="*/ 196 h 250"/>
                  <a:gd name="T88" fmla="*/ 133 w 143"/>
                  <a:gd name="T89" fmla="*/ 215 h 250"/>
                  <a:gd name="T90" fmla="*/ 121 w 143"/>
                  <a:gd name="T91" fmla="*/ 232 h 250"/>
                  <a:gd name="T92" fmla="*/ 103 w 143"/>
                  <a:gd name="T93" fmla="*/ 244 h 250"/>
                  <a:gd name="T94" fmla="*/ 76 w 143"/>
                  <a:gd name="T95" fmla="*/ 249 h 250"/>
                  <a:gd name="T96" fmla="*/ 49 w 143"/>
                  <a:gd name="T97" fmla="*/ 246 h 250"/>
                  <a:gd name="T98" fmla="*/ 29 w 143"/>
                  <a:gd name="T99" fmla="*/ 235 h 250"/>
                  <a:gd name="T100" fmla="*/ 16 w 143"/>
                  <a:gd name="T101" fmla="*/ 219 h 250"/>
                  <a:gd name="T102" fmla="*/ 8 w 143"/>
                  <a:gd name="T103" fmla="*/ 201 h 250"/>
                  <a:gd name="T104" fmla="*/ 4 w 143"/>
                  <a:gd name="T105" fmla="*/ 182 h 250"/>
                  <a:gd name="T106" fmla="*/ 3 w 143"/>
                  <a:gd name="T107" fmla="*/ 16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 h="250">
                    <a:moveTo>
                      <a:pt x="110" y="162"/>
                    </a:moveTo>
                    <a:lnTo>
                      <a:pt x="110" y="162"/>
                    </a:lnTo>
                    <a:lnTo>
                      <a:pt x="107" y="84"/>
                    </a:lnTo>
                    <a:cubicBezTo>
                      <a:pt x="107" y="81"/>
                      <a:pt x="106" y="78"/>
                      <a:pt x="106" y="74"/>
                    </a:cubicBezTo>
                    <a:cubicBezTo>
                      <a:pt x="106" y="70"/>
                      <a:pt x="105" y="66"/>
                      <a:pt x="104" y="62"/>
                    </a:cubicBezTo>
                    <a:cubicBezTo>
                      <a:pt x="103" y="58"/>
                      <a:pt x="102" y="54"/>
                      <a:pt x="101" y="51"/>
                    </a:cubicBezTo>
                    <a:cubicBezTo>
                      <a:pt x="99" y="47"/>
                      <a:pt x="97" y="43"/>
                      <a:pt x="94" y="40"/>
                    </a:cubicBezTo>
                    <a:cubicBezTo>
                      <a:pt x="91" y="38"/>
                      <a:pt x="87" y="35"/>
                      <a:pt x="83" y="34"/>
                    </a:cubicBezTo>
                    <a:cubicBezTo>
                      <a:pt x="79" y="32"/>
                      <a:pt x="74" y="31"/>
                      <a:pt x="68" y="31"/>
                    </a:cubicBezTo>
                    <a:cubicBezTo>
                      <a:pt x="59" y="32"/>
                      <a:pt x="52" y="34"/>
                      <a:pt x="47" y="38"/>
                    </a:cubicBezTo>
                    <a:cubicBezTo>
                      <a:pt x="43" y="42"/>
                      <a:pt x="39" y="47"/>
                      <a:pt x="37" y="53"/>
                    </a:cubicBezTo>
                    <a:cubicBezTo>
                      <a:pt x="35" y="59"/>
                      <a:pt x="33" y="65"/>
                      <a:pt x="33" y="71"/>
                    </a:cubicBezTo>
                    <a:cubicBezTo>
                      <a:pt x="33" y="77"/>
                      <a:pt x="33" y="82"/>
                      <a:pt x="33" y="87"/>
                    </a:cubicBezTo>
                    <a:lnTo>
                      <a:pt x="36" y="165"/>
                    </a:lnTo>
                    <a:cubicBezTo>
                      <a:pt x="36" y="168"/>
                      <a:pt x="36" y="172"/>
                      <a:pt x="36" y="175"/>
                    </a:cubicBezTo>
                    <a:cubicBezTo>
                      <a:pt x="37" y="179"/>
                      <a:pt x="37" y="183"/>
                      <a:pt x="38" y="187"/>
                    </a:cubicBezTo>
                    <a:cubicBezTo>
                      <a:pt x="39" y="191"/>
                      <a:pt x="41" y="195"/>
                      <a:pt x="42" y="199"/>
                    </a:cubicBezTo>
                    <a:cubicBezTo>
                      <a:pt x="44" y="203"/>
                      <a:pt x="46" y="206"/>
                      <a:pt x="49" y="209"/>
                    </a:cubicBezTo>
                    <a:cubicBezTo>
                      <a:pt x="52" y="212"/>
                      <a:pt x="55" y="214"/>
                      <a:pt x="60" y="216"/>
                    </a:cubicBezTo>
                    <a:cubicBezTo>
                      <a:pt x="64" y="218"/>
                      <a:pt x="69" y="218"/>
                      <a:pt x="75" y="218"/>
                    </a:cubicBezTo>
                    <a:cubicBezTo>
                      <a:pt x="81" y="218"/>
                      <a:pt x="86" y="217"/>
                      <a:pt x="90" y="215"/>
                    </a:cubicBezTo>
                    <a:cubicBezTo>
                      <a:pt x="94" y="213"/>
                      <a:pt x="97" y="210"/>
                      <a:pt x="100" y="207"/>
                    </a:cubicBezTo>
                    <a:cubicBezTo>
                      <a:pt x="102" y="204"/>
                      <a:pt x="104" y="200"/>
                      <a:pt x="106" y="197"/>
                    </a:cubicBezTo>
                    <a:cubicBezTo>
                      <a:pt x="107" y="193"/>
                      <a:pt x="108" y="189"/>
                      <a:pt x="109" y="185"/>
                    </a:cubicBezTo>
                    <a:cubicBezTo>
                      <a:pt x="109" y="181"/>
                      <a:pt x="110" y="177"/>
                      <a:pt x="110" y="173"/>
                    </a:cubicBezTo>
                    <a:cubicBezTo>
                      <a:pt x="110" y="169"/>
                      <a:pt x="110" y="165"/>
                      <a:pt x="110" y="162"/>
                    </a:cubicBezTo>
                    <a:close/>
                    <a:moveTo>
                      <a:pt x="3" y="166"/>
                    </a:moveTo>
                    <a:lnTo>
                      <a:pt x="3" y="166"/>
                    </a:lnTo>
                    <a:lnTo>
                      <a:pt x="0" y="88"/>
                    </a:lnTo>
                    <a:cubicBezTo>
                      <a:pt x="0" y="84"/>
                      <a:pt x="0" y="78"/>
                      <a:pt x="0" y="72"/>
                    </a:cubicBezTo>
                    <a:cubicBezTo>
                      <a:pt x="0" y="66"/>
                      <a:pt x="1" y="60"/>
                      <a:pt x="3" y="53"/>
                    </a:cubicBezTo>
                    <a:cubicBezTo>
                      <a:pt x="4" y="47"/>
                      <a:pt x="7" y="41"/>
                      <a:pt x="10" y="34"/>
                    </a:cubicBezTo>
                    <a:cubicBezTo>
                      <a:pt x="13" y="28"/>
                      <a:pt x="17" y="23"/>
                      <a:pt x="22" y="18"/>
                    </a:cubicBezTo>
                    <a:cubicBezTo>
                      <a:pt x="27" y="13"/>
                      <a:pt x="33" y="9"/>
                      <a:pt x="40" y="5"/>
                    </a:cubicBezTo>
                    <a:cubicBezTo>
                      <a:pt x="48" y="2"/>
                      <a:pt x="57" y="1"/>
                      <a:pt x="67" y="0"/>
                    </a:cubicBezTo>
                    <a:cubicBezTo>
                      <a:pt x="77" y="0"/>
                      <a:pt x="86" y="1"/>
                      <a:pt x="94" y="4"/>
                    </a:cubicBezTo>
                    <a:cubicBezTo>
                      <a:pt x="102" y="6"/>
                      <a:pt x="108" y="10"/>
                      <a:pt x="113" y="14"/>
                    </a:cubicBezTo>
                    <a:cubicBezTo>
                      <a:pt x="119" y="19"/>
                      <a:pt x="123" y="24"/>
                      <a:pt x="127" y="30"/>
                    </a:cubicBezTo>
                    <a:cubicBezTo>
                      <a:pt x="130" y="36"/>
                      <a:pt x="133" y="42"/>
                      <a:pt x="134" y="49"/>
                    </a:cubicBezTo>
                    <a:cubicBezTo>
                      <a:pt x="136" y="55"/>
                      <a:pt x="138" y="61"/>
                      <a:pt x="139" y="67"/>
                    </a:cubicBezTo>
                    <a:cubicBezTo>
                      <a:pt x="139" y="73"/>
                      <a:pt x="140" y="78"/>
                      <a:pt x="140" y="83"/>
                    </a:cubicBezTo>
                    <a:lnTo>
                      <a:pt x="143" y="161"/>
                    </a:lnTo>
                    <a:cubicBezTo>
                      <a:pt x="143" y="166"/>
                      <a:pt x="143" y="171"/>
                      <a:pt x="143" y="177"/>
                    </a:cubicBezTo>
                    <a:cubicBezTo>
                      <a:pt x="142" y="183"/>
                      <a:pt x="141" y="190"/>
                      <a:pt x="140" y="196"/>
                    </a:cubicBezTo>
                    <a:cubicBezTo>
                      <a:pt x="138" y="202"/>
                      <a:pt x="136" y="209"/>
                      <a:pt x="133" y="215"/>
                    </a:cubicBezTo>
                    <a:cubicBezTo>
                      <a:pt x="130" y="221"/>
                      <a:pt x="126" y="227"/>
                      <a:pt x="121" y="232"/>
                    </a:cubicBezTo>
                    <a:cubicBezTo>
                      <a:pt x="116" y="237"/>
                      <a:pt x="110" y="241"/>
                      <a:pt x="103" y="244"/>
                    </a:cubicBezTo>
                    <a:cubicBezTo>
                      <a:pt x="95" y="247"/>
                      <a:pt x="86" y="249"/>
                      <a:pt x="76" y="249"/>
                    </a:cubicBezTo>
                    <a:cubicBezTo>
                      <a:pt x="66" y="250"/>
                      <a:pt x="57" y="249"/>
                      <a:pt x="49" y="246"/>
                    </a:cubicBezTo>
                    <a:cubicBezTo>
                      <a:pt x="41" y="243"/>
                      <a:pt x="35" y="240"/>
                      <a:pt x="29" y="235"/>
                    </a:cubicBezTo>
                    <a:cubicBezTo>
                      <a:pt x="24" y="231"/>
                      <a:pt x="20" y="225"/>
                      <a:pt x="16" y="219"/>
                    </a:cubicBezTo>
                    <a:cubicBezTo>
                      <a:pt x="13" y="213"/>
                      <a:pt x="10" y="207"/>
                      <a:pt x="8" y="201"/>
                    </a:cubicBezTo>
                    <a:cubicBezTo>
                      <a:pt x="6" y="195"/>
                      <a:pt x="5" y="188"/>
                      <a:pt x="4" y="182"/>
                    </a:cubicBezTo>
                    <a:cubicBezTo>
                      <a:pt x="3" y="177"/>
                      <a:pt x="3" y="171"/>
                      <a:pt x="3" y="16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50" name="Freeform 183">
                <a:extLst>
                  <a:ext uri="{FF2B5EF4-FFF2-40B4-BE49-F238E27FC236}">
                    <a16:creationId xmlns:a16="http://schemas.microsoft.com/office/drawing/2014/main" id="{99475E8A-5C3D-4276-8CE7-91583A27513B}"/>
                  </a:ext>
                </a:extLst>
              </p:cNvPr>
              <p:cNvSpPr>
                <a:spLocks noEditPoints="1"/>
              </p:cNvSpPr>
              <p:nvPr/>
            </p:nvSpPr>
            <p:spPr bwMode="auto">
              <a:xfrm>
                <a:off x="6567" y="882"/>
                <a:ext cx="38" cy="66"/>
              </a:xfrm>
              <a:custGeom>
                <a:avLst/>
                <a:gdLst>
                  <a:gd name="T0" fmla="*/ 110 w 143"/>
                  <a:gd name="T1" fmla="*/ 163 h 250"/>
                  <a:gd name="T2" fmla="*/ 110 w 143"/>
                  <a:gd name="T3" fmla="*/ 163 h 250"/>
                  <a:gd name="T4" fmla="*/ 107 w 143"/>
                  <a:gd name="T5" fmla="*/ 85 h 250"/>
                  <a:gd name="T6" fmla="*/ 106 w 143"/>
                  <a:gd name="T7" fmla="*/ 74 h 250"/>
                  <a:gd name="T8" fmla="*/ 105 w 143"/>
                  <a:gd name="T9" fmla="*/ 63 h 250"/>
                  <a:gd name="T10" fmla="*/ 101 w 143"/>
                  <a:gd name="T11" fmla="*/ 51 h 250"/>
                  <a:gd name="T12" fmla="*/ 94 w 143"/>
                  <a:gd name="T13" fmla="*/ 41 h 250"/>
                  <a:gd name="T14" fmla="*/ 83 w 143"/>
                  <a:gd name="T15" fmla="*/ 34 h 250"/>
                  <a:gd name="T16" fmla="*/ 68 w 143"/>
                  <a:gd name="T17" fmla="*/ 32 h 250"/>
                  <a:gd name="T18" fmla="*/ 48 w 143"/>
                  <a:gd name="T19" fmla="*/ 38 h 250"/>
                  <a:gd name="T20" fmla="*/ 37 w 143"/>
                  <a:gd name="T21" fmla="*/ 53 h 250"/>
                  <a:gd name="T22" fmla="*/ 34 w 143"/>
                  <a:gd name="T23" fmla="*/ 71 h 250"/>
                  <a:gd name="T24" fmla="*/ 33 w 143"/>
                  <a:gd name="T25" fmla="*/ 87 h 250"/>
                  <a:gd name="T26" fmla="*/ 36 w 143"/>
                  <a:gd name="T27" fmla="*/ 165 h 250"/>
                  <a:gd name="T28" fmla="*/ 37 w 143"/>
                  <a:gd name="T29" fmla="*/ 176 h 250"/>
                  <a:gd name="T30" fmla="*/ 39 w 143"/>
                  <a:gd name="T31" fmla="*/ 187 h 250"/>
                  <a:gd name="T32" fmla="*/ 42 w 143"/>
                  <a:gd name="T33" fmla="*/ 199 h 250"/>
                  <a:gd name="T34" fmla="*/ 49 w 143"/>
                  <a:gd name="T35" fmla="*/ 209 h 250"/>
                  <a:gd name="T36" fmla="*/ 60 w 143"/>
                  <a:gd name="T37" fmla="*/ 216 h 250"/>
                  <a:gd name="T38" fmla="*/ 75 w 143"/>
                  <a:gd name="T39" fmla="*/ 218 h 250"/>
                  <a:gd name="T40" fmla="*/ 90 w 143"/>
                  <a:gd name="T41" fmla="*/ 215 h 250"/>
                  <a:gd name="T42" fmla="*/ 100 w 143"/>
                  <a:gd name="T43" fmla="*/ 207 h 250"/>
                  <a:gd name="T44" fmla="*/ 106 w 143"/>
                  <a:gd name="T45" fmla="*/ 197 h 250"/>
                  <a:gd name="T46" fmla="*/ 109 w 143"/>
                  <a:gd name="T47" fmla="*/ 185 h 250"/>
                  <a:gd name="T48" fmla="*/ 110 w 143"/>
                  <a:gd name="T49" fmla="*/ 173 h 250"/>
                  <a:gd name="T50" fmla="*/ 110 w 143"/>
                  <a:gd name="T51" fmla="*/ 163 h 250"/>
                  <a:gd name="T52" fmla="*/ 3 w 143"/>
                  <a:gd name="T53" fmla="*/ 167 h 250"/>
                  <a:gd name="T54" fmla="*/ 3 w 143"/>
                  <a:gd name="T55" fmla="*/ 167 h 250"/>
                  <a:gd name="T56" fmla="*/ 0 w 143"/>
                  <a:gd name="T57" fmla="*/ 89 h 250"/>
                  <a:gd name="T58" fmla="*/ 0 w 143"/>
                  <a:gd name="T59" fmla="*/ 72 h 250"/>
                  <a:gd name="T60" fmla="*/ 3 w 143"/>
                  <a:gd name="T61" fmla="*/ 54 h 250"/>
                  <a:gd name="T62" fmla="*/ 10 w 143"/>
                  <a:gd name="T63" fmla="*/ 35 h 250"/>
                  <a:gd name="T64" fmla="*/ 22 w 143"/>
                  <a:gd name="T65" fmla="*/ 18 h 250"/>
                  <a:gd name="T66" fmla="*/ 41 w 143"/>
                  <a:gd name="T67" fmla="*/ 6 h 250"/>
                  <a:gd name="T68" fmla="*/ 67 w 143"/>
                  <a:gd name="T69" fmla="*/ 1 h 250"/>
                  <a:gd name="T70" fmla="*/ 94 w 143"/>
                  <a:gd name="T71" fmla="*/ 4 h 250"/>
                  <a:gd name="T72" fmla="*/ 114 w 143"/>
                  <a:gd name="T73" fmla="*/ 15 h 250"/>
                  <a:gd name="T74" fmla="*/ 127 w 143"/>
                  <a:gd name="T75" fmla="*/ 31 h 250"/>
                  <a:gd name="T76" fmla="*/ 135 w 143"/>
                  <a:gd name="T77" fmla="*/ 49 h 250"/>
                  <a:gd name="T78" fmla="*/ 139 w 143"/>
                  <a:gd name="T79" fmla="*/ 67 h 250"/>
                  <a:gd name="T80" fmla="*/ 140 w 143"/>
                  <a:gd name="T81" fmla="*/ 83 h 250"/>
                  <a:gd name="T82" fmla="*/ 143 w 143"/>
                  <a:gd name="T83" fmla="*/ 162 h 250"/>
                  <a:gd name="T84" fmla="*/ 143 w 143"/>
                  <a:gd name="T85" fmla="*/ 178 h 250"/>
                  <a:gd name="T86" fmla="*/ 140 w 143"/>
                  <a:gd name="T87" fmla="*/ 196 h 250"/>
                  <a:gd name="T88" fmla="*/ 134 w 143"/>
                  <a:gd name="T89" fmla="*/ 215 h 250"/>
                  <a:gd name="T90" fmla="*/ 122 w 143"/>
                  <a:gd name="T91" fmla="*/ 232 h 250"/>
                  <a:gd name="T92" fmla="*/ 103 w 143"/>
                  <a:gd name="T93" fmla="*/ 244 h 250"/>
                  <a:gd name="T94" fmla="*/ 76 w 143"/>
                  <a:gd name="T95" fmla="*/ 250 h 250"/>
                  <a:gd name="T96" fmla="*/ 49 w 143"/>
                  <a:gd name="T97" fmla="*/ 246 h 250"/>
                  <a:gd name="T98" fmla="*/ 30 w 143"/>
                  <a:gd name="T99" fmla="*/ 235 h 250"/>
                  <a:gd name="T100" fmla="*/ 17 w 143"/>
                  <a:gd name="T101" fmla="*/ 220 h 250"/>
                  <a:gd name="T102" fmla="*/ 9 w 143"/>
                  <a:gd name="T103" fmla="*/ 201 h 250"/>
                  <a:gd name="T104" fmla="*/ 4 w 143"/>
                  <a:gd name="T105" fmla="*/ 183 h 250"/>
                  <a:gd name="T106" fmla="*/ 3 w 143"/>
                  <a:gd name="T107" fmla="*/ 16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 h="250">
                    <a:moveTo>
                      <a:pt x="110" y="163"/>
                    </a:moveTo>
                    <a:lnTo>
                      <a:pt x="110" y="163"/>
                    </a:lnTo>
                    <a:lnTo>
                      <a:pt x="107" y="85"/>
                    </a:lnTo>
                    <a:cubicBezTo>
                      <a:pt x="107" y="82"/>
                      <a:pt x="107" y="78"/>
                      <a:pt x="106" y="74"/>
                    </a:cubicBezTo>
                    <a:cubicBezTo>
                      <a:pt x="106" y="71"/>
                      <a:pt x="106" y="67"/>
                      <a:pt x="105" y="63"/>
                    </a:cubicBezTo>
                    <a:cubicBezTo>
                      <a:pt x="104" y="59"/>
                      <a:pt x="102" y="55"/>
                      <a:pt x="101" y="51"/>
                    </a:cubicBezTo>
                    <a:cubicBezTo>
                      <a:pt x="99" y="47"/>
                      <a:pt x="97" y="44"/>
                      <a:pt x="94" y="41"/>
                    </a:cubicBezTo>
                    <a:cubicBezTo>
                      <a:pt x="91" y="38"/>
                      <a:pt x="88" y="36"/>
                      <a:pt x="83" y="34"/>
                    </a:cubicBezTo>
                    <a:cubicBezTo>
                      <a:pt x="79" y="32"/>
                      <a:pt x="74" y="32"/>
                      <a:pt x="68" y="32"/>
                    </a:cubicBezTo>
                    <a:cubicBezTo>
                      <a:pt x="59" y="32"/>
                      <a:pt x="53" y="34"/>
                      <a:pt x="48" y="38"/>
                    </a:cubicBezTo>
                    <a:cubicBezTo>
                      <a:pt x="43" y="43"/>
                      <a:pt x="39" y="48"/>
                      <a:pt x="37" y="53"/>
                    </a:cubicBezTo>
                    <a:cubicBezTo>
                      <a:pt x="35" y="59"/>
                      <a:pt x="34" y="65"/>
                      <a:pt x="34" y="71"/>
                    </a:cubicBezTo>
                    <a:cubicBezTo>
                      <a:pt x="33" y="77"/>
                      <a:pt x="33" y="83"/>
                      <a:pt x="33" y="87"/>
                    </a:cubicBezTo>
                    <a:lnTo>
                      <a:pt x="36" y="165"/>
                    </a:lnTo>
                    <a:cubicBezTo>
                      <a:pt x="36" y="168"/>
                      <a:pt x="36" y="172"/>
                      <a:pt x="37" y="176"/>
                    </a:cubicBezTo>
                    <a:cubicBezTo>
                      <a:pt x="37" y="180"/>
                      <a:pt x="38" y="183"/>
                      <a:pt x="39" y="187"/>
                    </a:cubicBezTo>
                    <a:cubicBezTo>
                      <a:pt x="40" y="191"/>
                      <a:pt x="41" y="195"/>
                      <a:pt x="42" y="199"/>
                    </a:cubicBezTo>
                    <a:cubicBezTo>
                      <a:pt x="44" y="203"/>
                      <a:pt x="46" y="206"/>
                      <a:pt x="49" y="209"/>
                    </a:cubicBezTo>
                    <a:cubicBezTo>
                      <a:pt x="52" y="212"/>
                      <a:pt x="56" y="215"/>
                      <a:pt x="60" y="216"/>
                    </a:cubicBezTo>
                    <a:cubicBezTo>
                      <a:pt x="64" y="218"/>
                      <a:pt x="69" y="219"/>
                      <a:pt x="75" y="218"/>
                    </a:cubicBezTo>
                    <a:cubicBezTo>
                      <a:pt x="81" y="218"/>
                      <a:pt x="86" y="217"/>
                      <a:pt x="90" y="215"/>
                    </a:cubicBezTo>
                    <a:cubicBezTo>
                      <a:pt x="94" y="213"/>
                      <a:pt x="97" y="211"/>
                      <a:pt x="100" y="207"/>
                    </a:cubicBezTo>
                    <a:cubicBezTo>
                      <a:pt x="103" y="204"/>
                      <a:pt x="105" y="201"/>
                      <a:pt x="106" y="197"/>
                    </a:cubicBezTo>
                    <a:cubicBezTo>
                      <a:pt x="107" y="193"/>
                      <a:pt x="108" y="189"/>
                      <a:pt x="109" y="185"/>
                    </a:cubicBezTo>
                    <a:cubicBezTo>
                      <a:pt x="110" y="181"/>
                      <a:pt x="110" y="177"/>
                      <a:pt x="110" y="173"/>
                    </a:cubicBezTo>
                    <a:cubicBezTo>
                      <a:pt x="110" y="169"/>
                      <a:pt x="110" y="166"/>
                      <a:pt x="110" y="163"/>
                    </a:cubicBezTo>
                    <a:close/>
                    <a:moveTo>
                      <a:pt x="3" y="167"/>
                    </a:moveTo>
                    <a:lnTo>
                      <a:pt x="3" y="167"/>
                    </a:lnTo>
                    <a:lnTo>
                      <a:pt x="0" y="89"/>
                    </a:lnTo>
                    <a:cubicBezTo>
                      <a:pt x="0" y="84"/>
                      <a:pt x="0" y="79"/>
                      <a:pt x="0" y="72"/>
                    </a:cubicBezTo>
                    <a:cubicBezTo>
                      <a:pt x="1" y="66"/>
                      <a:pt x="2" y="60"/>
                      <a:pt x="3" y="54"/>
                    </a:cubicBezTo>
                    <a:cubicBezTo>
                      <a:pt x="5" y="47"/>
                      <a:pt x="7" y="41"/>
                      <a:pt x="10" y="35"/>
                    </a:cubicBezTo>
                    <a:cubicBezTo>
                      <a:pt x="13" y="29"/>
                      <a:pt x="17" y="23"/>
                      <a:pt x="22" y="18"/>
                    </a:cubicBezTo>
                    <a:cubicBezTo>
                      <a:pt x="27" y="13"/>
                      <a:pt x="33" y="9"/>
                      <a:pt x="41" y="6"/>
                    </a:cubicBezTo>
                    <a:cubicBezTo>
                      <a:pt x="48" y="3"/>
                      <a:pt x="57" y="1"/>
                      <a:pt x="67" y="1"/>
                    </a:cubicBezTo>
                    <a:cubicBezTo>
                      <a:pt x="78" y="0"/>
                      <a:pt x="87" y="1"/>
                      <a:pt x="94" y="4"/>
                    </a:cubicBezTo>
                    <a:cubicBezTo>
                      <a:pt x="102" y="7"/>
                      <a:pt x="108" y="10"/>
                      <a:pt x="114" y="15"/>
                    </a:cubicBezTo>
                    <a:cubicBezTo>
                      <a:pt x="119" y="19"/>
                      <a:pt x="124" y="25"/>
                      <a:pt x="127" y="31"/>
                    </a:cubicBezTo>
                    <a:cubicBezTo>
                      <a:pt x="130" y="36"/>
                      <a:pt x="133" y="43"/>
                      <a:pt x="135" y="49"/>
                    </a:cubicBezTo>
                    <a:cubicBezTo>
                      <a:pt x="137" y="55"/>
                      <a:pt x="138" y="61"/>
                      <a:pt x="139" y="67"/>
                    </a:cubicBezTo>
                    <a:cubicBezTo>
                      <a:pt x="140" y="73"/>
                      <a:pt x="140" y="79"/>
                      <a:pt x="140" y="83"/>
                    </a:cubicBezTo>
                    <a:lnTo>
                      <a:pt x="143" y="162"/>
                    </a:lnTo>
                    <a:cubicBezTo>
                      <a:pt x="143" y="166"/>
                      <a:pt x="143" y="172"/>
                      <a:pt x="143" y="178"/>
                    </a:cubicBezTo>
                    <a:cubicBezTo>
                      <a:pt x="143" y="184"/>
                      <a:pt x="142" y="190"/>
                      <a:pt x="140" y="196"/>
                    </a:cubicBezTo>
                    <a:cubicBezTo>
                      <a:pt x="139" y="203"/>
                      <a:pt x="136" y="209"/>
                      <a:pt x="134" y="215"/>
                    </a:cubicBezTo>
                    <a:cubicBezTo>
                      <a:pt x="131" y="221"/>
                      <a:pt x="127" y="227"/>
                      <a:pt x="122" y="232"/>
                    </a:cubicBezTo>
                    <a:cubicBezTo>
                      <a:pt x="117" y="237"/>
                      <a:pt x="110" y="241"/>
                      <a:pt x="103" y="244"/>
                    </a:cubicBezTo>
                    <a:cubicBezTo>
                      <a:pt x="96" y="247"/>
                      <a:pt x="87" y="249"/>
                      <a:pt x="76" y="250"/>
                    </a:cubicBezTo>
                    <a:cubicBezTo>
                      <a:pt x="66" y="250"/>
                      <a:pt x="57" y="249"/>
                      <a:pt x="49" y="246"/>
                    </a:cubicBezTo>
                    <a:cubicBezTo>
                      <a:pt x="42" y="244"/>
                      <a:pt x="35" y="240"/>
                      <a:pt x="30" y="235"/>
                    </a:cubicBezTo>
                    <a:cubicBezTo>
                      <a:pt x="24" y="231"/>
                      <a:pt x="20" y="226"/>
                      <a:pt x="17" y="220"/>
                    </a:cubicBezTo>
                    <a:cubicBezTo>
                      <a:pt x="13" y="214"/>
                      <a:pt x="11" y="208"/>
                      <a:pt x="9" y="201"/>
                    </a:cubicBezTo>
                    <a:cubicBezTo>
                      <a:pt x="7" y="195"/>
                      <a:pt x="5" y="189"/>
                      <a:pt x="4" y="183"/>
                    </a:cubicBezTo>
                    <a:cubicBezTo>
                      <a:pt x="4" y="177"/>
                      <a:pt x="3" y="171"/>
                      <a:pt x="3" y="16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sp>
          <p:nvSpPr>
            <p:cNvPr id="235" name="TextBox 234">
              <a:extLst>
                <a:ext uri="{FF2B5EF4-FFF2-40B4-BE49-F238E27FC236}">
                  <a16:creationId xmlns:a16="http://schemas.microsoft.com/office/drawing/2014/main" id="{B7157A8E-F420-4E11-89DD-CDD2D3D719D9}"/>
                </a:ext>
              </a:extLst>
            </p:cNvPr>
            <p:cNvSpPr txBox="1"/>
            <p:nvPr/>
          </p:nvSpPr>
          <p:spPr>
            <a:xfrm>
              <a:off x="4474513" y="1018137"/>
              <a:ext cx="787326" cy="276999"/>
            </a:xfrm>
            <a:prstGeom prst="rect">
              <a:avLst/>
            </a:prstGeom>
            <a:noFill/>
          </p:spPr>
          <p:txBody>
            <a:bodyPr wrap="square" lIns="0" tIns="0" rIns="0" bIns="0" rtlCol="0">
              <a:spAutoFit/>
            </a:bodyPr>
            <a:lstStyle/>
            <a:p>
              <a:pPr algn="ctr">
                <a:lnSpc>
                  <a:spcPct val="90000"/>
                </a:lnSpc>
                <a:spcAft>
                  <a:spcPts val="600"/>
                </a:spcAft>
              </a:pPr>
              <a:r>
                <a:rPr lang="en-US" sz="2000">
                  <a:solidFill>
                    <a:schemeClr val="accent4"/>
                  </a:solidFill>
                  <a:latin typeface="Segoe UI Semibold" panose="020B0702040204020203" pitchFamily="34" charset="0"/>
                  <a:cs typeface="Segoe UI Semibold" panose="020B0702040204020203" pitchFamily="34" charset="0"/>
                </a:rPr>
                <a:t>10</a:t>
              </a:r>
              <a:r>
                <a:rPr lang="en-US" sz="1400">
                  <a:solidFill>
                    <a:schemeClr val="accent4"/>
                  </a:solidFill>
                </a:rPr>
                <a:t>TB</a:t>
              </a:r>
              <a:endParaRPr lang="en-US" sz="2000">
                <a:solidFill>
                  <a:schemeClr val="accent4"/>
                </a:solidFill>
              </a:endParaRPr>
            </a:p>
          </p:txBody>
        </p:sp>
      </p:grpSp>
      <p:sp>
        <p:nvSpPr>
          <p:cNvPr id="251" name="TextBox 250">
            <a:extLst>
              <a:ext uri="{FF2B5EF4-FFF2-40B4-BE49-F238E27FC236}">
                <a16:creationId xmlns:a16="http://schemas.microsoft.com/office/drawing/2014/main" id="{D4E5F920-B3EB-41B5-9014-B4759CE7C2D1}"/>
              </a:ext>
            </a:extLst>
          </p:cNvPr>
          <p:cNvSpPr txBox="1"/>
          <p:nvPr/>
        </p:nvSpPr>
        <p:spPr>
          <a:xfrm>
            <a:off x="5076651" y="5321969"/>
            <a:ext cx="752835" cy="424732"/>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r>
              <a:rPr lang="en-US" sz="1200"/>
              <a:t>Effective</a:t>
            </a:r>
            <a:br>
              <a:rPr lang="en-US" sz="1200"/>
            </a:br>
            <a:r>
              <a:rPr lang="en-US" sz="1200"/>
              <a:t>policy</a:t>
            </a:r>
          </a:p>
        </p:txBody>
      </p:sp>
      <p:sp>
        <p:nvSpPr>
          <p:cNvPr id="252" name="Arc 251">
            <a:extLst>
              <a:ext uri="{FF2B5EF4-FFF2-40B4-BE49-F238E27FC236}">
                <a16:creationId xmlns:a16="http://schemas.microsoft.com/office/drawing/2014/main" id="{6E86F004-AC5C-4A11-A534-A7467BFDF489}"/>
              </a:ext>
            </a:extLst>
          </p:cNvPr>
          <p:cNvSpPr/>
          <p:nvPr/>
        </p:nvSpPr>
        <p:spPr>
          <a:xfrm>
            <a:off x="3762532" y="3061025"/>
            <a:ext cx="2126072" cy="2126072"/>
          </a:xfrm>
          <a:prstGeom prst="arc">
            <a:avLst>
              <a:gd name="adj1" fmla="val 9905982"/>
              <a:gd name="adj2" fmla="val 12734190"/>
            </a:avLst>
          </a:prstGeom>
          <a:ln>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3" name="Title 1">
            <a:extLst>
              <a:ext uri="{FF2B5EF4-FFF2-40B4-BE49-F238E27FC236}">
                <a16:creationId xmlns:a16="http://schemas.microsoft.com/office/drawing/2014/main" id="{F0F4EE5A-854E-4FB4-8550-19182A5A762C}"/>
              </a:ext>
            </a:extLst>
          </p:cNvPr>
          <p:cNvSpPr txBox="1">
            <a:spLocks/>
          </p:cNvSpPr>
          <p:nvPr/>
        </p:nvSpPr>
        <p:spPr>
          <a:xfrm>
            <a:off x="246038" y="205572"/>
            <a:ext cx="11655840" cy="899665"/>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a:t>Conditional Access</a:t>
            </a:r>
          </a:p>
        </p:txBody>
      </p:sp>
      <p:sp>
        <p:nvSpPr>
          <p:cNvPr id="2" name="Rectangle 1">
            <a:extLst>
              <a:ext uri="{FF2B5EF4-FFF2-40B4-BE49-F238E27FC236}">
                <a16:creationId xmlns:a16="http://schemas.microsoft.com/office/drawing/2014/main" id="{05C38CF5-D689-4080-BEE1-436093246EEF}"/>
              </a:ext>
            </a:extLst>
          </p:cNvPr>
          <p:cNvSpPr/>
          <p:nvPr/>
        </p:nvSpPr>
        <p:spPr>
          <a:xfrm>
            <a:off x="107136" y="6432974"/>
            <a:ext cx="3490251" cy="369332"/>
          </a:xfrm>
          <a:prstGeom prst="rect">
            <a:avLst/>
          </a:prstGeom>
        </p:spPr>
        <p:txBody>
          <a:bodyPr wrap="none">
            <a:spAutoFit/>
          </a:bodyPr>
          <a:lstStyle/>
          <a:p>
            <a:r>
              <a:rPr lang="en-US" dirty="0">
                <a:hlinkClick r:id="rId5"/>
              </a:rPr>
              <a:t>aka.ms/azure/</a:t>
            </a:r>
            <a:r>
              <a:rPr lang="en-US" dirty="0" err="1">
                <a:hlinkClick r:id="rId5"/>
              </a:rPr>
              <a:t>ConditionalAccess</a:t>
            </a:r>
            <a:r>
              <a:rPr lang="en-US" dirty="0"/>
              <a:t> </a:t>
            </a:r>
          </a:p>
        </p:txBody>
      </p:sp>
    </p:spTree>
    <p:extLst>
      <p:ext uri="{BB962C8B-B14F-4D97-AF65-F5344CB8AC3E}">
        <p14:creationId xmlns:p14="http://schemas.microsoft.com/office/powerpoint/2010/main" val="1156047739"/>
      </p:ext>
    </p:extLst>
  </p:cSld>
  <p:clrMapOvr>
    <a:masterClrMapping/>
  </p:clrMapOvr>
  <p:transition advTm="83333">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7"/>
                                        </p:tgtEl>
                                        <p:attrNameLst>
                                          <p:attrName>style.visibility</p:attrName>
                                        </p:attrNameLst>
                                      </p:cBhvr>
                                      <p:to>
                                        <p:strVal val="visible"/>
                                      </p:to>
                                    </p:set>
                                    <p:anim calcmode="lin" valueType="num">
                                      <p:cBhvr additive="base">
                                        <p:cTn id="7" dur="500" fill="hold"/>
                                        <p:tgtEl>
                                          <p:spTgt spid="137"/>
                                        </p:tgtEl>
                                        <p:attrNameLst>
                                          <p:attrName>ppt_x</p:attrName>
                                        </p:attrNameLst>
                                      </p:cBhvr>
                                      <p:tavLst>
                                        <p:tav tm="0">
                                          <p:val>
                                            <p:strVal val="0-#ppt_w/2"/>
                                          </p:val>
                                        </p:tav>
                                        <p:tav tm="100000">
                                          <p:val>
                                            <p:strVal val="#ppt_x"/>
                                          </p:val>
                                        </p:tav>
                                      </p:tavLst>
                                    </p:anim>
                                    <p:anim calcmode="lin" valueType="num">
                                      <p:cBhvr additive="base">
                                        <p:cTn id="8" dur="500" fill="hold"/>
                                        <p:tgtEl>
                                          <p:spTgt spid="13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94"/>
                                        </p:tgtEl>
                                        <p:attrNameLst>
                                          <p:attrName>style.visibility</p:attrName>
                                        </p:attrNameLst>
                                      </p:cBhvr>
                                      <p:to>
                                        <p:strVal val="visible"/>
                                      </p:to>
                                    </p:set>
                                    <p:animEffect transition="in" filter="wipe(left)">
                                      <p:cBhvr>
                                        <p:cTn id="12" dur="500"/>
                                        <p:tgtEl>
                                          <p:spTgt spid="94"/>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119"/>
                                        </p:tgtEl>
                                        <p:attrNameLst>
                                          <p:attrName>style.visibility</p:attrName>
                                        </p:attrNameLst>
                                      </p:cBhvr>
                                      <p:to>
                                        <p:strVal val="visible"/>
                                      </p:to>
                                    </p:set>
                                    <p:animEffect transition="in" filter="wipe(left)">
                                      <p:cBhvr>
                                        <p:cTn id="16" dur="500"/>
                                        <p:tgtEl>
                                          <p:spTgt spid="11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114"/>
                                        </p:tgtEl>
                                        <p:attrNameLst>
                                          <p:attrName>style.visibility</p:attrName>
                                        </p:attrNameLst>
                                      </p:cBhvr>
                                      <p:to>
                                        <p:strVal val="visible"/>
                                      </p:to>
                                    </p:set>
                                    <p:animEffect transition="in" filter="fade">
                                      <p:cBhvr>
                                        <p:cTn id="20" dur="250"/>
                                        <p:tgtEl>
                                          <p:spTgt spid="11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33"/>
                                        </p:tgtEl>
                                        <p:attrNameLst>
                                          <p:attrName>style.visibility</p:attrName>
                                        </p:attrNameLst>
                                      </p:cBhvr>
                                      <p:to>
                                        <p:strVal val="visible"/>
                                      </p:to>
                                    </p:set>
                                    <p:animEffect transition="in" filter="fade">
                                      <p:cBhvr>
                                        <p:cTn id="23" dur="250"/>
                                        <p:tgtEl>
                                          <p:spTgt spid="133"/>
                                        </p:tgtEl>
                                      </p:cBhvr>
                                    </p:animEffect>
                                  </p:childTnLst>
                                </p:cTn>
                              </p:par>
                              <p:par>
                                <p:cTn id="24" presetID="10" presetClass="entr" presetSubtype="0" fill="hold" nodeType="withEffect">
                                  <p:stCondLst>
                                    <p:cond delay="100"/>
                                  </p:stCondLst>
                                  <p:childTnLst>
                                    <p:set>
                                      <p:cBhvr>
                                        <p:cTn id="25" dur="1" fill="hold">
                                          <p:stCondLst>
                                            <p:cond delay="0"/>
                                          </p:stCondLst>
                                        </p:cTn>
                                        <p:tgtEl>
                                          <p:spTgt spid="105"/>
                                        </p:tgtEl>
                                        <p:attrNameLst>
                                          <p:attrName>style.visibility</p:attrName>
                                        </p:attrNameLst>
                                      </p:cBhvr>
                                      <p:to>
                                        <p:strVal val="visible"/>
                                      </p:to>
                                    </p:set>
                                    <p:animEffect transition="in" filter="fade">
                                      <p:cBhvr>
                                        <p:cTn id="26" dur="250"/>
                                        <p:tgtEl>
                                          <p:spTgt spid="105"/>
                                        </p:tgtEl>
                                      </p:cBhvr>
                                    </p:animEffect>
                                  </p:childTnLst>
                                </p:cTn>
                              </p:par>
                              <p:par>
                                <p:cTn id="27" presetID="10" presetClass="entr" presetSubtype="0" fill="hold" grpId="0" nodeType="withEffect">
                                  <p:stCondLst>
                                    <p:cond delay="100"/>
                                  </p:stCondLst>
                                  <p:childTnLst>
                                    <p:set>
                                      <p:cBhvr>
                                        <p:cTn id="28" dur="1" fill="hold">
                                          <p:stCondLst>
                                            <p:cond delay="0"/>
                                          </p:stCondLst>
                                        </p:cTn>
                                        <p:tgtEl>
                                          <p:spTgt spid="134"/>
                                        </p:tgtEl>
                                        <p:attrNameLst>
                                          <p:attrName>style.visibility</p:attrName>
                                        </p:attrNameLst>
                                      </p:cBhvr>
                                      <p:to>
                                        <p:strVal val="visible"/>
                                      </p:to>
                                    </p:set>
                                    <p:animEffect transition="in" filter="fade">
                                      <p:cBhvr>
                                        <p:cTn id="29" dur="250"/>
                                        <p:tgtEl>
                                          <p:spTgt spid="134"/>
                                        </p:tgtEl>
                                      </p:cBhvr>
                                    </p:animEffect>
                                  </p:childTnLst>
                                </p:cTn>
                              </p:par>
                              <p:par>
                                <p:cTn id="30" presetID="10" presetClass="entr" presetSubtype="0" fill="hold" nodeType="withEffect">
                                  <p:stCondLst>
                                    <p:cond delay="20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250"/>
                                        <p:tgtEl>
                                          <p:spTgt spid="95"/>
                                        </p:tgtEl>
                                      </p:cBhvr>
                                    </p:animEffect>
                                  </p:childTnLst>
                                </p:cTn>
                              </p:par>
                              <p:par>
                                <p:cTn id="33" presetID="10" presetClass="entr" presetSubtype="0" fill="hold" grpId="0" nodeType="withEffect">
                                  <p:stCondLst>
                                    <p:cond delay="200"/>
                                  </p:stCondLst>
                                  <p:childTnLst>
                                    <p:set>
                                      <p:cBhvr>
                                        <p:cTn id="34" dur="1" fill="hold">
                                          <p:stCondLst>
                                            <p:cond delay="0"/>
                                          </p:stCondLst>
                                        </p:cTn>
                                        <p:tgtEl>
                                          <p:spTgt spid="135"/>
                                        </p:tgtEl>
                                        <p:attrNameLst>
                                          <p:attrName>style.visibility</p:attrName>
                                        </p:attrNameLst>
                                      </p:cBhvr>
                                      <p:to>
                                        <p:strVal val="visible"/>
                                      </p:to>
                                    </p:set>
                                    <p:animEffect transition="in" filter="fade">
                                      <p:cBhvr>
                                        <p:cTn id="35" dur="250"/>
                                        <p:tgtEl>
                                          <p:spTgt spid="135"/>
                                        </p:tgtEl>
                                      </p:cBhvr>
                                    </p:animEffect>
                                  </p:childTnLst>
                                </p:cTn>
                              </p:par>
                              <p:par>
                                <p:cTn id="36" presetID="10" presetClass="entr" presetSubtype="0" fill="hold" nodeType="withEffect">
                                  <p:stCondLst>
                                    <p:cond delay="300"/>
                                  </p:stCondLst>
                                  <p:childTnLst>
                                    <p:set>
                                      <p:cBhvr>
                                        <p:cTn id="37" dur="1" fill="hold">
                                          <p:stCondLst>
                                            <p:cond delay="0"/>
                                          </p:stCondLst>
                                        </p:cTn>
                                        <p:tgtEl>
                                          <p:spTgt spid="98"/>
                                        </p:tgtEl>
                                        <p:attrNameLst>
                                          <p:attrName>style.visibility</p:attrName>
                                        </p:attrNameLst>
                                      </p:cBhvr>
                                      <p:to>
                                        <p:strVal val="visible"/>
                                      </p:to>
                                    </p:set>
                                    <p:animEffect transition="in" filter="fade">
                                      <p:cBhvr>
                                        <p:cTn id="38" dur="250"/>
                                        <p:tgtEl>
                                          <p:spTgt spid="98"/>
                                        </p:tgtEl>
                                      </p:cBhvr>
                                    </p:animEffect>
                                  </p:childTnLst>
                                </p:cTn>
                              </p:par>
                              <p:par>
                                <p:cTn id="39" presetID="10" presetClass="entr" presetSubtype="0" fill="hold" grpId="0" nodeType="withEffect">
                                  <p:stCondLst>
                                    <p:cond delay="300"/>
                                  </p:stCondLst>
                                  <p:childTnLst>
                                    <p:set>
                                      <p:cBhvr>
                                        <p:cTn id="40" dur="1" fill="hold">
                                          <p:stCondLst>
                                            <p:cond delay="0"/>
                                          </p:stCondLst>
                                        </p:cTn>
                                        <p:tgtEl>
                                          <p:spTgt spid="136"/>
                                        </p:tgtEl>
                                        <p:attrNameLst>
                                          <p:attrName>style.visibility</p:attrName>
                                        </p:attrNameLst>
                                      </p:cBhvr>
                                      <p:to>
                                        <p:strVal val="visible"/>
                                      </p:to>
                                    </p:set>
                                    <p:animEffect transition="in" filter="fade">
                                      <p:cBhvr>
                                        <p:cTn id="41" dur="250"/>
                                        <p:tgtEl>
                                          <p:spTgt spid="136"/>
                                        </p:tgtEl>
                                      </p:cBhvr>
                                    </p:animEffect>
                                  </p:childTnLst>
                                </p:cTn>
                              </p:par>
                            </p:childTnLst>
                          </p:cTn>
                        </p:par>
                        <p:par>
                          <p:cTn id="42" fill="hold">
                            <p:stCondLst>
                              <p:cond delay="2050"/>
                            </p:stCondLst>
                            <p:childTnLst>
                              <p:par>
                                <p:cTn id="43" presetID="10" presetClass="entr" presetSubtype="0" fill="hold" grpId="0" nodeType="afterEffect">
                                  <p:stCondLst>
                                    <p:cond delay="0"/>
                                  </p:stCondLst>
                                  <p:childTnLst>
                                    <p:set>
                                      <p:cBhvr>
                                        <p:cTn id="44" dur="1" fill="hold">
                                          <p:stCondLst>
                                            <p:cond delay="0"/>
                                          </p:stCondLst>
                                        </p:cTn>
                                        <p:tgtEl>
                                          <p:spTgt spid="145"/>
                                        </p:tgtEl>
                                        <p:attrNameLst>
                                          <p:attrName>style.visibility</p:attrName>
                                        </p:attrNameLst>
                                      </p:cBhvr>
                                      <p:to>
                                        <p:strVal val="visible"/>
                                      </p:to>
                                    </p:set>
                                    <p:animEffect transition="in" filter="fade">
                                      <p:cBhvr>
                                        <p:cTn id="45" dur="500"/>
                                        <p:tgtEl>
                                          <p:spTgt spid="145"/>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146"/>
                                        </p:tgtEl>
                                        <p:attrNameLst>
                                          <p:attrName>style.visibility</p:attrName>
                                        </p:attrNameLst>
                                      </p:cBhvr>
                                      <p:to>
                                        <p:strVal val="visible"/>
                                      </p:to>
                                    </p:set>
                                    <p:animEffect transition="in" filter="wipe(left)">
                                      <p:cBhvr>
                                        <p:cTn id="50" dur="500"/>
                                        <p:tgtEl>
                                          <p:spTgt spid="146"/>
                                        </p:tgtEl>
                                      </p:cBhvr>
                                    </p:animEffect>
                                  </p:childTnLst>
                                </p:cTn>
                              </p:par>
                              <p:par>
                                <p:cTn id="51" presetID="10" presetClass="entr" presetSubtype="0" fill="hold" nodeType="withEffect">
                                  <p:stCondLst>
                                    <p:cond delay="250"/>
                                  </p:stCondLst>
                                  <p:childTnLst>
                                    <p:set>
                                      <p:cBhvr>
                                        <p:cTn id="52" dur="1" fill="hold">
                                          <p:stCondLst>
                                            <p:cond delay="0"/>
                                          </p:stCondLst>
                                        </p:cTn>
                                        <p:tgtEl>
                                          <p:spTgt spid="156"/>
                                        </p:tgtEl>
                                        <p:attrNameLst>
                                          <p:attrName>style.visibility</p:attrName>
                                        </p:attrNameLst>
                                      </p:cBhvr>
                                      <p:to>
                                        <p:strVal val="visible"/>
                                      </p:to>
                                    </p:set>
                                    <p:animEffect transition="in" filter="fade">
                                      <p:cBhvr>
                                        <p:cTn id="53" dur="500"/>
                                        <p:tgtEl>
                                          <p:spTgt spid="156"/>
                                        </p:tgtEl>
                                      </p:cBhvr>
                                    </p:animEffect>
                                  </p:childTnLst>
                                </p:cTn>
                              </p:par>
                              <p:par>
                                <p:cTn id="54" presetID="10" presetClass="entr" presetSubtype="0" fill="hold" nodeType="withEffect">
                                  <p:stCondLst>
                                    <p:cond delay="500"/>
                                  </p:stCondLst>
                                  <p:childTnLst>
                                    <p:set>
                                      <p:cBhvr>
                                        <p:cTn id="55" dur="1" fill="hold">
                                          <p:stCondLst>
                                            <p:cond delay="0"/>
                                          </p:stCondLst>
                                        </p:cTn>
                                        <p:tgtEl>
                                          <p:spTgt spid="209"/>
                                        </p:tgtEl>
                                        <p:attrNameLst>
                                          <p:attrName>style.visibility</p:attrName>
                                        </p:attrNameLst>
                                      </p:cBhvr>
                                      <p:to>
                                        <p:strVal val="visible"/>
                                      </p:to>
                                    </p:set>
                                    <p:animEffect transition="in" filter="fade">
                                      <p:cBhvr>
                                        <p:cTn id="56" dur="500"/>
                                        <p:tgtEl>
                                          <p:spTgt spid="209"/>
                                        </p:tgtEl>
                                      </p:cBhvr>
                                    </p:animEffect>
                                  </p:childTnLst>
                                </p:cTn>
                              </p:par>
                              <p:par>
                                <p:cTn id="57" presetID="10" presetClass="entr" presetSubtype="0" fill="hold" nodeType="withEffect">
                                  <p:stCondLst>
                                    <p:cond delay="750"/>
                                  </p:stCondLst>
                                  <p:childTnLst>
                                    <p:set>
                                      <p:cBhvr>
                                        <p:cTn id="58" dur="1" fill="hold">
                                          <p:stCondLst>
                                            <p:cond delay="0"/>
                                          </p:stCondLst>
                                        </p:cTn>
                                        <p:tgtEl>
                                          <p:spTgt spid="160"/>
                                        </p:tgtEl>
                                        <p:attrNameLst>
                                          <p:attrName>style.visibility</p:attrName>
                                        </p:attrNameLst>
                                      </p:cBhvr>
                                      <p:to>
                                        <p:strVal val="visible"/>
                                      </p:to>
                                    </p:set>
                                    <p:animEffect transition="in" filter="fade">
                                      <p:cBhvr>
                                        <p:cTn id="59" dur="500"/>
                                        <p:tgtEl>
                                          <p:spTgt spid="160"/>
                                        </p:tgtEl>
                                      </p:cBhvr>
                                    </p:animEffect>
                                  </p:childTnLst>
                                </p:cTn>
                              </p:par>
                            </p:childTnLst>
                          </p:cTn>
                        </p:par>
                        <p:par>
                          <p:cTn id="60" fill="hold">
                            <p:stCondLst>
                              <p:cond delay="1250"/>
                            </p:stCondLst>
                            <p:childTnLst>
                              <p:par>
                                <p:cTn id="61" presetID="47" presetClass="entr" presetSubtype="0" fill="hold" grpId="0" nodeType="afterEffect">
                                  <p:stCondLst>
                                    <p:cond delay="0"/>
                                  </p:stCondLst>
                                  <p:childTnLst>
                                    <p:set>
                                      <p:cBhvr>
                                        <p:cTn id="62" dur="1" fill="hold">
                                          <p:stCondLst>
                                            <p:cond delay="0"/>
                                          </p:stCondLst>
                                        </p:cTn>
                                        <p:tgtEl>
                                          <p:spTgt spid="232"/>
                                        </p:tgtEl>
                                        <p:attrNameLst>
                                          <p:attrName>style.visibility</p:attrName>
                                        </p:attrNameLst>
                                      </p:cBhvr>
                                      <p:to>
                                        <p:strVal val="visible"/>
                                      </p:to>
                                    </p:set>
                                    <p:animEffect transition="in" filter="fade">
                                      <p:cBhvr>
                                        <p:cTn id="63" dur="1000"/>
                                        <p:tgtEl>
                                          <p:spTgt spid="232"/>
                                        </p:tgtEl>
                                      </p:cBhvr>
                                    </p:animEffect>
                                    <p:anim calcmode="lin" valueType="num">
                                      <p:cBhvr>
                                        <p:cTn id="64" dur="1000" fill="hold"/>
                                        <p:tgtEl>
                                          <p:spTgt spid="232"/>
                                        </p:tgtEl>
                                        <p:attrNameLst>
                                          <p:attrName>ppt_x</p:attrName>
                                        </p:attrNameLst>
                                      </p:cBhvr>
                                      <p:tavLst>
                                        <p:tav tm="0">
                                          <p:val>
                                            <p:strVal val="#ppt_x"/>
                                          </p:val>
                                        </p:tav>
                                        <p:tav tm="100000">
                                          <p:val>
                                            <p:strVal val="#ppt_x"/>
                                          </p:val>
                                        </p:tav>
                                      </p:tavLst>
                                    </p:anim>
                                    <p:anim calcmode="lin" valueType="num">
                                      <p:cBhvr>
                                        <p:cTn id="65" dur="1000" fill="hold"/>
                                        <p:tgtEl>
                                          <p:spTgt spid="232"/>
                                        </p:tgtEl>
                                        <p:attrNameLst>
                                          <p:attrName>ppt_y</p:attrName>
                                        </p:attrNameLst>
                                      </p:cBhvr>
                                      <p:tavLst>
                                        <p:tav tm="0">
                                          <p:val>
                                            <p:strVal val="#ppt_y-.1"/>
                                          </p:val>
                                        </p:tav>
                                        <p:tav tm="100000">
                                          <p:val>
                                            <p:strVal val="#ppt_y"/>
                                          </p:val>
                                        </p:tav>
                                      </p:tavLst>
                                    </p:anim>
                                  </p:childTnLst>
                                </p:cTn>
                              </p:par>
                              <p:par>
                                <p:cTn id="66" presetID="47" presetClass="entr" presetSubtype="0" fill="hold" grpId="0" nodeType="withEffect">
                                  <p:stCondLst>
                                    <p:cond delay="0"/>
                                  </p:stCondLst>
                                  <p:childTnLst>
                                    <p:set>
                                      <p:cBhvr>
                                        <p:cTn id="67" dur="1" fill="hold">
                                          <p:stCondLst>
                                            <p:cond delay="0"/>
                                          </p:stCondLst>
                                        </p:cTn>
                                        <p:tgtEl>
                                          <p:spTgt spid="132"/>
                                        </p:tgtEl>
                                        <p:attrNameLst>
                                          <p:attrName>style.visibility</p:attrName>
                                        </p:attrNameLst>
                                      </p:cBhvr>
                                      <p:to>
                                        <p:strVal val="visible"/>
                                      </p:to>
                                    </p:set>
                                    <p:animEffect transition="in" filter="fade">
                                      <p:cBhvr>
                                        <p:cTn id="68" dur="1000"/>
                                        <p:tgtEl>
                                          <p:spTgt spid="132"/>
                                        </p:tgtEl>
                                      </p:cBhvr>
                                    </p:animEffect>
                                    <p:anim calcmode="lin" valueType="num">
                                      <p:cBhvr>
                                        <p:cTn id="69" dur="1000" fill="hold"/>
                                        <p:tgtEl>
                                          <p:spTgt spid="132"/>
                                        </p:tgtEl>
                                        <p:attrNameLst>
                                          <p:attrName>ppt_x</p:attrName>
                                        </p:attrNameLst>
                                      </p:cBhvr>
                                      <p:tavLst>
                                        <p:tav tm="0">
                                          <p:val>
                                            <p:strVal val="#ppt_x"/>
                                          </p:val>
                                        </p:tav>
                                        <p:tav tm="100000">
                                          <p:val>
                                            <p:strVal val="#ppt_x"/>
                                          </p:val>
                                        </p:tav>
                                      </p:tavLst>
                                    </p:anim>
                                    <p:anim calcmode="lin" valueType="num">
                                      <p:cBhvr>
                                        <p:cTn id="70" dur="1000" fill="hold"/>
                                        <p:tgtEl>
                                          <p:spTgt spid="132"/>
                                        </p:tgtEl>
                                        <p:attrNameLst>
                                          <p:attrName>ppt_y</p:attrName>
                                        </p:attrNameLst>
                                      </p:cBhvr>
                                      <p:tavLst>
                                        <p:tav tm="0">
                                          <p:val>
                                            <p:strVal val="#ppt_y-.1"/>
                                          </p:val>
                                        </p:tav>
                                        <p:tav tm="100000">
                                          <p:val>
                                            <p:strVal val="#ppt_y"/>
                                          </p:val>
                                        </p:tav>
                                      </p:tavLst>
                                    </p:anim>
                                  </p:childTnLst>
                                </p:cTn>
                              </p:par>
                            </p:childTnLst>
                          </p:cTn>
                        </p:par>
                        <p:par>
                          <p:cTn id="71" fill="hold">
                            <p:stCondLst>
                              <p:cond delay="2250"/>
                            </p:stCondLst>
                            <p:childTnLst>
                              <p:par>
                                <p:cTn id="72" presetID="2" presetClass="entr" presetSubtype="1" fill="hold" nodeType="afterEffect">
                                  <p:stCondLst>
                                    <p:cond delay="0"/>
                                  </p:stCondLst>
                                  <p:childTnLst>
                                    <p:set>
                                      <p:cBhvr>
                                        <p:cTn id="73" dur="1" fill="hold">
                                          <p:stCondLst>
                                            <p:cond delay="0"/>
                                          </p:stCondLst>
                                        </p:cTn>
                                        <p:tgtEl>
                                          <p:spTgt spid="233"/>
                                        </p:tgtEl>
                                        <p:attrNameLst>
                                          <p:attrName>style.visibility</p:attrName>
                                        </p:attrNameLst>
                                      </p:cBhvr>
                                      <p:to>
                                        <p:strVal val="visible"/>
                                      </p:to>
                                    </p:set>
                                    <p:anim calcmode="lin" valueType="num">
                                      <p:cBhvr additive="base">
                                        <p:cTn id="74" dur="500" fill="hold"/>
                                        <p:tgtEl>
                                          <p:spTgt spid="233"/>
                                        </p:tgtEl>
                                        <p:attrNameLst>
                                          <p:attrName>ppt_x</p:attrName>
                                        </p:attrNameLst>
                                      </p:cBhvr>
                                      <p:tavLst>
                                        <p:tav tm="0">
                                          <p:val>
                                            <p:strVal val="#ppt_x"/>
                                          </p:val>
                                        </p:tav>
                                        <p:tav tm="100000">
                                          <p:val>
                                            <p:strVal val="#ppt_x"/>
                                          </p:val>
                                        </p:tav>
                                      </p:tavLst>
                                    </p:anim>
                                    <p:anim calcmode="lin" valueType="num">
                                      <p:cBhvr additive="base">
                                        <p:cTn id="75" dur="500" fill="hold"/>
                                        <p:tgtEl>
                                          <p:spTgt spid="233"/>
                                        </p:tgtEl>
                                        <p:attrNameLst>
                                          <p:attrName>ppt_y</p:attrName>
                                        </p:attrNameLst>
                                      </p:cBhvr>
                                      <p:tavLst>
                                        <p:tav tm="0">
                                          <p:val>
                                            <p:strVal val="0-#ppt_h/2"/>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220"/>
                                        </p:tgtEl>
                                        <p:attrNameLst>
                                          <p:attrName>style.visibility</p:attrName>
                                        </p:attrNameLst>
                                      </p:cBhvr>
                                      <p:to>
                                        <p:strVal val="visible"/>
                                      </p:to>
                                    </p:set>
                                    <p:animEffect transition="in" filter="fade">
                                      <p:cBhvr>
                                        <p:cTn id="80" dur="500"/>
                                        <p:tgtEl>
                                          <p:spTgt spid="22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19"/>
                                        </p:tgtEl>
                                        <p:attrNameLst>
                                          <p:attrName>style.visibility</p:attrName>
                                        </p:attrNameLst>
                                      </p:cBhvr>
                                      <p:to>
                                        <p:strVal val="visible"/>
                                      </p:to>
                                    </p:set>
                                    <p:animEffect transition="in" filter="fade">
                                      <p:cBhvr>
                                        <p:cTn id="83" dur="500"/>
                                        <p:tgtEl>
                                          <p:spTgt spid="219"/>
                                        </p:tgtEl>
                                      </p:cBhvr>
                                    </p:animEffect>
                                  </p:childTnLst>
                                </p:cTn>
                              </p:par>
                            </p:childTnLst>
                          </p:cTn>
                        </p:par>
                        <p:par>
                          <p:cTn id="84" fill="hold">
                            <p:stCondLst>
                              <p:cond delay="500"/>
                            </p:stCondLst>
                            <p:childTnLst>
                              <p:par>
                                <p:cTn id="85" presetID="10" presetClass="entr" presetSubtype="0" fill="hold" nodeType="afterEffect">
                                  <p:stCondLst>
                                    <p:cond delay="0"/>
                                  </p:stCondLst>
                                  <p:childTnLst>
                                    <p:set>
                                      <p:cBhvr>
                                        <p:cTn id="86" dur="1" fill="hold">
                                          <p:stCondLst>
                                            <p:cond delay="0"/>
                                          </p:stCondLst>
                                        </p:cTn>
                                        <p:tgtEl>
                                          <p:spTgt spid="226"/>
                                        </p:tgtEl>
                                        <p:attrNameLst>
                                          <p:attrName>style.visibility</p:attrName>
                                        </p:attrNameLst>
                                      </p:cBhvr>
                                      <p:to>
                                        <p:strVal val="visible"/>
                                      </p:to>
                                    </p:set>
                                    <p:animEffect transition="in" filter="fade">
                                      <p:cBhvr>
                                        <p:cTn id="87" dur="500"/>
                                        <p:tgtEl>
                                          <p:spTgt spid="226"/>
                                        </p:tgtEl>
                                      </p:cBhvr>
                                    </p:animEffect>
                                  </p:childTnLst>
                                </p:cTn>
                              </p:par>
                              <p:par>
                                <p:cTn id="88" presetID="8" presetClass="emph" presetSubtype="0" fill="hold" nodeType="withEffect">
                                  <p:stCondLst>
                                    <p:cond delay="0"/>
                                  </p:stCondLst>
                                  <p:childTnLst>
                                    <p:animRot by="21600000">
                                      <p:cBhvr>
                                        <p:cTn id="89" dur="1250" fill="hold"/>
                                        <p:tgtEl>
                                          <p:spTgt spid="226"/>
                                        </p:tgtEl>
                                        <p:attrNameLst>
                                          <p:attrName>r</p:attrName>
                                        </p:attrNameLst>
                                      </p:cBhvr>
                                    </p:animRot>
                                  </p:childTnLst>
                                </p:cTn>
                              </p:par>
                              <p:par>
                                <p:cTn id="90" presetID="10" presetClass="entr" presetSubtype="0" fill="hold" grpId="0" nodeType="withEffect">
                                  <p:stCondLst>
                                    <p:cond delay="1000"/>
                                  </p:stCondLst>
                                  <p:childTnLst>
                                    <p:set>
                                      <p:cBhvr>
                                        <p:cTn id="91" dur="1" fill="hold">
                                          <p:stCondLst>
                                            <p:cond delay="0"/>
                                          </p:stCondLst>
                                        </p:cTn>
                                        <p:tgtEl>
                                          <p:spTgt spid="230"/>
                                        </p:tgtEl>
                                        <p:attrNameLst>
                                          <p:attrName>style.visibility</p:attrName>
                                        </p:attrNameLst>
                                      </p:cBhvr>
                                      <p:to>
                                        <p:strVal val="visible"/>
                                      </p:to>
                                    </p:set>
                                    <p:animEffect transition="in" filter="fade">
                                      <p:cBhvr>
                                        <p:cTn id="92" dur="500"/>
                                        <p:tgtEl>
                                          <p:spTgt spid="230"/>
                                        </p:tgtEl>
                                      </p:cBhvr>
                                    </p:animEffect>
                                  </p:childTnLst>
                                </p:cTn>
                              </p:par>
                            </p:childTnLst>
                          </p:cTn>
                        </p:par>
                        <p:par>
                          <p:cTn id="93" fill="hold">
                            <p:stCondLst>
                              <p:cond delay="2000"/>
                            </p:stCondLst>
                            <p:childTnLst>
                              <p:par>
                                <p:cTn id="94" presetID="10" presetClass="entr" presetSubtype="0" fill="hold" nodeType="afterEffect">
                                  <p:stCondLst>
                                    <p:cond delay="0"/>
                                  </p:stCondLst>
                                  <p:childTnLst>
                                    <p:set>
                                      <p:cBhvr>
                                        <p:cTn id="95" dur="1" fill="hold">
                                          <p:stCondLst>
                                            <p:cond delay="0"/>
                                          </p:stCondLst>
                                        </p:cTn>
                                        <p:tgtEl>
                                          <p:spTgt spid="120"/>
                                        </p:tgtEl>
                                        <p:attrNameLst>
                                          <p:attrName>style.visibility</p:attrName>
                                        </p:attrNameLst>
                                      </p:cBhvr>
                                      <p:to>
                                        <p:strVal val="visible"/>
                                      </p:to>
                                    </p:set>
                                    <p:animEffect transition="in" filter="fade">
                                      <p:cBhvr>
                                        <p:cTn id="96" dur="1000"/>
                                        <p:tgtEl>
                                          <p:spTgt spid="120"/>
                                        </p:tgtEl>
                                      </p:cBhvr>
                                    </p:animEffect>
                                  </p:childTnLst>
                                </p:cTn>
                              </p:par>
                              <p:par>
                                <p:cTn id="97" presetID="63" presetClass="path" presetSubtype="0" accel="50000" decel="50000" fill="hold" nodeType="withEffect">
                                  <p:stCondLst>
                                    <p:cond delay="0"/>
                                  </p:stCondLst>
                                  <p:childTnLst>
                                    <p:animMotion origin="layout" path="M -0.09765 4.81481E-6 L -2.08333E-6 4.81481E-6 " pathEditMode="relative" rAng="0" ptsTypes="AA">
                                      <p:cBhvr>
                                        <p:cTn id="98" dur="1500" fill="hold"/>
                                        <p:tgtEl>
                                          <p:spTgt spid="120"/>
                                        </p:tgtEl>
                                        <p:attrNameLst>
                                          <p:attrName>ppt_x</p:attrName>
                                          <p:attrName>ppt_y</p:attrName>
                                        </p:attrNameLst>
                                      </p:cBhvr>
                                      <p:rCtr x="4883" y="0"/>
                                    </p:animMotion>
                                  </p:childTnLst>
                                </p:cTn>
                              </p:par>
                              <p:par>
                                <p:cTn id="99" presetID="10" presetClass="entr" presetSubtype="0" fill="hold" grpId="0" nodeType="withEffect">
                                  <p:stCondLst>
                                    <p:cond delay="1000"/>
                                  </p:stCondLst>
                                  <p:childTnLst>
                                    <p:set>
                                      <p:cBhvr>
                                        <p:cTn id="100" dur="1" fill="hold">
                                          <p:stCondLst>
                                            <p:cond delay="0"/>
                                          </p:stCondLst>
                                        </p:cTn>
                                        <p:tgtEl>
                                          <p:spTgt spid="251"/>
                                        </p:tgtEl>
                                        <p:attrNameLst>
                                          <p:attrName>style.visibility</p:attrName>
                                        </p:attrNameLst>
                                      </p:cBhvr>
                                      <p:to>
                                        <p:strVal val="visible"/>
                                      </p:to>
                                    </p:set>
                                    <p:animEffect transition="in" filter="fade">
                                      <p:cBhvr>
                                        <p:cTn id="101" dur="500"/>
                                        <p:tgtEl>
                                          <p:spTgt spid="251"/>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8" fill="hold" grpId="0" nodeType="clickEffect">
                                  <p:stCondLst>
                                    <p:cond delay="0"/>
                                  </p:stCondLst>
                                  <p:childTnLst>
                                    <p:set>
                                      <p:cBhvr>
                                        <p:cTn id="105" dur="1" fill="hold">
                                          <p:stCondLst>
                                            <p:cond delay="0"/>
                                          </p:stCondLst>
                                        </p:cTn>
                                        <p:tgtEl>
                                          <p:spTgt spid="28"/>
                                        </p:tgtEl>
                                        <p:attrNameLst>
                                          <p:attrName>style.visibility</p:attrName>
                                        </p:attrNameLst>
                                      </p:cBhvr>
                                      <p:to>
                                        <p:strVal val="visible"/>
                                      </p:to>
                                    </p:set>
                                    <p:animEffect transition="in" filter="wipe(left)">
                                      <p:cBhvr>
                                        <p:cTn id="106" dur="500"/>
                                        <p:tgtEl>
                                          <p:spTgt spid="28"/>
                                        </p:tgtEl>
                                      </p:cBhvr>
                                    </p:animEffect>
                                  </p:childTnLst>
                                </p:cTn>
                              </p:par>
                              <p:par>
                                <p:cTn id="107" presetID="22" presetClass="entr" presetSubtype="8" fill="hold" grpId="0" nodeType="withEffect">
                                  <p:stCondLst>
                                    <p:cond delay="0"/>
                                  </p:stCondLst>
                                  <p:childTnLst>
                                    <p:set>
                                      <p:cBhvr>
                                        <p:cTn id="108" dur="1" fill="hold">
                                          <p:stCondLst>
                                            <p:cond delay="0"/>
                                          </p:stCondLst>
                                        </p:cTn>
                                        <p:tgtEl>
                                          <p:spTgt spid="29"/>
                                        </p:tgtEl>
                                        <p:attrNameLst>
                                          <p:attrName>style.visibility</p:attrName>
                                        </p:attrNameLst>
                                      </p:cBhvr>
                                      <p:to>
                                        <p:strVal val="visible"/>
                                      </p:to>
                                    </p:set>
                                    <p:animEffect transition="in" filter="wipe(left)">
                                      <p:cBhvr>
                                        <p:cTn id="109" dur="500"/>
                                        <p:tgtEl>
                                          <p:spTgt spid="29"/>
                                        </p:tgtEl>
                                      </p:cBhvr>
                                    </p:animEffect>
                                  </p:childTnLst>
                                </p:cTn>
                              </p:par>
                              <p:par>
                                <p:cTn id="110" presetID="22" presetClass="entr" presetSubtype="8" fill="hold" grpId="0" nodeType="withEffect">
                                  <p:stCondLst>
                                    <p:cond delay="0"/>
                                  </p:stCondLst>
                                  <p:childTnLst>
                                    <p:set>
                                      <p:cBhvr>
                                        <p:cTn id="111" dur="1" fill="hold">
                                          <p:stCondLst>
                                            <p:cond delay="0"/>
                                          </p:stCondLst>
                                        </p:cTn>
                                        <p:tgtEl>
                                          <p:spTgt spid="252"/>
                                        </p:tgtEl>
                                        <p:attrNameLst>
                                          <p:attrName>style.visibility</p:attrName>
                                        </p:attrNameLst>
                                      </p:cBhvr>
                                      <p:to>
                                        <p:strVal val="visible"/>
                                      </p:to>
                                    </p:set>
                                    <p:animEffect transition="in" filter="wipe(left)">
                                      <p:cBhvr>
                                        <p:cTn id="112" dur="500"/>
                                        <p:tgtEl>
                                          <p:spTgt spid="252"/>
                                        </p:tgtEl>
                                      </p:cBhvr>
                                    </p:animEffect>
                                  </p:childTnLst>
                                </p:cTn>
                              </p:par>
                              <p:par>
                                <p:cTn id="113" presetID="21" presetClass="entr" presetSubtype="8" fill="hold" grpId="0" nodeType="withEffect">
                                  <p:stCondLst>
                                    <p:cond delay="0"/>
                                  </p:stCondLst>
                                  <p:childTnLst>
                                    <p:set>
                                      <p:cBhvr>
                                        <p:cTn id="114" dur="1" fill="hold">
                                          <p:stCondLst>
                                            <p:cond delay="0"/>
                                          </p:stCondLst>
                                        </p:cTn>
                                        <p:tgtEl>
                                          <p:spTgt spid="231"/>
                                        </p:tgtEl>
                                        <p:attrNameLst>
                                          <p:attrName>style.visibility</p:attrName>
                                        </p:attrNameLst>
                                      </p:cBhvr>
                                      <p:to>
                                        <p:strVal val="visible"/>
                                      </p:to>
                                    </p:set>
                                    <p:animEffect transition="in" filter="wheel(8)">
                                      <p:cBhvr>
                                        <p:cTn id="115" dur="500"/>
                                        <p:tgtEl>
                                          <p:spTgt spid="231"/>
                                        </p:tgtEl>
                                      </p:cBhvr>
                                    </p:animEffect>
                                  </p:childTnLst>
                                </p:cTn>
                              </p:par>
                              <p:par>
                                <p:cTn id="116" presetID="8" presetClass="emph" presetSubtype="0" fill="hold" grpId="1" nodeType="withEffect">
                                  <p:stCondLst>
                                    <p:cond delay="0"/>
                                  </p:stCondLst>
                                  <p:childTnLst>
                                    <p:animRot by="21600000">
                                      <p:cBhvr>
                                        <p:cTn id="117" dur="3000" fill="hold"/>
                                        <p:tgtEl>
                                          <p:spTgt spid="231"/>
                                        </p:tgtEl>
                                        <p:attrNameLst>
                                          <p:attrName>r</p:attrName>
                                        </p:attrNameLst>
                                      </p:cBhvr>
                                    </p:animRot>
                                  </p:childTnLst>
                                </p:cTn>
                              </p:par>
                              <p:par>
                                <p:cTn id="118" presetID="10" presetClass="entr" presetSubtype="0" fill="hold" grpId="0" nodeType="withEffect">
                                  <p:stCondLst>
                                    <p:cond delay="0"/>
                                  </p:stCondLst>
                                  <p:childTnLst>
                                    <p:set>
                                      <p:cBhvr>
                                        <p:cTn id="119" dur="1" fill="hold">
                                          <p:stCondLst>
                                            <p:cond delay="0"/>
                                          </p:stCondLst>
                                        </p:cTn>
                                        <p:tgtEl>
                                          <p:spTgt spid="76"/>
                                        </p:tgtEl>
                                        <p:attrNameLst>
                                          <p:attrName>style.visibility</p:attrName>
                                        </p:attrNameLst>
                                      </p:cBhvr>
                                      <p:to>
                                        <p:strVal val="visible"/>
                                      </p:to>
                                    </p:set>
                                    <p:animEffect transition="in" filter="fade">
                                      <p:cBhvr>
                                        <p:cTn id="120" dur="500"/>
                                        <p:tgtEl>
                                          <p:spTgt spid="76"/>
                                        </p:tgtEl>
                                      </p:cBhvr>
                                    </p:animEffect>
                                  </p:childTnLst>
                                </p:cTn>
                              </p:par>
                              <p:par>
                                <p:cTn id="121" presetID="10" presetClass="entr" presetSubtype="0" fill="hold" nodeType="withEffect">
                                  <p:stCondLst>
                                    <p:cond delay="500"/>
                                  </p:stCondLst>
                                  <p:childTnLst>
                                    <p:set>
                                      <p:cBhvr>
                                        <p:cTn id="122" dur="1" fill="hold">
                                          <p:stCondLst>
                                            <p:cond delay="0"/>
                                          </p:stCondLst>
                                        </p:cTn>
                                        <p:tgtEl>
                                          <p:spTgt spid="45"/>
                                        </p:tgtEl>
                                        <p:attrNameLst>
                                          <p:attrName>style.visibility</p:attrName>
                                        </p:attrNameLst>
                                      </p:cBhvr>
                                      <p:to>
                                        <p:strVal val="visible"/>
                                      </p:to>
                                    </p:set>
                                    <p:animEffect transition="in" filter="fade">
                                      <p:cBhvr>
                                        <p:cTn id="123" dur="250"/>
                                        <p:tgtEl>
                                          <p:spTgt spid="45"/>
                                        </p:tgtEl>
                                      </p:cBhvr>
                                    </p:animEffect>
                                  </p:childTnLst>
                                </p:cTn>
                              </p:par>
                              <p:par>
                                <p:cTn id="124" presetID="10" presetClass="entr" presetSubtype="0" fill="hold" grpId="0" nodeType="withEffect">
                                  <p:stCondLst>
                                    <p:cond delay="500"/>
                                  </p:stCondLst>
                                  <p:childTnLst>
                                    <p:set>
                                      <p:cBhvr>
                                        <p:cTn id="125" dur="1" fill="hold">
                                          <p:stCondLst>
                                            <p:cond delay="0"/>
                                          </p:stCondLst>
                                        </p:cTn>
                                        <p:tgtEl>
                                          <p:spTgt spid="44"/>
                                        </p:tgtEl>
                                        <p:attrNameLst>
                                          <p:attrName>style.visibility</p:attrName>
                                        </p:attrNameLst>
                                      </p:cBhvr>
                                      <p:to>
                                        <p:strVal val="visible"/>
                                      </p:to>
                                    </p:set>
                                    <p:animEffect transition="in" filter="fade">
                                      <p:cBhvr>
                                        <p:cTn id="126" dur="250"/>
                                        <p:tgtEl>
                                          <p:spTgt spid="44"/>
                                        </p:tgtEl>
                                      </p:cBhvr>
                                    </p:animEffect>
                                  </p:childTnLst>
                                </p:cTn>
                              </p:par>
                              <p:par>
                                <p:cTn id="127" presetID="10" presetClass="entr" presetSubtype="0" fill="hold" nodeType="withEffect">
                                  <p:stCondLst>
                                    <p:cond delay="750"/>
                                  </p:stCondLst>
                                  <p:childTnLst>
                                    <p:set>
                                      <p:cBhvr>
                                        <p:cTn id="128" dur="1" fill="hold">
                                          <p:stCondLst>
                                            <p:cond delay="0"/>
                                          </p:stCondLst>
                                        </p:cTn>
                                        <p:tgtEl>
                                          <p:spTgt spid="31"/>
                                        </p:tgtEl>
                                        <p:attrNameLst>
                                          <p:attrName>style.visibility</p:attrName>
                                        </p:attrNameLst>
                                      </p:cBhvr>
                                      <p:to>
                                        <p:strVal val="visible"/>
                                      </p:to>
                                    </p:set>
                                    <p:animEffect transition="in" filter="fade">
                                      <p:cBhvr>
                                        <p:cTn id="129" dur="250"/>
                                        <p:tgtEl>
                                          <p:spTgt spid="31"/>
                                        </p:tgtEl>
                                      </p:cBhvr>
                                    </p:animEffect>
                                  </p:childTnLst>
                                </p:cTn>
                              </p:par>
                              <p:par>
                                <p:cTn id="130" presetID="10" presetClass="entr" presetSubtype="0" fill="hold" grpId="0" nodeType="withEffect">
                                  <p:stCondLst>
                                    <p:cond delay="750"/>
                                  </p:stCondLst>
                                  <p:childTnLst>
                                    <p:set>
                                      <p:cBhvr>
                                        <p:cTn id="131" dur="1" fill="hold">
                                          <p:stCondLst>
                                            <p:cond delay="0"/>
                                          </p:stCondLst>
                                        </p:cTn>
                                        <p:tgtEl>
                                          <p:spTgt spid="30"/>
                                        </p:tgtEl>
                                        <p:attrNameLst>
                                          <p:attrName>style.visibility</p:attrName>
                                        </p:attrNameLst>
                                      </p:cBhvr>
                                      <p:to>
                                        <p:strVal val="visible"/>
                                      </p:to>
                                    </p:set>
                                    <p:animEffect transition="in" filter="fade">
                                      <p:cBhvr>
                                        <p:cTn id="132" dur="250"/>
                                        <p:tgtEl>
                                          <p:spTgt spid="30"/>
                                        </p:tgtEl>
                                      </p:cBhvr>
                                    </p:animEffect>
                                  </p:childTnLst>
                                </p:cTn>
                              </p:par>
                              <p:par>
                                <p:cTn id="133" presetID="10" presetClass="entr" presetSubtype="0" fill="hold" nodeType="withEffect">
                                  <p:stCondLst>
                                    <p:cond delay="100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50"/>
                                        <p:tgtEl>
                                          <p:spTgt spid="57"/>
                                        </p:tgtEl>
                                      </p:cBhvr>
                                    </p:animEffect>
                                  </p:childTnLst>
                                </p:cTn>
                              </p:par>
                              <p:par>
                                <p:cTn id="136" presetID="10" presetClass="entr" presetSubtype="0" fill="hold" grpId="0" nodeType="withEffect">
                                  <p:stCondLst>
                                    <p:cond delay="1000"/>
                                  </p:stCondLst>
                                  <p:childTnLst>
                                    <p:set>
                                      <p:cBhvr>
                                        <p:cTn id="137" dur="1" fill="hold">
                                          <p:stCondLst>
                                            <p:cond delay="0"/>
                                          </p:stCondLst>
                                        </p:cTn>
                                        <p:tgtEl>
                                          <p:spTgt spid="56"/>
                                        </p:tgtEl>
                                        <p:attrNameLst>
                                          <p:attrName>style.visibility</p:attrName>
                                        </p:attrNameLst>
                                      </p:cBhvr>
                                      <p:to>
                                        <p:strVal val="visible"/>
                                      </p:to>
                                    </p:set>
                                    <p:animEffect transition="in" filter="fade">
                                      <p:cBhvr>
                                        <p:cTn id="138" dur="250"/>
                                        <p:tgtEl>
                                          <p:spTgt spid="56"/>
                                        </p:tgtEl>
                                      </p:cBhvr>
                                    </p:animEffect>
                                  </p:childTnLst>
                                </p:cTn>
                              </p:par>
                              <p:par>
                                <p:cTn id="139" presetID="10" presetClass="entr" presetSubtype="0" fill="hold" nodeType="withEffect">
                                  <p:stCondLst>
                                    <p:cond delay="1250"/>
                                  </p:stCondLst>
                                  <p:childTnLst>
                                    <p:set>
                                      <p:cBhvr>
                                        <p:cTn id="140" dur="1" fill="hold">
                                          <p:stCondLst>
                                            <p:cond delay="0"/>
                                          </p:stCondLst>
                                        </p:cTn>
                                        <p:tgtEl>
                                          <p:spTgt spid="51"/>
                                        </p:tgtEl>
                                        <p:attrNameLst>
                                          <p:attrName>style.visibility</p:attrName>
                                        </p:attrNameLst>
                                      </p:cBhvr>
                                      <p:to>
                                        <p:strVal val="visible"/>
                                      </p:to>
                                    </p:set>
                                    <p:animEffect transition="in" filter="fade">
                                      <p:cBhvr>
                                        <p:cTn id="141" dur="250"/>
                                        <p:tgtEl>
                                          <p:spTgt spid="51"/>
                                        </p:tgtEl>
                                      </p:cBhvr>
                                    </p:animEffect>
                                  </p:childTnLst>
                                </p:cTn>
                              </p:par>
                              <p:par>
                                <p:cTn id="142" presetID="10" presetClass="entr" presetSubtype="0" fill="hold" grpId="0" nodeType="withEffect">
                                  <p:stCondLst>
                                    <p:cond delay="1250"/>
                                  </p:stCondLst>
                                  <p:childTnLst>
                                    <p:set>
                                      <p:cBhvr>
                                        <p:cTn id="143" dur="1" fill="hold">
                                          <p:stCondLst>
                                            <p:cond delay="0"/>
                                          </p:stCondLst>
                                        </p:cTn>
                                        <p:tgtEl>
                                          <p:spTgt spid="50"/>
                                        </p:tgtEl>
                                        <p:attrNameLst>
                                          <p:attrName>style.visibility</p:attrName>
                                        </p:attrNameLst>
                                      </p:cBhvr>
                                      <p:to>
                                        <p:strVal val="visible"/>
                                      </p:to>
                                    </p:set>
                                    <p:animEffect transition="in" filter="fade">
                                      <p:cBhvr>
                                        <p:cTn id="144" dur="250"/>
                                        <p:tgtEl>
                                          <p:spTgt spid="50"/>
                                        </p:tgtEl>
                                      </p:cBhvr>
                                    </p:animEffect>
                                  </p:childTnLst>
                                </p:cTn>
                              </p:par>
                              <p:par>
                                <p:cTn id="145" presetID="10" presetClass="entr" presetSubtype="0" fill="hold" nodeType="withEffect">
                                  <p:stCondLst>
                                    <p:cond delay="1500"/>
                                  </p:stCondLst>
                                  <p:childTnLst>
                                    <p:set>
                                      <p:cBhvr>
                                        <p:cTn id="146" dur="1" fill="hold">
                                          <p:stCondLst>
                                            <p:cond delay="0"/>
                                          </p:stCondLst>
                                        </p:cTn>
                                        <p:tgtEl>
                                          <p:spTgt spid="68"/>
                                        </p:tgtEl>
                                        <p:attrNameLst>
                                          <p:attrName>style.visibility</p:attrName>
                                        </p:attrNameLst>
                                      </p:cBhvr>
                                      <p:to>
                                        <p:strVal val="visible"/>
                                      </p:to>
                                    </p:set>
                                    <p:animEffect transition="in" filter="fade">
                                      <p:cBhvr>
                                        <p:cTn id="147" dur="250"/>
                                        <p:tgtEl>
                                          <p:spTgt spid="68"/>
                                        </p:tgtEl>
                                      </p:cBhvr>
                                    </p:animEffect>
                                  </p:childTnLst>
                                </p:cTn>
                              </p:par>
                              <p:par>
                                <p:cTn id="148" presetID="10" presetClass="entr" presetSubtype="0" fill="hold" grpId="0" nodeType="withEffect">
                                  <p:stCondLst>
                                    <p:cond delay="1500"/>
                                  </p:stCondLst>
                                  <p:childTnLst>
                                    <p:set>
                                      <p:cBhvr>
                                        <p:cTn id="149" dur="1" fill="hold">
                                          <p:stCondLst>
                                            <p:cond delay="0"/>
                                          </p:stCondLst>
                                        </p:cTn>
                                        <p:tgtEl>
                                          <p:spTgt spid="67"/>
                                        </p:tgtEl>
                                        <p:attrNameLst>
                                          <p:attrName>style.visibility</p:attrName>
                                        </p:attrNameLst>
                                      </p:cBhvr>
                                      <p:to>
                                        <p:strVal val="visible"/>
                                      </p:to>
                                    </p:set>
                                    <p:animEffect transition="in" filter="fade">
                                      <p:cBhvr>
                                        <p:cTn id="150" dur="250"/>
                                        <p:tgtEl>
                                          <p:spTgt spid="67"/>
                                        </p:tgtEl>
                                      </p:cBhvr>
                                    </p:animEffect>
                                  </p:childTnLst>
                                </p:cTn>
                              </p:par>
                            </p:childTnLst>
                          </p:cTn>
                        </p:par>
                        <p:par>
                          <p:cTn id="151" fill="hold">
                            <p:stCondLst>
                              <p:cond delay="3000"/>
                            </p:stCondLst>
                            <p:childTnLst>
                              <p:par>
                                <p:cTn id="152" presetID="22" presetClass="entr" presetSubtype="8" fill="hold" grpId="0" nodeType="afterEffect">
                                  <p:stCondLst>
                                    <p:cond delay="0"/>
                                  </p:stCondLst>
                                  <p:childTnLst>
                                    <p:set>
                                      <p:cBhvr>
                                        <p:cTn id="153" dur="1" fill="hold">
                                          <p:stCondLst>
                                            <p:cond delay="0"/>
                                          </p:stCondLst>
                                        </p:cTn>
                                        <p:tgtEl>
                                          <p:spTgt spid="93"/>
                                        </p:tgtEl>
                                        <p:attrNameLst>
                                          <p:attrName>style.visibility</p:attrName>
                                        </p:attrNameLst>
                                      </p:cBhvr>
                                      <p:to>
                                        <p:strVal val="visible"/>
                                      </p:to>
                                    </p:set>
                                    <p:animEffect transition="in" filter="wipe(left)">
                                      <p:cBhvr>
                                        <p:cTn id="154" dur="500"/>
                                        <p:tgtEl>
                                          <p:spTgt spid="93"/>
                                        </p:tgtEl>
                                      </p:cBhvr>
                                    </p:animEffect>
                                  </p:childTnLst>
                                </p:cTn>
                              </p:par>
                              <p:par>
                                <p:cTn id="155" presetID="2" presetClass="entr" presetSubtype="2" fill="hold" grpId="0" nodeType="withEffect">
                                  <p:stCondLst>
                                    <p:cond delay="0"/>
                                  </p:stCondLst>
                                  <p:childTnLst>
                                    <p:set>
                                      <p:cBhvr>
                                        <p:cTn id="156" dur="1" fill="hold">
                                          <p:stCondLst>
                                            <p:cond delay="0"/>
                                          </p:stCondLst>
                                        </p:cTn>
                                        <p:tgtEl>
                                          <p:spTgt spid="77"/>
                                        </p:tgtEl>
                                        <p:attrNameLst>
                                          <p:attrName>style.visibility</p:attrName>
                                        </p:attrNameLst>
                                      </p:cBhvr>
                                      <p:to>
                                        <p:strVal val="visible"/>
                                      </p:to>
                                    </p:set>
                                    <p:anim calcmode="lin" valueType="num">
                                      <p:cBhvr additive="base">
                                        <p:cTn id="157" dur="500" fill="hold"/>
                                        <p:tgtEl>
                                          <p:spTgt spid="77"/>
                                        </p:tgtEl>
                                        <p:attrNameLst>
                                          <p:attrName>ppt_x</p:attrName>
                                        </p:attrNameLst>
                                      </p:cBhvr>
                                      <p:tavLst>
                                        <p:tav tm="0">
                                          <p:val>
                                            <p:strVal val="1+#ppt_w/2"/>
                                          </p:val>
                                        </p:tav>
                                        <p:tav tm="100000">
                                          <p:val>
                                            <p:strVal val="#ppt_x"/>
                                          </p:val>
                                        </p:tav>
                                      </p:tavLst>
                                    </p:anim>
                                    <p:anim calcmode="lin" valueType="num">
                                      <p:cBhvr additive="base">
                                        <p:cTn id="158" dur="500" fill="hold"/>
                                        <p:tgtEl>
                                          <p:spTgt spid="77"/>
                                        </p:tgtEl>
                                        <p:attrNameLst>
                                          <p:attrName>ppt_y</p:attrName>
                                        </p:attrNameLst>
                                      </p:cBhvr>
                                      <p:tavLst>
                                        <p:tav tm="0">
                                          <p:val>
                                            <p:strVal val="#ppt_y"/>
                                          </p:val>
                                        </p:tav>
                                        <p:tav tm="100000">
                                          <p:val>
                                            <p:strVal val="#ppt_y"/>
                                          </p:val>
                                        </p:tav>
                                      </p:tavLst>
                                    </p:anim>
                                  </p:childTnLst>
                                </p:cTn>
                              </p:par>
                              <p:par>
                                <p:cTn id="159" presetID="2" presetClass="entr" presetSubtype="2" fill="hold" grpId="0" nodeType="withEffect">
                                  <p:stCondLst>
                                    <p:cond delay="0"/>
                                  </p:stCondLst>
                                  <p:childTnLst>
                                    <p:set>
                                      <p:cBhvr>
                                        <p:cTn id="160" dur="1" fill="hold">
                                          <p:stCondLst>
                                            <p:cond delay="0"/>
                                          </p:stCondLst>
                                        </p:cTn>
                                        <p:tgtEl>
                                          <p:spTgt spid="78"/>
                                        </p:tgtEl>
                                        <p:attrNameLst>
                                          <p:attrName>style.visibility</p:attrName>
                                        </p:attrNameLst>
                                      </p:cBhvr>
                                      <p:to>
                                        <p:strVal val="visible"/>
                                      </p:to>
                                    </p:set>
                                    <p:anim calcmode="lin" valueType="num">
                                      <p:cBhvr additive="base">
                                        <p:cTn id="161" dur="500" fill="hold"/>
                                        <p:tgtEl>
                                          <p:spTgt spid="78"/>
                                        </p:tgtEl>
                                        <p:attrNameLst>
                                          <p:attrName>ppt_x</p:attrName>
                                        </p:attrNameLst>
                                      </p:cBhvr>
                                      <p:tavLst>
                                        <p:tav tm="0">
                                          <p:val>
                                            <p:strVal val="1+#ppt_w/2"/>
                                          </p:val>
                                        </p:tav>
                                        <p:tav tm="100000">
                                          <p:val>
                                            <p:strVal val="#ppt_x"/>
                                          </p:val>
                                        </p:tav>
                                      </p:tavLst>
                                    </p:anim>
                                    <p:anim calcmode="lin" valueType="num">
                                      <p:cBhvr additive="base">
                                        <p:cTn id="162" dur="500" fill="hold"/>
                                        <p:tgtEl>
                                          <p:spTgt spid="7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p:bldP spid="44" grpId="0"/>
      <p:bldP spid="50" grpId="0"/>
      <p:bldP spid="56" grpId="0"/>
      <p:bldP spid="67" grpId="0"/>
      <p:bldP spid="76" grpId="0"/>
      <p:bldP spid="77" grpId="0"/>
      <p:bldP spid="78" grpId="0"/>
      <p:bldP spid="93" grpId="0" animBg="1"/>
      <p:bldP spid="94" grpId="0" animBg="1"/>
      <p:bldP spid="119" grpId="0" animBg="1"/>
      <p:bldP spid="132" grpId="0" animBg="1"/>
      <p:bldP spid="133" grpId="0"/>
      <p:bldP spid="134" grpId="0"/>
      <p:bldP spid="135" grpId="0"/>
      <p:bldP spid="136" grpId="0"/>
      <p:bldP spid="145" grpId="0"/>
      <p:bldP spid="219" grpId="0"/>
      <p:bldP spid="230" grpId="0"/>
      <p:bldP spid="231" grpId="0" animBg="1"/>
      <p:bldP spid="231" grpId="1" animBg="1"/>
      <p:bldP spid="232" grpId="0" animBg="1"/>
      <p:bldP spid="251" grpId="0"/>
      <p:bldP spid="252"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Integration</a:t>
            </a:r>
          </a:p>
        </p:txBody>
      </p:sp>
      <p:grpSp>
        <p:nvGrpSpPr>
          <p:cNvPr id="3" name="Group 2">
            <a:extLst>
              <a:ext uri="{FF2B5EF4-FFF2-40B4-BE49-F238E27FC236}">
                <a16:creationId xmlns:a16="http://schemas.microsoft.com/office/drawing/2014/main" id="{D1070031-83F1-41A1-9C71-7A4D7C5B0FEA}"/>
              </a:ext>
            </a:extLst>
          </p:cNvPr>
          <p:cNvGrpSpPr/>
          <p:nvPr/>
        </p:nvGrpSpPr>
        <p:grpSpPr>
          <a:xfrm>
            <a:off x="5074444" y="3460749"/>
            <a:ext cx="2667000" cy="2936941"/>
            <a:chOff x="8707191" y="2378856"/>
            <a:chExt cx="3024062" cy="3563436"/>
          </a:xfrm>
        </p:grpSpPr>
        <p:sp>
          <p:nvSpPr>
            <p:cNvPr id="4" name="Oval 3">
              <a:extLst>
                <a:ext uri="{FF2B5EF4-FFF2-40B4-BE49-F238E27FC236}">
                  <a16:creationId xmlns:a16="http://schemas.microsoft.com/office/drawing/2014/main" id="{E8030FD1-52B8-49A2-AAC7-D97B1428E9DF}"/>
                </a:ext>
              </a:extLst>
            </p:cNvPr>
            <p:cNvSpPr/>
            <p:nvPr/>
          </p:nvSpPr>
          <p:spPr bwMode="auto">
            <a:xfrm>
              <a:off x="8959782" y="2727980"/>
              <a:ext cx="2374499" cy="2374498"/>
            </a:xfrm>
            <a:prstGeom prst="ellipse">
              <a:avLst/>
            </a:prstGeom>
            <a:noFill/>
            <a:ln w="28575" cap="rnd" cmpd="sng" algn="ctr">
              <a:solidFill>
                <a:srgbClr val="00B294"/>
              </a:solidFill>
              <a:prstDash val="sysDot"/>
              <a:headEnd type="none" w="med" len="med"/>
              <a:tailEnd type="none" w="med" len="med"/>
            </a:ln>
            <a:effectLst/>
          </p:spPr>
          <p:txBody>
            <a:bodyPr vert="horz" wrap="square" lIns="0" tIns="47559" rIns="0" bIns="47559" numCol="1" rtlCol="0" anchor="ctr" anchorCtr="0" compatLnSpc="1">
              <a:prstTxWarp prst="textNoShape">
                <a:avLst/>
              </a:prstTxWarp>
            </a:bodyPr>
            <a:lstStyle/>
            <a:p>
              <a:pPr marL="0" marR="0" lvl="0" indent="0" algn="ctr"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Freeform 38">
              <a:extLst>
                <a:ext uri="{FF2B5EF4-FFF2-40B4-BE49-F238E27FC236}">
                  <a16:creationId xmlns:a16="http://schemas.microsoft.com/office/drawing/2014/main" id="{5649DA53-935C-4400-857A-170E3012AD26}"/>
                </a:ext>
              </a:extLst>
            </p:cNvPr>
            <p:cNvSpPr>
              <a:spLocks/>
            </p:cNvSpPr>
            <p:nvPr/>
          </p:nvSpPr>
          <p:spPr bwMode="auto">
            <a:xfrm>
              <a:off x="8707191" y="4146066"/>
              <a:ext cx="1487093" cy="97784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3175">
              <a:solidFill>
                <a:srgbClr val="002050"/>
              </a:solidFill>
            </a:ln>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 name="Freeform 38">
              <a:extLst>
                <a:ext uri="{FF2B5EF4-FFF2-40B4-BE49-F238E27FC236}">
                  <a16:creationId xmlns:a16="http://schemas.microsoft.com/office/drawing/2014/main" id="{01BF4553-0C2C-4E35-A2C8-1DAC0FE9628E}"/>
                </a:ext>
              </a:extLst>
            </p:cNvPr>
            <p:cNvSpPr>
              <a:spLocks/>
            </p:cNvSpPr>
            <p:nvPr/>
          </p:nvSpPr>
          <p:spPr bwMode="auto">
            <a:xfrm>
              <a:off x="9866233" y="4118366"/>
              <a:ext cx="1487093" cy="97784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3175">
              <a:solidFill>
                <a:srgbClr val="002050"/>
              </a:solidFill>
            </a:ln>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 name="Freeform 38">
              <a:extLst>
                <a:ext uri="{FF2B5EF4-FFF2-40B4-BE49-F238E27FC236}">
                  <a16:creationId xmlns:a16="http://schemas.microsoft.com/office/drawing/2014/main" id="{B55C7B9B-EC4E-4B76-BDA8-AC805E53D6CA}"/>
                </a:ext>
              </a:extLst>
            </p:cNvPr>
            <p:cNvSpPr>
              <a:spLocks/>
            </p:cNvSpPr>
            <p:nvPr/>
          </p:nvSpPr>
          <p:spPr bwMode="auto">
            <a:xfrm>
              <a:off x="10244160" y="4607289"/>
              <a:ext cx="1487093" cy="97784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3175">
              <a:solidFill>
                <a:srgbClr val="002050"/>
              </a:solidFill>
            </a:ln>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 name="Freeform 38">
              <a:extLst>
                <a:ext uri="{FF2B5EF4-FFF2-40B4-BE49-F238E27FC236}">
                  <a16:creationId xmlns:a16="http://schemas.microsoft.com/office/drawing/2014/main" id="{4B263DA8-C60E-4807-9683-4C0F588916BC}"/>
                </a:ext>
              </a:extLst>
            </p:cNvPr>
            <p:cNvSpPr>
              <a:spLocks/>
            </p:cNvSpPr>
            <p:nvPr/>
          </p:nvSpPr>
          <p:spPr bwMode="auto">
            <a:xfrm>
              <a:off x="8708688" y="4716797"/>
              <a:ext cx="1863715" cy="122549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3175">
              <a:solidFill>
                <a:srgbClr val="002050"/>
              </a:solidFill>
            </a:ln>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 name="TextBox 8">
              <a:extLst>
                <a:ext uri="{FF2B5EF4-FFF2-40B4-BE49-F238E27FC236}">
                  <a16:creationId xmlns:a16="http://schemas.microsoft.com/office/drawing/2014/main" id="{5CC5AA23-7621-4529-96C6-80D6FB3B0CC5}"/>
                </a:ext>
              </a:extLst>
            </p:cNvPr>
            <p:cNvSpPr txBox="1"/>
            <p:nvPr/>
          </p:nvSpPr>
          <p:spPr>
            <a:xfrm>
              <a:off x="9855969" y="4420305"/>
              <a:ext cx="1394006" cy="264221"/>
            </a:xfrm>
            <a:prstGeom prst="rect">
              <a:avLst/>
            </a:prstGeom>
          </p:spPr>
          <p:txBody>
            <a:bodyPr wrap="square" lIns="0" tIns="0" rIns="0" bIns="0" rtlCol="0">
              <a:spAutoFit/>
            </a:bodyPr>
            <a:lstStyle/>
            <a:p>
              <a:pPr marL="0" marR="0" lvl="0" indent="0" algn="ctr" defTabSz="913657" rtl="0" eaLnBrk="1" fontAlgn="base" latinLnBrk="0" hangingPunct="1">
                <a:lnSpc>
                  <a:spcPct val="90000"/>
                </a:lnSpc>
                <a:spcBef>
                  <a:spcPct val="0"/>
                </a:spcBef>
                <a:spcAft>
                  <a:spcPct val="0"/>
                </a:spcAft>
                <a:buClrTx/>
                <a:buSzPct val="80000"/>
                <a:buFontTx/>
                <a:buNone/>
                <a:tabLst/>
                <a:defRPr/>
              </a:pPr>
              <a:r>
                <a:rPr kumimoji="0" lang="en-US" sz="1100" b="0" i="0" u="none" strike="noStrike" kern="0" cap="none" spc="0" normalizeH="0" baseline="0" noProof="0" dirty="0">
                  <a:ln>
                    <a:noFill/>
                  </a:ln>
                  <a:solidFill>
                    <a:srgbClr val="002050"/>
                  </a:solidFill>
                  <a:effectLst/>
                  <a:uLnTx/>
                  <a:uFillTx/>
                  <a:latin typeface="Segoe UI"/>
                  <a:ea typeface="ＭＳ Ｐゴシック" charset="0"/>
                  <a:cs typeface="Segoe UI Light"/>
                </a:rPr>
                <a:t>SaaS</a:t>
              </a:r>
            </a:p>
          </p:txBody>
        </p:sp>
        <p:sp>
          <p:nvSpPr>
            <p:cNvPr id="10" name="TextBox 9">
              <a:extLst>
                <a:ext uri="{FF2B5EF4-FFF2-40B4-BE49-F238E27FC236}">
                  <a16:creationId xmlns:a16="http://schemas.microsoft.com/office/drawing/2014/main" id="{F01B56C1-360C-461E-A979-B378A687D51C}"/>
                </a:ext>
              </a:extLst>
            </p:cNvPr>
            <p:cNvSpPr txBox="1"/>
            <p:nvPr/>
          </p:nvSpPr>
          <p:spPr>
            <a:xfrm>
              <a:off x="9172603" y="5224495"/>
              <a:ext cx="874180" cy="528444"/>
            </a:xfrm>
            <a:prstGeom prst="rect">
              <a:avLst/>
            </a:prstGeom>
          </p:spPr>
          <p:txBody>
            <a:bodyPr wrap="square" lIns="0" tIns="0" rIns="0" bIns="0" rtlCol="0">
              <a:spAutoFit/>
            </a:bodyPr>
            <a:lstStyle/>
            <a:p>
              <a:pPr marL="0" marR="0" lvl="0" indent="0" algn="ctr" defTabSz="913657" rtl="0" eaLnBrk="1" fontAlgn="base" latinLnBrk="0" hangingPunct="1">
                <a:lnSpc>
                  <a:spcPct val="90000"/>
                </a:lnSpc>
                <a:spcBef>
                  <a:spcPct val="0"/>
                </a:spcBef>
                <a:spcAft>
                  <a:spcPct val="0"/>
                </a:spcAft>
                <a:buClrTx/>
                <a:buSzPct val="80000"/>
                <a:buFontTx/>
                <a:buNone/>
                <a:tabLst/>
                <a:defRPr/>
              </a:pPr>
              <a:r>
                <a:rPr kumimoji="0" lang="en-US" sz="1100" b="0" i="0" u="none" strike="noStrike" kern="0" cap="none" spc="0" normalizeH="0" baseline="0" noProof="0" dirty="0">
                  <a:ln>
                    <a:noFill/>
                  </a:ln>
                  <a:solidFill>
                    <a:srgbClr val="002050"/>
                  </a:solidFill>
                  <a:effectLst/>
                  <a:uLnTx/>
                  <a:uFillTx/>
                  <a:latin typeface="Segoe UI"/>
                  <a:ea typeface="ＭＳ Ｐゴシック" charset="0"/>
                  <a:cs typeface="Segoe UI Light"/>
                </a:rPr>
                <a:t>Public</a:t>
              </a:r>
            </a:p>
            <a:p>
              <a:pPr marL="0" marR="0" lvl="0" indent="0" algn="ctr" defTabSz="913657" rtl="0" eaLnBrk="1" fontAlgn="base" latinLnBrk="0" hangingPunct="1">
                <a:lnSpc>
                  <a:spcPct val="90000"/>
                </a:lnSpc>
                <a:spcBef>
                  <a:spcPct val="0"/>
                </a:spcBef>
                <a:spcAft>
                  <a:spcPct val="0"/>
                </a:spcAft>
                <a:buClrTx/>
                <a:buSzPct val="80000"/>
                <a:buFontTx/>
                <a:buNone/>
                <a:tabLst/>
                <a:defRPr/>
              </a:pPr>
              <a:r>
                <a:rPr kumimoji="0" lang="en-US" sz="1100" b="0" i="0" u="none" strike="noStrike" kern="0" cap="none" spc="0" normalizeH="0" baseline="0" noProof="0" dirty="0">
                  <a:ln>
                    <a:noFill/>
                  </a:ln>
                  <a:solidFill>
                    <a:srgbClr val="002050"/>
                  </a:solidFill>
                  <a:effectLst/>
                  <a:uLnTx/>
                  <a:uFillTx/>
                  <a:latin typeface="Segoe UI"/>
                  <a:ea typeface="ＭＳ Ｐゴシック" charset="0"/>
                  <a:cs typeface="Segoe UI Light"/>
                </a:rPr>
                <a:t>cloud</a:t>
              </a:r>
            </a:p>
          </p:txBody>
        </p:sp>
        <p:grpSp>
          <p:nvGrpSpPr>
            <p:cNvPr id="11" name="Group 10">
              <a:extLst>
                <a:ext uri="{FF2B5EF4-FFF2-40B4-BE49-F238E27FC236}">
                  <a16:creationId xmlns:a16="http://schemas.microsoft.com/office/drawing/2014/main" id="{BAA655E4-6EC4-46BD-9DD8-6566FBD34DF1}"/>
                </a:ext>
              </a:extLst>
            </p:cNvPr>
            <p:cNvGrpSpPr/>
            <p:nvPr/>
          </p:nvGrpSpPr>
          <p:grpSpPr>
            <a:xfrm>
              <a:off x="11158632" y="3881579"/>
              <a:ext cx="313754" cy="313646"/>
              <a:chOff x="1477963" y="-1187450"/>
              <a:chExt cx="9232900" cy="9229725"/>
            </a:xfrm>
            <a:solidFill>
              <a:srgbClr val="FFFFFF"/>
            </a:solidFill>
          </p:grpSpPr>
          <p:sp>
            <p:nvSpPr>
              <p:cNvPr id="27" name="Freeform 9">
                <a:extLst>
                  <a:ext uri="{FF2B5EF4-FFF2-40B4-BE49-F238E27FC236}">
                    <a16:creationId xmlns:a16="http://schemas.microsoft.com/office/drawing/2014/main" id="{B64CC791-CB51-447B-9418-025716E4CFB9}"/>
                  </a:ext>
                </a:extLst>
              </p:cNvPr>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8" name="Freeform 10">
                <a:extLst>
                  <a:ext uri="{FF2B5EF4-FFF2-40B4-BE49-F238E27FC236}">
                    <a16:creationId xmlns:a16="http://schemas.microsoft.com/office/drawing/2014/main" id="{664ECA3D-082F-4EF1-B04F-C7CF86929362}"/>
                  </a:ext>
                </a:extLst>
              </p:cNvPr>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AB7F3A3B-EF68-4519-A282-16F6A40B6178}"/>
                </a:ext>
              </a:extLst>
            </p:cNvPr>
            <p:cNvGrpSpPr/>
            <p:nvPr/>
          </p:nvGrpSpPr>
          <p:grpSpPr>
            <a:xfrm>
              <a:off x="10016899" y="3753088"/>
              <a:ext cx="313754" cy="313646"/>
              <a:chOff x="1477963" y="-1187450"/>
              <a:chExt cx="9232900" cy="9229725"/>
            </a:xfrm>
            <a:solidFill>
              <a:srgbClr val="FFFFFF"/>
            </a:solidFill>
          </p:grpSpPr>
          <p:sp>
            <p:nvSpPr>
              <p:cNvPr id="25" name="Freeform 9">
                <a:extLst>
                  <a:ext uri="{FF2B5EF4-FFF2-40B4-BE49-F238E27FC236}">
                    <a16:creationId xmlns:a16="http://schemas.microsoft.com/office/drawing/2014/main" id="{A0203315-EA53-4091-AA5C-7932A0336EED}"/>
                  </a:ext>
                </a:extLst>
              </p:cNvPr>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6" name="Freeform 10">
                <a:extLst>
                  <a:ext uri="{FF2B5EF4-FFF2-40B4-BE49-F238E27FC236}">
                    <a16:creationId xmlns:a16="http://schemas.microsoft.com/office/drawing/2014/main" id="{414AB239-5FD4-4415-AE2E-F988C9DB7F14}"/>
                  </a:ext>
                </a:extLst>
              </p:cNvPr>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172950EA-8809-4F63-9497-445D6246C265}"/>
                </a:ext>
              </a:extLst>
            </p:cNvPr>
            <p:cNvGrpSpPr/>
            <p:nvPr/>
          </p:nvGrpSpPr>
          <p:grpSpPr>
            <a:xfrm>
              <a:off x="10690609" y="2668578"/>
              <a:ext cx="313754" cy="313646"/>
              <a:chOff x="1477963" y="-1187450"/>
              <a:chExt cx="9232900" cy="9229725"/>
            </a:xfrm>
            <a:solidFill>
              <a:srgbClr val="FFFFFF"/>
            </a:solidFill>
          </p:grpSpPr>
          <p:sp>
            <p:nvSpPr>
              <p:cNvPr id="23" name="Freeform 9">
                <a:extLst>
                  <a:ext uri="{FF2B5EF4-FFF2-40B4-BE49-F238E27FC236}">
                    <a16:creationId xmlns:a16="http://schemas.microsoft.com/office/drawing/2014/main" id="{FB7321E1-7B59-401C-8510-7C6BBEF44AE6}"/>
                  </a:ext>
                </a:extLst>
              </p:cNvPr>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4" name="Freeform 10">
                <a:extLst>
                  <a:ext uri="{FF2B5EF4-FFF2-40B4-BE49-F238E27FC236}">
                    <a16:creationId xmlns:a16="http://schemas.microsoft.com/office/drawing/2014/main" id="{10956CA5-E556-44F2-85E0-2F1E43BBC5ED}"/>
                  </a:ext>
                </a:extLst>
              </p:cNvPr>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41EDD295-064B-4624-878B-8EE09C50C6F5}"/>
                </a:ext>
              </a:extLst>
            </p:cNvPr>
            <p:cNvGrpSpPr/>
            <p:nvPr/>
          </p:nvGrpSpPr>
          <p:grpSpPr>
            <a:xfrm>
              <a:off x="9182768" y="2966155"/>
              <a:ext cx="313754" cy="313646"/>
              <a:chOff x="1477963" y="-1187450"/>
              <a:chExt cx="9232900" cy="9229725"/>
            </a:xfrm>
            <a:solidFill>
              <a:srgbClr val="FFFFFF"/>
            </a:solidFill>
          </p:grpSpPr>
          <p:sp>
            <p:nvSpPr>
              <p:cNvPr id="21" name="Freeform 9">
                <a:extLst>
                  <a:ext uri="{FF2B5EF4-FFF2-40B4-BE49-F238E27FC236}">
                    <a16:creationId xmlns:a16="http://schemas.microsoft.com/office/drawing/2014/main" id="{6BEA61D9-46B9-490A-875B-198BF05F0E88}"/>
                  </a:ext>
                </a:extLst>
              </p:cNvPr>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2" name="Freeform 10">
                <a:extLst>
                  <a:ext uri="{FF2B5EF4-FFF2-40B4-BE49-F238E27FC236}">
                    <a16:creationId xmlns:a16="http://schemas.microsoft.com/office/drawing/2014/main" id="{5E77F7D4-3300-4DBE-8D9B-0B848AC957FC}"/>
                  </a:ext>
                </a:extLst>
              </p:cNvPr>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pic>
          <p:nvPicPr>
            <p:cNvPr id="15" name="Picture 14">
              <a:extLst>
                <a:ext uri="{FF2B5EF4-FFF2-40B4-BE49-F238E27FC236}">
                  <a16:creationId xmlns:a16="http://schemas.microsoft.com/office/drawing/2014/main" id="{49170CC0-4DCF-4D34-83A5-687704978E0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29511" y="5128094"/>
              <a:ext cx="984469" cy="218128"/>
            </a:xfrm>
            <a:prstGeom prst="rect">
              <a:avLst/>
            </a:prstGeom>
          </p:spPr>
        </p:pic>
        <p:pic>
          <p:nvPicPr>
            <p:cNvPr id="16" name="Picture 15">
              <a:extLst>
                <a:ext uri="{FF2B5EF4-FFF2-40B4-BE49-F238E27FC236}">
                  <a16:creationId xmlns:a16="http://schemas.microsoft.com/office/drawing/2014/main" id="{5CFDAA04-E457-46AB-882E-9C767C6FBEB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09236" y="3551609"/>
              <a:ext cx="571500" cy="581025"/>
            </a:xfrm>
            <a:prstGeom prst="rect">
              <a:avLst/>
            </a:prstGeom>
          </p:spPr>
        </p:pic>
        <p:pic>
          <p:nvPicPr>
            <p:cNvPr id="17" name="Picture 16">
              <a:extLst>
                <a:ext uri="{FF2B5EF4-FFF2-40B4-BE49-F238E27FC236}">
                  <a16:creationId xmlns:a16="http://schemas.microsoft.com/office/drawing/2014/main" id="{C3A89B0E-A0C5-4E2D-96B6-F1860B7AB4D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596889" y="3096531"/>
              <a:ext cx="542925" cy="538163"/>
            </a:xfrm>
            <a:prstGeom prst="rect">
              <a:avLst/>
            </a:prstGeom>
          </p:spPr>
        </p:pic>
        <p:pic>
          <p:nvPicPr>
            <p:cNvPr id="18" name="Picture 17">
              <a:extLst>
                <a:ext uri="{FF2B5EF4-FFF2-40B4-BE49-F238E27FC236}">
                  <a16:creationId xmlns:a16="http://schemas.microsoft.com/office/drawing/2014/main" id="{49BA284B-E2EC-49BE-9053-F10C1363B41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87647" y="2378856"/>
              <a:ext cx="552450" cy="533400"/>
            </a:xfrm>
            <a:prstGeom prst="rect">
              <a:avLst/>
            </a:prstGeom>
          </p:spPr>
        </p:pic>
        <p:pic>
          <p:nvPicPr>
            <p:cNvPr id="19" name="Picture 18">
              <a:extLst>
                <a:ext uri="{FF2B5EF4-FFF2-40B4-BE49-F238E27FC236}">
                  <a16:creationId xmlns:a16="http://schemas.microsoft.com/office/drawing/2014/main" id="{E050043D-407C-4F4D-97D1-4AA1BA11976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440097" y="3396766"/>
              <a:ext cx="538163" cy="542925"/>
            </a:xfrm>
            <a:prstGeom prst="rect">
              <a:avLst/>
            </a:prstGeom>
          </p:spPr>
        </p:pic>
        <p:pic>
          <p:nvPicPr>
            <p:cNvPr id="20" name="Picture 19">
              <a:extLst>
                <a:ext uri="{FF2B5EF4-FFF2-40B4-BE49-F238E27FC236}">
                  <a16:creationId xmlns:a16="http://schemas.microsoft.com/office/drawing/2014/main" id="{BFC179C7-07DB-4127-A380-484388C664C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127469" y="3107163"/>
              <a:ext cx="571500" cy="552450"/>
            </a:xfrm>
            <a:prstGeom prst="rect">
              <a:avLst/>
            </a:prstGeom>
          </p:spPr>
        </p:pic>
      </p:grpSp>
    </p:spTree>
    <p:extLst>
      <p:ext uri="{BB962C8B-B14F-4D97-AF65-F5344CB8AC3E}">
        <p14:creationId xmlns:p14="http://schemas.microsoft.com/office/powerpoint/2010/main" val="150213001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21"/>
          <p:cNvSpPr>
            <a:spLocks noChangeAspect="1" noEditPoints="1"/>
          </p:cNvSpPr>
          <p:nvPr/>
        </p:nvSpPr>
        <p:spPr bwMode="black">
          <a:xfrm>
            <a:off x="5510808" y="1737749"/>
            <a:ext cx="1392436" cy="86723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2"/>
          </a:solidFill>
          <a:ln>
            <a:noFill/>
          </a:ln>
        </p:spPr>
        <p:txBody>
          <a:bodyPr vert="horz" wrap="square" lIns="67223" tIns="33612" rIns="67223" bIns="33612" numCol="1" anchor="t" anchorCtr="0" compatLnSpc="1">
            <a:prstTxWarp prst="textNoShape">
              <a:avLst/>
            </a:prstTxWarp>
          </a:bodyPr>
          <a:lstStyle/>
          <a:p>
            <a:pPr defTabSz="685776">
              <a:defRPr/>
            </a:pPr>
            <a:endParaRPr lang="en-US" sz="1324" kern="0" dirty="0">
              <a:solidFill>
                <a:srgbClr val="FFFFFF"/>
              </a:solidFill>
              <a:latin typeface="Segoe UI"/>
            </a:endParaRPr>
          </a:p>
        </p:txBody>
      </p:sp>
      <p:sp>
        <p:nvSpPr>
          <p:cNvPr id="18" name="TextBox 17"/>
          <p:cNvSpPr txBox="1"/>
          <p:nvPr/>
        </p:nvSpPr>
        <p:spPr>
          <a:xfrm>
            <a:off x="5758872" y="2049647"/>
            <a:ext cx="952329" cy="461610"/>
          </a:xfrm>
          <a:prstGeom prst="rect">
            <a:avLst/>
          </a:prstGeom>
          <a:noFill/>
        </p:spPr>
        <p:txBody>
          <a:bodyPr wrap="square" lIns="134447" tIns="107557" rIns="134447" bIns="107557" rtlCol="0">
            <a:spAutoFit/>
          </a:bodyPr>
          <a:lstStyle/>
          <a:p>
            <a:pPr algn="ctr" defTabSz="685776">
              <a:lnSpc>
                <a:spcPct val="90000"/>
              </a:lnSpc>
              <a:spcAft>
                <a:spcPts val="441"/>
              </a:spcAft>
              <a:defRPr/>
            </a:pPr>
            <a:r>
              <a:rPr lang="en-US" sz="1765" kern="0" dirty="0">
                <a:solidFill>
                  <a:sysClr val="windowText" lastClr="000000"/>
                </a:solidFill>
                <a:latin typeface="Segoe UI"/>
              </a:rPr>
              <a:t>Azure</a:t>
            </a:r>
          </a:p>
        </p:txBody>
      </p:sp>
      <p:sp>
        <p:nvSpPr>
          <p:cNvPr id="19" name="TextBox 18"/>
          <p:cNvSpPr txBox="1"/>
          <p:nvPr/>
        </p:nvSpPr>
        <p:spPr>
          <a:xfrm>
            <a:off x="274278" y="3640775"/>
            <a:ext cx="3504766" cy="2566576"/>
          </a:xfrm>
          <a:prstGeom prst="rect">
            <a:avLst/>
          </a:prstGeom>
          <a:noFill/>
        </p:spPr>
        <p:txBody>
          <a:bodyPr wrap="square" lIns="134447" tIns="107557" rIns="134447" bIns="107557" rtlCol="0">
            <a:spAutoFit/>
          </a:bodyPr>
          <a:lstStyle/>
          <a:p>
            <a:pPr defTabSz="685776">
              <a:lnSpc>
                <a:spcPct val="90000"/>
              </a:lnSpc>
              <a:spcAft>
                <a:spcPts val="441"/>
              </a:spcAft>
              <a:defRPr/>
            </a:pPr>
            <a:r>
              <a:rPr lang="en-US" sz="2000" kern="0" dirty="0">
                <a:solidFill>
                  <a:srgbClr val="0078D7"/>
                </a:solidFill>
                <a:latin typeface="Segoe UI Light"/>
              </a:rPr>
              <a:t>Subscribe to SaaS applications</a:t>
            </a:r>
          </a:p>
          <a:p>
            <a:pPr defTabSz="685776">
              <a:lnSpc>
                <a:spcPct val="90000"/>
              </a:lnSpc>
              <a:spcAft>
                <a:spcPts val="441"/>
              </a:spcAft>
              <a:defRPr/>
            </a:pPr>
            <a:endParaRPr lang="en-US" sz="1600" kern="0" dirty="0">
              <a:solidFill>
                <a:sysClr val="windowText" lastClr="000000"/>
              </a:solidFill>
              <a:latin typeface="Segoe UI Light"/>
            </a:endParaRPr>
          </a:p>
          <a:p>
            <a:pPr marL="342846" indent="-342846" defTabSz="932594">
              <a:lnSpc>
                <a:spcPct val="90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Switch to using SaaS versions             of the app e.g. Office 365</a:t>
            </a:r>
          </a:p>
          <a:p>
            <a:pPr marL="342846" indent="-342846" defTabSz="932594">
              <a:lnSpc>
                <a:spcPct val="90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Leverage Azure AD for SaaS         app management</a:t>
            </a:r>
          </a:p>
          <a:p>
            <a:pPr marL="809217" lvl="2" indent="-342846" defTabSz="932594">
              <a:lnSpc>
                <a:spcPct val="90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SaaS application gallery</a:t>
            </a:r>
          </a:p>
          <a:p>
            <a:pPr marL="809217" lvl="2" indent="-342846" defTabSz="932594">
              <a:lnSpc>
                <a:spcPct val="90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Easy provisioning, conditional access control</a:t>
            </a:r>
          </a:p>
        </p:txBody>
      </p:sp>
      <p:sp>
        <p:nvSpPr>
          <p:cNvPr id="20" name="TextBox 19"/>
          <p:cNvSpPr txBox="1"/>
          <p:nvPr/>
        </p:nvSpPr>
        <p:spPr>
          <a:xfrm>
            <a:off x="4291341" y="3645378"/>
            <a:ext cx="3907303" cy="2615820"/>
          </a:xfrm>
          <a:prstGeom prst="rect">
            <a:avLst/>
          </a:prstGeom>
          <a:noFill/>
        </p:spPr>
        <p:txBody>
          <a:bodyPr wrap="square" lIns="134447" tIns="107557" rIns="134447" bIns="107557" rtlCol="0">
            <a:spAutoFit/>
          </a:bodyPr>
          <a:lstStyle/>
          <a:p>
            <a:pPr defTabSz="685776">
              <a:lnSpc>
                <a:spcPct val="90000"/>
              </a:lnSpc>
              <a:spcAft>
                <a:spcPts val="441"/>
              </a:spcAft>
              <a:defRPr/>
            </a:pPr>
            <a:r>
              <a:rPr lang="en-US" sz="2000" kern="0" dirty="0">
                <a:solidFill>
                  <a:srgbClr val="0078D7"/>
                </a:solidFill>
                <a:latin typeface="Segoe UI Light"/>
              </a:rPr>
              <a:t>Rewrite existing applications</a:t>
            </a:r>
            <a:endParaRPr lang="en-US" sz="1200" kern="0" dirty="0">
              <a:solidFill>
                <a:srgbClr val="0078D7"/>
              </a:solidFill>
              <a:latin typeface="Segoe UI Light"/>
            </a:endParaRPr>
          </a:p>
          <a:p>
            <a:pPr defTabSz="685776">
              <a:lnSpc>
                <a:spcPct val="90000"/>
              </a:lnSpc>
              <a:spcAft>
                <a:spcPts val="441"/>
              </a:spcAft>
              <a:defRPr/>
            </a:pPr>
            <a:endParaRPr lang="en-US" sz="1600" kern="0" dirty="0">
              <a:solidFill>
                <a:sysClr val="windowText" lastClr="000000"/>
              </a:solidFill>
              <a:latin typeface="Segoe UI Light"/>
            </a:endParaRPr>
          </a:p>
          <a:p>
            <a:pPr marL="342846" indent="-342846" defTabSz="932594">
              <a:lnSpc>
                <a:spcPct val="90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Rewrite apps to leverage Azure </a:t>
            </a:r>
            <a:r>
              <a:rPr lang="en-US" sz="1600" dirty="0" err="1">
                <a:gradFill>
                  <a:gsLst>
                    <a:gs pos="1250">
                      <a:schemeClr val="tx1"/>
                    </a:gs>
                    <a:gs pos="100000">
                      <a:schemeClr val="tx1"/>
                    </a:gs>
                  </a:gsLst>
                  <a:lin ang="5400000" scaled="0"/>
                </a:gradFill>
              </a:rPr>
              <a:t>PaaS</a:t>
            </a:r>
            <a:endParaRPr lang="en-US" sz="1600" dirty="0">
              <a:gradFill>
                <a:gsLst>
                  <a:gs pos="1250">
                    <a:schemeClr val="tx1"/>
                  </a:gs>
                  <a:gs pos="100000">
                    <a:schemeClr val="tx1"/>
                  </a:gs>
                </a:gsLst>
                <a:lin ang="5400000" scaled="0"/>
              </a:gradFill>
            </a:endParaRPr>
          </a:p>
          <a:p>
            <a:pPr marL="342846" indent="-342846" defTabSz="932594">
              <a:lnSpc>
                <a:spcPct val="90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Leverage Azure AD</a:t>
            </a:r>
          </a:p>
          <a:p>
            <a:pPr marL="809217" lvl="2" indent="-342846" defTabSz="932594">
              <a:lnSpc>
                <a:spcPct val="90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OAuth/OpenID Connect for modern authz.</a:t>
            </a:r>
          </a:p>
          <a:p>
            <a:pPr marL="809217" lvl="2" indent="-342846" defTabSz="932594">
              <a:lnSpc>
                <a:spcPct val="90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Ubiquitous developer libraries</a:t>
            </a:r>
          </a:p>
          <a:p>
            <a:pPr marL="809217" lvl="2" indent="-342846" defTabSz="932594">
              <a:lnSpc>
                <a:spcPct val="90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Graph API – modern directory API</a:t>
            </a:r>
          </a:p>
        </p:txBody>
      </p:sp>
      <p:sp>
        <p:nvSpPr>
          <p:cNvPr id="21" name="TextBox 20"/>
          <p:cNvSpPr txBox="1"/>
          <p:nvPr/>
        </p:nvSpPr>
        <p:spPr>
          <a:xfrm>
            <a:off x="8523296" y="3645379"/>
            <a:ext cx="3911591" cy="1807394"/>
          </a:xfrm>
          <a:prstGeom prst="rect">
            <a:avLst/>
          </a:prstGeom>
          <a:noFill/>
        </p:spPr>
        <p:txBody>
          <a:bodyPr wrap="square" lIns="134447" tIns="107557" rIns="134447" bIns="107557" rtlCol="0">
            <a:spAutoFit/>
          </a:bodyPr>
          <a:lstStyle/>
          <a:p>
            <a:pPr defTabSz="685776">
              <a:lnSpc>
                <a:spcPct val="90000"/>
              </a:lnSpc>
              <a:spcAft>
                <a:spcPts val="441"/>
              </a:spcAft>
              <a:defRPr/>
            </a:pPr>
            <a:r>
              <a:rPr lang="en-US" sz="2000" kern="0" dirty="0">
                <a:solidFill>
                  <a:srgbClr val="0078D7"/>
                </a:solidFill>
                <a:latin typeface="Segoe UI Light"/>
              </a:rPr>
              <a:t>‘Lift-and-shift’ on-premises applications to IaaS</a:t>
            </a:r>
          </a:p>
          <a:p>
            <a:pPr marL="342846" indent="-342846" defTabSz="932594">
              <a:lnSpc>
                <a:spcPct val="90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Move existing legacy ISV or LOB applications to Azure IaaS</a:t>
            </a:r>
          </a:p>
          <a:p>
            <a:pPr marL="342846" indent="-342846" defTabSz="932594">
              <a:lnSpc>
                <a:spcPct val="90000"/>
              </a:lnSpc>
              <a:spcBef>
                <a:spcPct val="20000"/>
              </a:spcBef>
              <a:buSzPct val="90000"/>
              <a:buFont typeface="Arial" pitchFamily="34" charset="0"/>
              <a:buChar char="•"/>
              <a:defRPr/>
            </a:pPr>
            <a:r>
              <a:rPr lang="en-US" sz="1600" dirty="0">
                <a:gradFill>
                  <a:gsLst>
                    <a:gs pos="1250">
                      <a:schemeClr val="tx1"/>
                    </a:gs>
                    <a:gs pos="100000">
                      <a:schemeClr val="tx1"/>
                    </a:gs>
                  </a:gsLst>
                  <a:lin ang="5400000" scaled="0"/>
                </a:gradFill>
              </a:rPr>
              <a:t>May not have access to source code     or vendor support</a:t>
            </a:r>
          </a:p>
        </p:txBody>
      </p:sp>
      <p:cxnSp>
        <p:nvCxnSpPr>
          <p:cNvPr id="22" name="Elbow Connector 21"/>
          <p:cNvCxnSpPr>
            <a:cxnSpLocks/>
          </p:cNvCxnSpPr>
          <p:nvPr/>
        </p:nvCxnSpPr>
        <p:spPr>
          <a:xfrm rot="5400000" flipH="1" flipV="1">
            <a:off x="3110048" y="1149738"/>
            <a:ext cx="883472" cy="32019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cxnSpLocks/>
          </p:cNvCxnSpPr>
          <p:nvPr/>
        </p:nvCxnSpPr>
        <p:spPr>
          <a:xfrm flipH="1" flipV="1">
            <a:off x="6215358" y="2836329"/>
            <a:ext cx="2086" cy="66093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Title 16"/>
          <p:cNvSpPr>
            <a:spLocks noGrp="1"/>
          </p:cNvSpPr>
          <p:nvPr>
            <p:ph type="title"/>
          </p:nvPr>
        </p:nvSpPr>
        <p:spPr/>
        <p:txBody>
          <a:bodyPr/>
          <a:lstStyle/>
          <a:p>
            <a:r>
              <a:rPr lang="en-US" dirty="0"/>
              <a:t>Moving applications to the cloud – Options</a:t>
            </a:r>
          </a:p>
        </p:txBody>
      </p:sp>
      <p:sp>
        <p:nvSpPr>
          <p:cNvPr id="4" name="Lightning Bolt 3"/>
          <p:cNvSpPr/>
          <p:nvPr/>
        </p:nvSpPr>
        <p:spPr bwMode="auto">
          <a:xfrm>
            <a:off x="10027444" y="3146786"/>
            <a:ext cx="609522" cy="457142"/>
          </a:xfrm>
          <a:prstGeom prst="lightningBolt">
            <a:avLst/>
          </a:prstGeom>
          <a:solidFill>
            <a:schemeClr val="tx2"/>
          </a:soli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cxnSp>
        <p:nvCxnSpPr>
          <p:cNvPr id="25" name="Elbow Connector 21"/>
          <p:cNvCxnSpPr>
            <a:cxnSpLocks/>
          </p:cNvCxnSpPr>
          <p:nvPr/>
        </p:nvCxnSpPr>
        <p:spPr>
          <a:xfrm rot="16200000" flipV="1">
            <a:off x="8365720" y="1149738"/>
            <a:ext cx="883472" cy="32019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731594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p:cNvSpPr/>
          <p:nvPr/>
        </p:nvSpPr>
        <p:spPr bwMode="auto">
          <a:xfrm>
            <a:off x="0" y="1212853"/>
            <a:ext cx="12434888" cy="57816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4747916" y="4957702"/>
            <a:ext cx="1466891" cy="372108"/>
          </a:xfrm>
          <a:prstGeom prst="rect">
            <a:avLst/>
          </a:prstGeom>
          <a:solidFill>
            <a:schemeClr val="accent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marL="0" marR="0" lvl="0" indent="0" algn="ctr" defTabSz="932379"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1. Configure</a:t>
            </a:r>
          </a:p>
        </p:txBody>
      </p:sp>
      <p:sp>
        <p:nvSpPr>
          <p:cNvPr id="96" name="Rectangle 95"/>
          <p:cNvSpPr/>
          <p:nvPr/>
        </p:nvSpPr>
        <p:spPr bwMode="auto">
          <a:xfrm>
            <a:off x="4951216" y="3210075"/>
            <a:ext cx="1319480" cy="372108"/>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marL="0" marR="0" lvl="0" indent="0" algn="ctr" defTabSz="932379"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2. Request</a:t>
            </a:r>
          </a:p>
        </p:txBody>
      </p:sp>
      <p:sp>
        <p:nvSpPr>
          <p:cNvPr id="8" name="Rectangle 7"/>
          <p:cNvSpPr/>
          <p:nvPr/>
        </p:nvSpPr>
        <p:spPr bwMode="auto">
          <a:xfrm>
            <a:off x="4732344" y="1604064"/>
            <a:ext cx="1371425" cy="3721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marL="0" marR="0" lvl="0" indent="0" algn="ctr" defTabSz="932379"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3. Approve</a:t>
            </a:r>
          </a:p>
        </p:txBody>
      </p:sp>
      <p:sp>
        <p:nvSpPr>
          <p:cNvPr id="19" name="Title 18"/>
          <p:cNvSpPr>
            <a:spLocks noGrp="1"/>
          </p:cNvSpPr>
          <p:nvPr>
            <p:ph type="title"/>
          </p:nvPr>
        </p:nvSpPr>
        <p:spPr/>
        <p:txBody>
          <a:bodyPr/>
          <a:lstStyle/>
          <a:p>
            <a:r>
              <a:rPr lang="en-US" dirty="0"/>
              <a:t>Self-service application access at scale</a:t>
            </a:r>
          </a:p>
        </p:txBody>
      </p:sp>
      <p:sp>
        <p:nvSpPr>
          <p:cNvPr id="25" name="TextBox 24"/>
          <p:cNvSpPr txBox="1"/>
          <p:nvPr/>
        </p:nvSpPr>
        <p:spPr>
          <a:xfrm>
            <a:off x="4693444" y="6585322"/>
            <a:ext cx="1533618" cy="489233"/>
          </a:xfrm>
          <a:prstGeom prst="rect">
            <a:avLst/>
          </a:prstGeom>
          <a:noFill/>
        </p:spPr>
        <p:txBody>
          <a:bodyPr wrap="square" lIns="182831" tIns="146264" rIns="182831" bIns="146264" rtlCol="0">
            <a:spAutoFit/>
          </a:bodyPr>
          <a:lstStyle/>
          <a:p>
            <a:pPr marL="0" marR="0" lvl="0" indent="0" algn="ctr" defTabSz="932231" rtl="0" eaLnBrk="1" fontAlgn="auto" latinLnBrk="0" hangingPunct="1">
              <a:lnSpc>
                <a:spcPct val="90000"/>
              </a:lnSpc>
              <a:spcBef>
                <a:spcPts val="0"/>
              </a:spcBef>
              <a:spcAft>
                <a:spcPts val="0"/>
              </a:spcAft>
              <a:buClrTx/>
              <a:buSzTx/>
              <a:buFontTx/>
              <a:buNone/>
              <a:tabLst/>
              <a:defRPr/>
            </a:pPr>
            <a:r>
              <a:rPr kumimoji="0" lang="en-US" sz="1399" b="0" i="0" u="none" strike="noStrike" kern="0" cap="none" spc="-50" normalizeH="0" baseline="0" noProof="0" dirty="0">
                <a:ln>
                  <a:noFill/>
                </a:ln>
                <a:solidFill>
                  <a:srgbClr val="FFFFFF"/>
                </a:solidFill>
                <a:effectLst/>
                <a:uLnTx/>
                <a:uFillTx/>
                <a:latin typeface="Segoe UI"/>
                <a:ea typeface="+mn-ea"/>
                <a:cs typeface="+mn-cs"/>
              </a:rPr>
              <a:t>IT professional</a:t>
            </a:r>
          </a:p>
        </p:txBody>
      </p:sp>
      <p:grpSp>
        <p:nvGrpSpPr>
          <p:cNvPr id="70" name="Group 69"/>
          <p:cNvGrpSpPr/>
          <p:nvPr/>
        </p:nvGrpSpPr>
        <p:grpSpPr>
          <a:xfrm>
            <a:off x="4759504" y="5449989"/>
            <a:ext cx="921317" cy="1139048"/>
            <a:chOff x="12251162" y="-145458"/>
            <a:chExt cx="6442076" cy="7964488"/>
          </a:xfrm>
          <a:solidFill>
            <a:schemeClr val="bg1"/>
          </a:solidFill>
        </p:grpSpPr>
        <p:sp>
          <p:nvSpPr>
            <p:cNvPr id="71" name="Freeform 5"/>
            <p:cNvSpPr>
              <a:spLocks noEditPoints="1"/>
            </p:cNvSpPr>
            <p:nvPr/>
          </p:nvSpPr>
          <p:spPr bwMode="auto">
            <a:xfrm>
              <a:off x="15608725" y="4736105"/>
              <a:ext cx="3084513" cy="3082925"/>
            </a:xfrm>
            <a:custGeom>
              <a:avLst/>
              <a:gdLst>
                <a:gd name="T0" fmla="*/ 410 w 821"/>
                <a:gd name="T1" fmla="*/ 0 h 821"/>
                <a:gd name="T2" fmla="*/ 0 w 821"/>
                <a:gd name="T3" fmla="*/ 411 h 821"/>
                <a:gd name="T4" fmla="*/ 410 w 821"/>
                <a:gd name="T5" fmla="*/ 821 h 821"/>
                <a:gd name="T6" fmla="*/ 821 w 821"/>
                <a:gd name="T7" fmla="*/ 411 h 821"/>
                <a:gd name="T8" fmla="*/ 410 w 821"/>
                <a:gd name="T9" fmla="*/ 0 h 821"/>
                <a:gd name="T10" fmla="*/ 336 w 821"/>
                <a:gd name="T11" fmla="*/ 584 h 821"/>
                <a:gd name="T12" fmla="*/ 192 w 821"/>
                <a:gd name="T13" fmla="*/ 387 h 821"/>
                <a:gd name="T14" fmla="*/ 297 w 821"/>
                <a:gd name="T15" fmla="*/ 387 h 821"/>
                <a:gd name="T16" fmla="*/ 440 w 821"/>
                <a:gd name="T17" fmla="*/ 584 h 821"/>
                <a:gd name="T18" fmla="*/ 336 w 821"/>
                <a:gd name="T19" fmla="*/ 584 h 821"/>
                <a:gd name="T20" fmla="*/ 455 w 821"/>
                <a:gd name="T21" fmla="*/ 569 h 821"/>
                <a:gd name="T22" fmla="*/ 397 w 821"/>
                <a:gd name="T23" fmla="*/ 489 h 821"/>
                <a:gd name="T24" fmla="*/ 528 w 821"/>
                <a:gd name="T25" fmla="*/ 226 h 821"/>
                <a:gd name="T26" fmla="*/ 623 w 821"/>
                <a:gd name="T27" fmla="*/ 226 h 821"/>
                <a:gd name="T28" fmla="*/ 455 w 821"/>
                <a:gd name="T29" fmla="*/ 56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1" h="821">
                  <a:moveTo>
                    <a:pt x="410" y="0"/>
                  </a:moveTo>
                  <a:cubicBezTo>
                    <a:pt x="184" y="0"/>
                    <a:pt x="0" y="184"/>
                    <a:pt x="0" y="411"/>
                  </a:cubicBezTo>
                  <a:cubicBezTo>
                    <a:pt x="0" y="637"/>
                    <a:pt x="184" y="821"/>
                    <a:pt x="410" y="821"/>
                  </a:cubicBezTo>
                  <a:cubicBezTo>
                    <a:pt x="637" y="821"/>
                    <a:pt x="821" y="637"/>
                    <a:pt x="821" y="411"/>
                  </a:cubicBezTo>
                  <a:cubicBezTo>
                    <a:pt x="821" y="184"/>
                    <a:pt x="637" y="0"/>
                    <a:pt x="410" y="0"/>
                  </a:cubicBezTo>
                  <a:close/>
                  <a:moveTo>
                    <a:pt x="336" y="584"/>
                  </a:moveTo>
                  <a:cubicBezTo>
                    <a:pt x="192" y="387"/>
                    <a:pt x="192" y="387"/>
                    <a:pt x="192" y="387"/>
                  </a:cubicBezTo>
                  <a:cubicBezTo>
                    <a:pt x="297" y="387"/>
                    <a:pt x="297" y="387"/>
                    <a:pt x="297" y="387"/>
                  </a:cubicBezTo>
                  <a:cubicBezTo>
                    <a:pt x="440" y="584"/>
                    <a:pt x="440" y="584"/>
                    <a:pt x="440" y="584"/>
                  </a:cubicBezTo>
                  <a:lnTo>
                    <a:pt x="336" y="584"/>
                  </a:lnTo>
                  <a:close/>
                  <a:moveTo>
                    <a:pt x="455" y="569"/>
                  </a:moveTo>
                  <a:cubicBezTo>
                    <a:pt x="397" y="489"/>
                    <a:pt x="397" y="489"/>
                    <a:pt x="397" y="489"/>
                  </a:cubicBezTo>
                  <a:cubicBezTo>
                    <a:pt x="528" y="226"/>
                    <a:pt x="528" y="226"/>
                    <a:pt x="528" y="226"/>
                  </a:cubicBezTo>
                  <a:cubicBezTo>
                    <a:pt x="623" y="226"/>
                    <a:pt x="623" y="226"/>
                    <a:pt x="623" y="226"/>
                  </a:cubicBezTo>
                  <a:lnTo>
                    <a:pt x="455" y="5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 name="Freeform 6"/>
            <p:cNvSpPr>
              <a:spLocks/>
            </p:cNvSpPr>
            <p:nvPr/>
          </p:nvSpPr>
          <p:spPr bwMode="auto">
            <a:xfrm>
              <a:off x="12251162" y="-145458"/>
              <a:ext cx="5251450" cy="6669088"/>
            </a:xfrm>
            <a:custGeom>
              <a:avLst/>
              <a:gdLst>
                <a:gd name="T0" fmla="*/ 872 w 1398"/>
                <a:gd name="T1" fmla="*/ 1776 h 1776"/>
                <a:gd name="T2" fmla="*/ 867 w 1398"/>
                <a:gd name="T3" fmla="*/ 1711 h 1776"/>
                <a:gd name="T4" fmla="*/ 1304 w 1398"/>
                <a:gd name="T5" fmla="*/ 1273 h 1776"/>
                <a:gd name="T6" fmla="*/ 1398 w 1398"/>
                <a:gd name="T7" fmla="*/ 1284 h 1776"/>
                <a:gd name="T8" fmla="*/ 1192 w 1398"/>
                <a:gd name="T9" fmla="*/ 1174 h 1776"/>
                <a:gd name="T10" fmla="*/ 982 w 1398"/>
                <a:gd name="T11" fmla="*/ 1073 h 1776"/>
                <a:gd name="T12" fmla="*/ 982 w 1398"/>
                <a:gd name="T13" fmla="*/ 1000 h 1776"/>
                <a:gd name="T14" fmla="*/ 1238 w 1398"/>
                <a:gd name="T15" fmla="*/ 502 h 1776"/>
                <a:gd name="T16" fmla="*/ 819 w 1398"/>
                <a:gd name="T17" fmla="*/ 0 h 1776"/>
                <a:gd name="T18" fmla="*/ 400 w 1398"/>
                <a:gd name="T19" fmla="*/ 502 h 1776"/>
                <a:gd name="T20" fmla="*/ 655 w 1398"/>
                <a:gd name="T21" fmla="*/ 1000 h 1776"/>
                <a:gd name="T22" fmla="*/ 655 w 1398"/>
                <a:gd name="T23" fmla="*/ 1073 h 1776"/>
                <a:gd name="T24" fmla="*/ 446 w 1398"/>
                <a:gd name="T25" fmla="*/ 1174 h 1776"/>
                <a:gd name="T26" fmla="*/ 0 w 1398"/>
                <a:gd name="T27" fmla="*/ 1519 h 1776"/>
                <a:gd name="T28" fmla="*/ 0 w 1398"/>
                <a:gd name="T29" fmla="*/ 1776 h 1776"/>
                <a:gd name="T30" fmla="*/ 774 w 1398"/>
                <a:gd name="T31" fmla="*/ 1776 h 1776"/>
                <a:gd name="T32" fmla="*/ 774 w 1398"/>
                <a:gd name="T33" fmla="*/ 1776 h 1776"/>
                <a:gd name="T34" fmla="*/ 872 w 1398"/>
                <a:gd name="T35" fmla="*/ 1776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8" h="1776">
                  <a:moveTo>
                    <a:pt x="872" y="1776"/>
                  </a:moveTo>
                  <a:cubicBezTo>
                    <a:pt x="869" y="1755"/>
                    <a:pt x="867" y="1733"/>
                    <a:pt x="867" y="1711"/>
                  </a:cubicBezTo>
                  <a:cubicBezTo>
                    <a:pt x="867" y="1469"/>
                    <a:pt x="1063" y="1273"/>
                    <a:pt x="1304" y="1273"/>
                  </a:cubicBezTo>
                  <a:cubicBezTo>
                    <a:pt x="1336" y="1273"/>
                    <a:pt x="1368" y="1277"/>
                    <a:pt x="1398" y="1284"/>
                  </a:cubicBezTo>
                  <a:cubicBezTo>
                    <a:pt x="1326" y="1242"/>
                    <a:pt x="1251" y="1204"/>
                    <a:pt x="1192" y="1174"/>
                  </a:cubicBezTo>
                  <a:cubicBezTo>
                    <a:pt x="1029" y="1093"/>
                    <a:pt x="982" y="1073"/>
                    <a:pt x="982" y="1073"/>
                  </a:cubicBezTo>
                  <a:cubicBezTo>
                    <a:pt x="982" y="1000"/>
                    <a:pt x="982" y="1000"/>
                    <a:pt x="982" y="1000"/>
                  </a:cubicBezTo>
                  <a:cubicBezTo>
                    <a:pt x="1132" y="918"/>
                    <a:pt x="1238" y="726"/>
                    <a:pt x="1238" y="502"/>
                  </a:cubicBezTo>
                  <a:cubicBezTo>
                    <a:pt x="1238" y="203"/>
                    <a:pt x="1050" y="0"/>
                    <a:pt x="819" y="0"/>
                  </a:cubicBezTo>
                  <a:cubicBezTo>
                    <a:pt x="587" y="0"/>
                    <a:pt x="400" y="203"/>
                    <a:pt x="400" y="502"/>
                  </a:cubicBezTo>
                  <a:cubicBezTo>
                    <a:pt x="400" y="726"/>
                    <a:pt x="505" y="918"/>
                    <a:pt x="655" y="1000"/>
                  </a:cubicBezTo>
                  <a:cubicBezTo>
                    <a:pt x="655" y="1073"/>
                    <a:pt x="655" y="1073"/>
                    <a:pt x="655" y="1073"/>
                  </a:cubicBezTo>
                  <a:cubicBezTo>
                    <a:pt x="655" y="1073"/>
                    <a:pt x="608" y="1093"/>
                    <a:pt x="446" y="1174"/>
                  </a:cubicBezTo>
                  <a:cubicBezTo>
                    <a:pt x="284" y="1256"/>
                    <a:pt x="0" y="1397"/>
                    <a:pt x="0" y="1519"/>
                  </a:cubicBezTo>
                  <a:cubicBezTo>
                    <a:pt x="0" y="1641"/>
                    <a:pt x="0" y="1776"/>
                    <a:pt x="0" y="1776"/>
                  </a:cubicBezTo>
                  <a:cubicBezTo>
                    <a:pt x="774" y="1776"/>
                    <a:pt x="774" y="1776"/>
                    <a:pt x="774" y="1776"/>
                  </a:cubicBezTo>
                  <a:cubicBezTo>
                    <a:pt x="774" y="1776"/>
                    <a:pt x="774" y="1776"/>
                    <a:pt x="774" y="1776"/>
                  </a:cubicBezTo>
                  <a:lnTo>
                    <a:pt x="872" y="17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1" name="Group 60"/>
          <p:cNvGrpSpPr/>
          <p:nvPr/>
        </p:nvGrpSpPr>
        <p:grpSpPr>
          <a:xfrm>
            <a:off x="2103018" y="5345343"/>
            <a:ext cx="288858" cy="288860"/>
            <a:chOff x="5372581" y="1617831"/>
            <a:chExt cx="498112" cy="498112"/>
          </a:xfrm>
          <a:solidFill>
            <a:schemeClr val="bg1"/>
          </a:solidFill>
        </p:grpSpPr>
        <p:sp>
          <p:nvSpPr>
            <p:cNvPr id="65" name="Oval 64"/>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marL="0" marR="0" lvl="0" indent="0" algn="ctr" defTabSz="932021"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 name="Isosceles Triangle 42"/>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69" name="Freeform 10"/>
          <p:cNvSpPr>
            <a:spLocks/>
          </p:cNvSpPr>
          <p:nvPr/>
        </p:nvSpPr>
        <p:spPr bwMode="auto">
          <a:xfrm>
            <a:off x="4916944" y="3673716"/>
            <a:ext cx="626457" cy="670462"/>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TextBox 79"/>
          <p:cNvSpPr txBox="1"/>
          <p:nvPr/>
        </p:nvSpPr>
        <p:spPr>
          <a:xfrm>
            <a:off x="5539024" y="4569502"/>
            <a:ext cx="769265" cy="483495"/>
          </a:xfrm>
          <a:prstGeom prst="rect">
            <a:avLst/>
          </a:prstGeom>
          <a:noFill/>
        </p:spPr>
        <p:txBody>
          <a:bodyPr wrap="none" lIns="179262" tIns="143410" rIns="179262" bIns="143410">
            <a:spAutoFit/>
          </a:bodyPr>
          <a:lstStyle/>
          <a:p>
            <a:pPr marL="0" marR="0" lvl="0" indent="0" algn="ctr" defTabSz="914223"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Users</a:t>
            </a:r>
          </a:p>
        </p:txBody>
      </p:sp>
      <p:sp>
        <p:nvSpPr>
          <p:cNvPr id="82" name="Freeform 10"/>
          <p:cNvSpPr>
            <a:spLocks/>
          </p:cNvSpPr>
          <p:nvPr/>
        </p:nvSpPr>
        <p:spPr bwMode="auto">
          <a:xfrm>
            <a:off x="5313651" y="3808281"/>
            <a:ext cx="626457" cy="670462"/>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Freeform 10"/>
          <p:cNvSpPr>
            <a:spLocks/>
          </p:cNvSpPr>
          <p:nvPr/>
        </p:nvSpPr>
        <p:spPr bwMode="auto">
          <a:xfrm>
            <a:off x="5728556" y="3911303"/>
            <a:ext cx="626457" cy="670462"/>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Freeform 10"/>
          <p:cNvSpPr>
            <a:spLocks/>
          </p:cNvSpPr>
          <p:nvPr/>
        </p:nvSpPr>
        <p:spPr bwMode="auto">
          <a:xfrm>
            <a:off x="4975154" y="2019234"/>
            <a:ext cx="626457" cy="670462"/>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TextBox 88"/>
          <p:cNvSpPr txBox="1"/>
          <p:nvPr/>
        </p:nvSpPr>
        <p:spPr>
          <a:xfrm>
            <a:off x="5017862" y="2750174"/>
            <a:ext cx="937557" cy="483495"/>
          </a:xfrm>
          <a:prstGeom prst="rect">
            <a:avLst/>
          </a:prstGeom>
          <a:noFill/>
        </p:spPr>
        <p:txBody>
          <a:bodyPr wrap="none" lIns="179262" tIns="143410" rIns="179262" bIns="143410">
            <a:spAutoFit/>
          </a:bodyPr>
          <a:lstStyle/>
          <a:p>
            <a:pPr marL="0" marR="0" lvl="0" indent="0" algn="ctr" defTabSz="914223"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Owners</a:t>
            </a:r>
          </a:p>
        </p:txBody>
      </p:sp>
      <p:sp>
        <p:nvSpPr>
          <p:cNvPr id="90" name="Freeform 10"/>
          <p:cNvSpPr>
            <a:spLocks/>
          </p:cNvSpPr>
          <p:nvPr/>
        </p:nvSpPr>
        <p:spPr bwMode="auto">
          <a:xfrm>
            <a:off x="5333367" y="2204528"/>
            <a:ext cx="626457" cy="670462"/>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Freeform 128"/>
          <p:cNvSpPr>
            <a:spLocks noChangeAspect="1"/>
          </p:cNvSpPr>
          <p:nvPr/>
        </p:nvSpPr>
        <p:spPr bwMode="black">
          <a:xfrm>
            <a:off x="1303047" y="4820532"/>
            <a:ext cx="2742975" cy="15152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38100">
            <a:solidFill>
              <a:schemeClr val="bg2"/>
            </a:solidFill>
          </a:ln>
          <a:extLst/>
        </p:spPr>
        <p:txBody>
          <a:bodyPr vert="horz" wrap="square" lIns="91415" tIns="45707" rIns="91415" bIns="45707" numCol="1" anchor="t" anchorCtr="0" compatLnSpc="1">
            <a:prstTxWarp prst="textNoShape">
              <a:avLst/>
            </a:prstTxWarp>
          </a:bodyPr>
          <a:lstStyle/>
          <a:p>
            <a:pPr marL="0" marR="0" lvl="0" indent="0" algn="l" defTabSz="93223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92" name="Picture 9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01907" y="5172988"/>
            <a:ext cx="854635" cy="854635"/>
          </a:xfrm>
          <a:prstGeom prst="rect">
            <a:avLst/>
          </a:prstGeom>
        </p:spPr>
      </p:pic>
      <p:sp>
        <p:nvSpPr>
          <p:cNvPr id="119" name="Rectangle 118"/>
          <p:cNvSpPr/>
          <p:nvPr/>
        </p:nvSpPr>
        <p:spPr>
          <a:xfrm>
            <a:off x="7194582" y="4255643"/>
            <a:ext cx="4236686" cy="846235"/>
          </a:xfrm>
          <a:prstGeom prst="rect">
            <a:avLst/>
          </a:prstGeom>
        </p:spPr>
        <p:txBody>
          <a:bodyPr wrap="square" lIns="182831" tIns="146264" rIns="182831" bIns="146264">
            <a:spAutoFit/>
          </a:bodyPr>
          <a:lstStyle/>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326" b="1" i="0" u="none" strike="noStrike" kern="0" cap="none" spc="0" normalizeH="0" baseline="0" noProof="0" dirty="0">
                <a:ln>
                  <a:noFill/>
                </a:ln>
                <a:solidFill>
                  <a:srgbClr val="FFFFFF"/>
                </a:solidFill>
                <a:effectLst/>
                <a:uLnTx/>
                <a:uFillTx/>
                <a:latin typeface="Segoe UI"/>
                <a:ea typeface="+mn-ea"/>
                <a:cs typeface="+mn-cs"/>
              </a:rPr>
              <a:t>Email notifications </a:t>
            </a:r>
            <a:r>
              <a:rPr kumimoji="0" lang="en-US" sz="1326" b="0" i="0" u="none" strike="noStrike" kern="0" cap="none" spc="0" normalizeH="0" baseline="0" noProof="0" dirty="0">
                <a:ln>
                  <a:noFill/>
                </a:ln>
                <a:solidFill>
                  <a:srgbClr val="FFFFFF"/>
                </a:solidFill>
                <a:effectLst/>
                <a:uLnTx/>
                <a:uFillTx/>
                <a:latin typeface="Segoe UI"/>
                <a:ea typeface="+mn-ea"/>
                <a:cs typeface="+mn-cs"/>
              </a:rPr>
              <a:t>for pending, accepted, and rejected approvals – take action right from your inbox</a:t>
            </a:r>
          </a:p>
        </p:txBody>
      </p:sp>
      <p:sp>
        <p:nvSpPr>
          <p:cNvPr id="120" name="Rectangle 119"/>
          <p:cNvSpPr/>
          <p:nvPr/>
        </p:nvSpPr>
        <p:spPr>
          <a:xfrm>
            <a:off x="7214516" y="3634826"/>
            <a:ext cx="4856862" cy="662618"/>
          </a:xfrm>
          <a:prstGeom prst="rect">
            <a:avLst/>
          </a:prstGeom>
        </p:spPr>
        <p:txBody>
          <a:bodyPr wrap="square" lIns="182831" tIns="146264" rIns="182831" bIns="146264">
            <a:spAutoFit/>
          </a:bodyPr>
          <a:lstStyle/>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326" b="0" i="0" u="none" strike="noStrike" kern="0" cap="none" spc="0" normalizeH="0" baseline="0" noProof="0" dirty="0">
                <a:ln>
                  <a:noFill/>
                </a:ln>
                <a:solidFill>
                  <a:srgbClr val="FFFFFF"/>
                </a:solidFill>
                <a:effectLst/>
                <a:uLnTx/>
                <a:uFillTx/>
                <a:latin typeface="Segoe UI"/>
                <a:ea typeface="+mn-ea"/>
                <a:cs typeface="+mn-cs"/>
              </a:rPr>
              <a:t>Single click </a:t>
            </a:r>
            <a:r>
              <a:rPr kumimoji="0" lang="en-US" sz="1326" b="1" i="0" u="none" strike="noStrike" kern="0" cap="none" spc="0" normalizeH="0" baseline="0" noProof="0" dirty="0">
                <a:ln>
                  <a:noFill/>
                </a:ln>
                <a:solidFill>
                  <a:srgbClr val="FFFFFF"/>
                </a:solidFill>
                <a:effectLst/>
                <a:uLnTx/>
                <a:uFillTx/>
                <a:latin typeface="Segoe UI"/>
                <a:ea typeface="+mn-ea"/>
                <a:cs typeface="+mn-cs"/>
              </a:rPr>
              <a:t>request and approval workflows </a:t>
            </a:r>
            <a:r>
              <a:rPr kumimoji="0" lang="en-US" sz="1326" b="0" i="0" u="none" strike="noStrike" kern="0" cap="none" spc="0" normalizeH="0" baseline="0" noProof="0" dirty="0">
                <a:ln>
                  <a:noFill/>
                </a:ln>
                <a:solidFill>
                  <a:srgbClr val="FFFFFF"/>
                </a:solidFill>
                <a:effectLst/>
                <a:uLnTx/>
                <a:uFillTx/>
                <a:latin typeface="Segoe UI"/>
                <a:ea typeface="+mn-ea"/>
                <a:cs typeface="+mn-cs"/>
              </a:rPr>
              <a:t>from anywhere, on any device</a:t>
            </a:r>
          </a:p>
        </p:txBody>
      </p:sp>
      <p:sp>
        <p:nvSpPr>
          <p:cNvPr id="121" name="Rectangle 120"/>
          <p:cNvSpPr/>
          <p:nvPr/>
        </p:nvSpPr>
        <p:spPr>
          <a:xfrm>
            <a:off x="7201800" y="3023990"/>
            <a:ext cx="4882296" cy="846235"/>
          </a:xfrm>
          <a:prstGeom prst="rect">
            <a:avLst/>
          </a:prstGeom>
        </p:spPr>
        <p:txBody>
          <a:bodyPr wrap="square" lIns="182831" tIns="146264" rIns="182831" bIns="146264">
            <a:spAutoFit/>
          </a:bodyPr>
          <a:lstStyle/>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326" b="0" i="0" u="none" strike="noStrike" kern="0" cap="none" spc="0" normalizeH="0" baseline="0" noProof="0" dirty="0">
                <a:ln>
                  <a:noFill/>
                </a:ln>
                <a:solidFill>
                  <a:srgbClr val="FFFFFF"/>
                </a:solidFill>
                <a:effectLst/>
                <a:uLnTx/>
                <a:uFillTx/>
                <a:latin typeface="Segoe UI"/>
                <a:ea typeface="+mn-ea"/>
                <a:cs typeface="+mn-cs"/>
              </a:rPr>
              <a:t>Let users browse and </a:t>
            </a:r>
            <a:r>
              <a:rPr kumimoji="0" lang="en-US" sz="1326" b="1" i="0" u="none" strike="noStrike" kern="0" cap="none" spc="0" normalizeH="0" baseline="0" noProof="0" dirty="0">
                <a:ln>
                  <a:noFill/>
                </a:ln>
                <a:solidFill>
                  <a:srgbClr val="FFFFFF"/>
                </a:solidFill>
                <a:effectLst/>
                <a:uLnTx/>
                <a:uFillTx/>
                <a:latin typeface="Segoe UI"/>
                <a:ea typeface="+mn-ea"/>
                <a:cs typeface="+mn-cs"/>
              </a:rPr>
              <a:t>request access </a:t>
            </a:r>
            <a:r>
              <a:rPr kumimoji="0" lang="en-US" sz="1326" b="0" i="0" u="none" strike="noStrike" kern="0" cap="none" spc="0" normalizeH="0" baseline="0" noProof="0" dirty="0">
                <a:ln>
                  <a:noFill/>
                </a:ln>
                <a:solidFill>
                  <a:srgbClr val="FFFFFF"/>
                </a:solidFill>
                <a:effectLst/>
                <a:uLnTx/>
                <a:uFillTx/>
                <a:latin typeface="Segoe UI"/>
                <a:ea typeface="+mn-ea"/>
                <a:cs typeface="+mn-cs"/>
              </a:rPr>
              <a:t>to apps that you curate, or to any app that has been pre-integrated -  you decide</a:t>
            </a:r>
          </a:p>
        </p:txBody>
      </p:sp>
      <p:grpSp>
        <p:nvGrpSpPr>
          <p:cNvPr id="122" name="Group 121"/>
          <p:cNvGrpSpPr/>
          <p:nvPr/>
        </p:nvGrpSpPr>
        <p:grpSpPr>
          <a:xfrm>
            <a:off x="6911980" y="3122097"/>
            <a:ext cx="288858" cy="288860"/>
            <a:chOff x="5372581" y="1617831"/>
            <a:chExt cx="498112" cy="498112"/>
          </a:xfrm>
          <a:solidFill>
            <a:schemeClr val="bg1"/>
          </a:solidFill>
        </p:grpSpPr>
        <p:sp>
          <p:nvSpPr>
            <p:cNvPr id="123" name="Oval 122"/>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marL="0" marR="0" lvl="0" indent="0" algn="ctr" defTabSz="932021"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4" name="Isosceles Triangle 123"/>
            <p:cNvSpPr/>
            <p:nvPr/>
          </p:nvSpPr>
          <p:spPr bwMode="auto">
            <a:xfrm rot="5400000">
              <a:off x="5559440" y="1802229"/>
              <a:ext cx="181888" cy="130330"/>
            </a:xfrm>
            <a:prstGeom prst="triangl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25" name="Group 124"/>
          <p:cNvGrpSpPr/>
          <p:nvPr/>
        </p:nvGrpSpPr>
        <p:grpSpPr>
          <a:xfrm>
            <a:off x="6911980" y="4529070"/>
            <a:ext cx="288858" cy="288860"/>
            <a:chOff x="5372581" y="1617831"/>
            <a:chExt cx="498112" cy="498112"/>
          </a:xfrm>
          <a:solidFill>
            <a:schemeClr val="bg1"/>
          </a:solidFill>
        </p:grpSpPr>
        <p:sp>
          <p:nvSpPr>
            <p:cNvPr id="126" name="Oval 125"/>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marL="0" marR="0" lvl="0" indent="0" algn="ctr" defTabSz="932021"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7" name="Isosceles Triangle 42"/>
            <p:cNvSpPr/>
            <p:nvPr/>
          </p:nvSpPr>
          <p:spPr bwMode="auto">
            <a:xfrm rot="5400000">
              <a:off x="5559440" y="1802229"/>
              <a:ext cx="181888" cy="130330"/>
            </a:xfrm>
            <a:prstGeom prst="triangl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28" name="Group 127"/>
          <p:cNvGrpSpPr/>
          <p:nvPr/>
        </p:nvGrpSpPr>
        <p:grpSpPr>
          <a:xfrm>
            <a:off x="6911980" y="3825584"/>
            <a:ext cx="288858" cy="288860"/>
            <a:chOff x="5372581" y="1617831"/>
            <a:chExt cx="498112" cy="498112"/>
          </a:xfrm>
          <a:solidFill>
            <a:schemeClr val="bg1"/>
          </a:solidFill>
        </p:grpSpPr>
        <p:sp>
          <p:nvSpPr>
            <p:cNvPr id="129" name="Oval 128"/>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marL="0" marR="0" lvl="0" indent="0" algn="ctr" defTabSz="932021"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0" name="Isosceles Triangle 42"/>
            <p:cNvSpPr/>
            <p:nvPr/>
          </p:nvSpPr>
          <p:spPr bwMode="auto">
            <a:xfrm rot="5400000">
              <a:off x="5559440" y="1802229"/>
              <a:ext cx="181888" cy="130330"/>
            </a:xfrm>
            <a:prstGeom prst="triangl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132" name="Rectangle 131"/>
          <p:cNvSpPr/>
          <p:nvPr/>
        </p:nvSpPr>
        <p:spPr>
          <a:xfrm>
            <a:off x="7205827" y="5044162"/>
            <a:ext cx="4125274" cy="662618"/>
          </a:xfrm>
          <a:prstGeom prst="rect">
            <a:avLst/>
          </a:prstGeom>
        </p:spPr>
        <p:txBody>
          <a:bodyPr wrap="square" lIns="182831" tIns="146264" rIns="182831" bIns="146264">
            <a:spAutoFit/>
          </a:bodyPr>
          <a:lstStyle/>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326" b="1" i="0" u="none" strike="noStrike" kern="0" cap="none" spc="0" normalizeH="0" baseline="0" noProof="0" dirty="0">
                <a:ln>
                  <a:noFill/>
                </a:ln>
                <a:solidFill>
                  <a:srgbClr val="FFFFFF"/>
                </a:solidFill>
                <a:effectLst/>
                <a:uLnTx/>
                <a:uFillTx/>
                <a:latin typeface="Segoe UI"/>
                <a:ea typeface="+mn-ea"/>
                <a:cs typeface="+mn-cs"/>
              </a:rPr>
              <a:t>You control </a:t>
            </a:r>
            <a:r>
              <a:rPr kumimoji="0" lang="en-US" sz="1326" b="0" i="0" u="none" strike="noStrike" kern="0" cap="none" spc="0" normalizeH="0" baseline="0" noProof="0" dirty="0">
                <a:ln>
                  <a:noFill/>
                </a:ln>
                <a:solidFill>
                  <a:srgbClr val="FFFFFF"/>
                </a:solidFill>
                <a:effectLst/>
                <a:uLnTx/>
                <a:uFillTx/>
                <a:latin typeface="Segoe UI"/>
                <a:ea typeface="+mn-ea"/>
                <a:cs typeface="+mn-cs"/>
              </a:rPr>
              <a:t>who should approve or reject requests on an application-by-application basis</a:t>
            </a:r>
          </a:p>
        </p:txBody>
      </p:sp>
      <p:grpSp>
        <p:nvGrpSpPr>
          <p:cNvPr id="133" name="Group 132"/>
          <p:cNvGrpSpPr/>
          <p:nvPr/>
        </p:nvGrpSpPr>
        <p:grpSpPr>
          <a:xfrm>
            <a:off x="6918269" y="5232557"/>
            <a:ext cx="288858" cy="288860"/>
            <a:chOff x="5372581" y="1617831"/>
            <a:chExt cx="498112" cy="498112"/>
          </a:xfrm>
          <a:solidFill>
            <a:schemeClr val="bg1"/>
          </a:solidFill>
        </p:grpSpPr>
        <p:sp>
          <p:nvSpPr>
            <p:cNvPr id="134" name="Oval 133"/>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marL="0" marR="0" lvl="0" indent="0" algn="ctr" defTabSz="932021"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5" name="Isosceles Triangle 42"/>
            <p:cNvSpPr/>
            <p:nvPr/>
          </p:nvSpPr>
          <p:spPr bwMode="auto">
            <a:xfrm rot="5400000">
              <a:off x="5559440" y="1802229"/>
              <a:ext cx="181888" cy="130330"/>
            </a:xfrm>
            <a:prstGeom prst="triangl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cxnSp>
        <p:nvCxnSpPr>
          <p:cNvPr id="10" name="Straight Arrow Connector 9"/>
          <p:cNvCxnSpPr>
            <a:cxnSpLocks/>
          </p:cNvCxnSpPr>
          <p:nvPr/>
        </p:nvCxnSpPr>
        <p:spPr>
          <a:xfrm flipH="1">
            <a:off x="3511493" y="5143197"/>
            <a:ext cx="1105956" cy="434963"/>
          </a:xfrm>
          <a:prstGeom prst="straightConnector1">
            <a:avLst/>
          </a:prstGeom>
          <a:ln w="50800">
            <a:headEnd type="none"/>
            <a:tailEnd type="triangle"/>
          </a:ln>
        </p:spPr>
        <p:style>
          <a:lnRef idx="1">
            <a:schemeClr val="dk1"/>
          </a:lnRef>
          <a:fillRef idx="0">
            <a:schemeClr val="dk1"/>
          </a:fillRef>
          <a:effectRef idx="0">
            <a:schemeClr val="dk1"/>
          </a:effectRef>
          <a:fontRef idx="minor">
            <a:schemeClr val="tx1"/>
          </a:fontRef>
        </p:style>
      </p:cxnSp>
      <p:pic>
        <p:nvPicPr>
          <p:cNvPr id="22" name="Picture 2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1380" y="2324700"/>
            <a:ext cx="1860137" cy="2163162"/>
          </a:xfrm>
          <a:prstGeom prst="rect">
            <a:avLst/>
          </a:prstGeom>
        </p:spPr>
      </p:pic>
      <p:grpSp>
        <p:nvGrpSpPr>
          <p:cNvPr id="93" name="Group 92"/>
          <p:cNvGrpSpPr/>
          <p:nvPr/>
        </p:nvGrpSpPr>
        <p:grpSpPr>
          <a:xfrm>
            <a:off x="1335251" y="3106216"/>
            <a:ext cx="2139481" cy="1181878"/>
            <a:chOff x="9122219" y="982429"/>
            <a:chExt cx="2139754" cy="1182029"/>
          </a:xfrm>
        </p:grpSpPr>
        <p:sp>
          <p:nvSpPr>
            <p:cNvPr id="94" name="Freeform 128"/>
            <p:cNvSpPr>
              <a:spLocks noChangeAspect="1"/>
            </p:cNvSpPr>
            <p:nvPr/>
          </p:nvSpPr>
          <p:spPr bwMode="black">
            <a:xfrm>
              <a:off x="9122219" y="982429"/>
              <a:ext cx="2139754" cy="11820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38100">
              <a:solidFill>
                <a:schemeClr val="bg2"/>
              </a:solidFill>
            </a:ln>
            <a:extLst/>
          </p:spPr>
          <p:txBody>
            <a:bodyPr vert="horz" wrap="square" lIns="91415" tIns="45707" rIns="91415" bIns="45707" numCol="1" anchor="t" anchorCtr="0" compatLnSpc="1">
              <a:prstTxWarp prst="textNoShape">
                <a:avLst/>
              </a:prstTxWarp>
            </a:bodyPr>
            <a:lstStyle/>
            <a:p>
              <a:pPr marL="0" marR="0" lvl="0" indent="0" algn="l" defTabSz="93223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95" name="Text Placeholder 2"/>
            <p:cNvSpPr txBox="1">
              <a:spLocks/>
            </p:cNvSpPr>
            <p:nvPr/>
          </p:nvSpPr>
          <p:spPr>
            <a:xfrm>
              <a:off x="9398016" y="1422971"/>
              <a:ext cx="1757213" cy="735033"/>
            </a:xfrm>
            <a:prstGeom prst="rect">
              <a:avLst/>
            </a:prstGeom>
            <a:ln>
              <a:noFill/>
            </a:ln>
          </p:spPr>
          <p:txBody>
            <a:bodyPr vert="horz" wrap="square" lIns="143410" tIns="89631" rIns="143410" bIns="89631"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414" rtl="0" eaLnBrk="1" fontAlgn="base" latinLnBrk="0" hangingPunct="1">
                <a:lnSpc>
                  <a:spcPct val="100000"/>
                </a:lnSpc>
                <a:spcBef>
                  <a:spcPts val="0"/>
                </a:spcBef>
                <a:spcAft>
                  <a:spcPct val="0"/>
                </a:spcAft>
                <a:buClrTx/>
                <a:buSzPct val="90000"/>
                <a:buFont typeface="Arial" charset="0"/>
                <a:buNone/>
                <a:tabLst/>
                <a:defRPr/>
              </a:pPr>
              <a:r>
                <a:rPr kumimoji="0" lang="en-US" sz="1800" b="0" i="0" u="none" strike="noStrike" kern="1200" cap="none" spc="0" normalizeH="0" baseline="0" noProof="0" dirty="0">
                  <a:ln>
                    <a:noFill/>
                  </a:ln>
                  <a:solidFill>
                    <a:srgbClr val="0078D7"/>
                  </a:solidFill>
                  <a:effectLst/>
                  <a:uLnTx/>
                  <a:uFillTx/>
                  <a:latin typeface="Segoe UI Light"/>
                  <a:ea typeface="ＭＳ Ｐゴシック" charset="0"/>
                </a:rPr>
                <a:t>Self-service access panel</a:t>
              </a:r>
            </a:p>
          </p:txBody>
        </p:sp>
      </p:grpSp>
      <p:cxnSp>
        <p:nvCxnSpPr>
          <p:cNvPr id="141" name="Straight Arrow Connector 140"/>
          <p:cNvCxnSpPr>
            <a:cxnSpLocks/>
          </p:cNvCxnSpPr>
          <p:nvPr/>
        </p:nvCxnSpPr>
        <p:spPr>
          <a:xfrm flipH="1" flipV="1">
            <a:off x="3347179" y="3268264"/>
            <a:ext cx="1441898" cy="161724"/>
          </a:xfrm>
          <a:prstGeom prst="straightConnector1">
            <a:avLst/>
          </a:prstGeom>
          <a:ln w="50800">
            <a:headEnd type="none"/>
            <a:tailEnd type="triangle"/>
          </a:ln>
        </p:spPr>
        <p:style>
          <a:lnRef idx="1">
            <a:schemeClr val="dk1"/>
          </a:lnRef>
          <a:fillRef idx="0">
            <a:schemeClr val="dk1"/>
          </a:fillRef>
          <a:effectRef idx="0">
            <a:schemeClr val="dk1"/>
          </a:effectRef>
          <a:fontRef idx="minor">
            <a:schemeClr val="tx1"/>
          </a:fontRef>
        </p:style>
      </p:cxnSp>
      <p:cxnSp>
        <p:nvCxnSpPr>
          <p:cNvPr id="142" name="Straight Arrow Connector 141"/>
          <p:cNvCxnSpPr>
            <a:cxnSpLocks/>
          </p:cNvCxnSpPr>
          <p:nvPr/>
        </p:nvCxnSpPr>
        <p:spPr>
          <a:xfrm flipH="1">
            <a:off x="2892243" y="2163608"/>
            <a:ext cx="2023086" cy="966344"/>
          </a:xfrm>
          <a:prstGeom prst="straightConnector1">
            <a:avLst/>
          </a:prstGeom>
          <a:ln w="50800">
            <a:headEnd type="none"/>
            <a:tailEnd type="triangle"/>
          </a:ln>
        </p:spPr>
        <p:style>
          <a:lnRef idx="1">
            <a:schemeClr val="dk1"/>
          </a:lnRef>
          <a:fillRef idx="0">
            <a:schemeClr val="dk1"/>
          </a:fillRef>
          <a:effectRef idx="0">
            <a:schemeClr val="dk1"/>
          </a:effectRef>
          <a:fontRef idx="minor">
            <a:schemeClr val="tx1"/>
          </a:fontRef>
        </p:style>
      </p:cxnSp>
      <p:sp>
        <p:nvSpPr>
          <p:cNvPr id="51" name="Rectangle 50"/>
          <p:cNvSpPr/>
          <p:nvPr/>
        </p:nvSpPr>
        <p:spPr>
          <a:xfrm>
            <a:off x="7201800" y="2368446"/>
            <a:ext cx="4882296" cy="662618"/>
          </a:xfrm>
          <a:prstGeom prst="rect">
            <a:avLst/>
          </a:prstGeom>
        </p:spPr>
        <p:txBody>
          <a:bodyPr wrap="square" lIns="182831" tIns="146264" rIns="182831" bIns="146264">
            <a:spAutoFit/>
          </a:bodyPr>
          <a:lstStyle/>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326" b="1" i="0" u="none" strike="noStrike" kern="0" cap="none" spc="0" normalizeH="0" baseline="0" noProof="0" dirty="0">
                <a:ln>
                  <a:noFill/>
                </a:ln>
                <a:solidFill>
                  <a:srgbClr val="FFFFFF"/>
                </a:solidFill>
                <a:effectLst/>
                <a:uLnTx/>
                <a:uFillTx/>
                <a:latin typeface="Segoe UI"/>
                <a:ea typeface="+mn-ea"/>
                <a:cs typeface="+mn-cs"/>
              </a:rPr>
              <a:t>Delegate exceptions </a:t>
            </a:r>
            <a:r>
              <a:rPr kumimoji="0" lang="en-US" sz="1326" b="0" i="0" u="none" strike="noStrike" kern="0" cap="none" spc="0" normalizeH="0" baseline="0" noProof="0" dirty="0">
                <a:ln>
                  <a:noFill/>
                </a:ln>
                <a:solidFill>
                  <a:srgbClr val="FFFFFF"/>
                </a:solidFill>
                <a:effectLst/>
                <a:uLnTx/>
                <a:uFillTx/>
                <a:latin typeface="Segoe UI"/>
                <a:ea typeface="+mn-ea"/>
                <a:cs typeface="+mn-cs"/>
              </a:rPr>
              <a:t>to business policy to those who know it best, your org’s BDMs</a:t>
            </a:r>
          </a:p>
        </p:txBody>
      </p:sp>
      <p:grpSp>
        <p:nvGrpSpPr>
          <p:cNvPr id="52" name="Group 51"/>
          <p:cNvGrpSpPr/>
          <p:nvPr/>
        </p:nvGrpSpPr>
        <p:grpSpPr>
          <a:xfrm>
            <a:off x="6911980" y="2466553"/>
            <a:ext cx="288858" cy="288860"/>
            <a:chOff x="5372581" y="1617831"/>
            <a:chExt cx="498112" cy="498112"/>
          </a:xfrm>
          <a:solidFill>
            <a:schemeClr val="bg1"/>
          </a:solidFill>
        </p:grpSpPr>
        <p:sp>
          <p:nvSpPr>
            <p:cNvPr id="53" name="Oval 52"/>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marL="0" marR="0" lvl="0" indent="0" algn="ctr" defTabSz="932021"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4" name="Isosceles Triangle 53"/>
            <p:cNvSpPr/>
            <p:nvPr/>
          </p:nvSpPr>
          <p:spPr bwMode="auto">
            <a:xfrm rot="5400000">
              <a:off x="5559440" y="1802229"/>
              <a:ext cx="181888" cy="130330"/>
            </a:xfrm>
            <a:prstGeom prst="triangl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76173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77A9C6B8-7DB8-45A6-A90C-6BCDB7CEE59A}"/>
              </a:ext>
            </a:extLst>
          </p:cNvPr>
          <p:cNvSpPr/>
          <p:nvPr/>
        </p:nvSpPr>
        <p:spPr bwMode="auto">
          <a:xfrm>
            <a:off x="602483" y="3826249"/>
            <a:ext cx="3657600" cy="7315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I want to provide my employees secure </a:t>
            </a:r>
            <a:b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br>
            <a: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and easy access to every application </a:t>
            </a:r>
            <a:b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br>
            <a: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from any location and any device</a:t>
            </a:r>
          </a:p>
        </p:txBody>
      </p:sp>
      <p:sp>
        <p:nvSpPr>
          <p:cNvPr id="31" name="Rectangle 30">
            <a:extLst>
              <a:ext uri="{FF2B5EF4-FFF2-40B4-BE49-F238E27FC236}">
                <a16:creationId xmlns:a16="http://schemas.microsoft.com/office/drawing/2014/main" id="{F39E5602-CBE9-4DB4-B49E-A836925F3C56}"/>
              </a:ext>
            </a:extLst>
          </p:cNvPr>
          <p:cNvSpPr/>
          <p:nvPr/>
        </p:nvSpPr>
        <p:spPr bwMode="auto">
          <a:xfrm>
            <a:off x="602483" y="3826249"/>
            <a:ext cx="3657600" cy="7315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I need my customers, partners, and users to access the apps they need from everywhere and collaborate seamlessly</a:t>
            </a:r>
          </a:p>
        </p:txBody>
      </p:sp>
      <p:sp>
        <p:nvSpPr>
          <p:cNvPr id="40" name="Rectangle 39">
            <a:extLst>
              <a:ext uri="{FF2B5EF4-FFF2-40B4-BE49-F238E27FC236}">
                <a16:creationId xmlns:a16="http://schemas.microsoft.com/office/drawing/2014/main" id="{B1177A03-2705-4E87-A627-B15967EEDCFB}"/>
              </a:ext>
            </a:extLst>
          </p:cNvPr>
          <p:cNvSpPr/>
          <p:nvPr/>
        </p:nvSpPr>
        <p:spPr bwMode="auto">
          <a:xfrm>
            <a:off x="602483" y="3826249"/>
            <a:ext cx="3657600" cy="7315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I want to quickly deploy applications to devices, do more with less and automate Join/Move/Leave processes</a:t>
            </a:r>
          </a:p>
        </p:txBody>
      </p:sp>
      <p:sp>
        <p:nvSpPr>
          <p:cNvPr id="41" name="Rectangle 40">
            <a:extLst>
              <a:ext uri="{FF2B5EF4-FFF2-40B4-BE49-F238E27FC236}">
                <a16:creationId xmlns:a16="http://schemas.microsoft.com/office/drawing/2014/main" id="{639E3B05-90F2-4F0B-957C-2C0CDE04627D}"/>
              </a:ext>
            </a:extLst>
          </p:cNvPr>
          <p:cNvSpPr/>
          <p:nvPr/>
        </p:nvSpPr>
        <p:spPr bwMode="auto">
          <a:xfrm>
            <a:off x="602483" y="3826249"/>
            <a:ext cx="3657600" cy="7315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dev use case]</a:t>
            </a:r>
          </a:p>
        </p:txBody>
      </p:sp>
      <p:sp>
        <p:nvSpPr>
          <p:cNvPr id="42" name="Rectangle 41">
            <a:extLst>
              <a:ext uri="{FF2B5EF4-FFF2-40B4-BE49-F238E27FC236}">
                <a16:creationId xmlns:a16="http://schemas.microsoft.com/office/drawing/2014/main" id="{6E2FB3FD-4998-4660-A9BB-A3BED16916FB}"/>
              </a:ext>
            </a:extLst>
          </p:cNvPr>
          <p:cNvSpPr/>
          <p:nvPr/>
        </p:nvSpPr>
        <p:spPr bwMode="auto">
          <a:xfrm>
            <a:off x="602483" y="3922582"/>
            <a:ext cx="3657600" cy="53885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I want to protect access to my</a:t>
            </a:r>
            <a:b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br>
            <a: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resources from advanced threats</a:t>
            </a:r>
          </a:p>
        </p:txBody>
      </p:sp>
      <p:sp>
        <p:nvSpPr>
          <p:cNvPr id="43" name="Rectangle 42">
            <a:extLst>
              <a:ext uri="{FF2B5EF4-FFF2-40B4-BE49-F238E27FC236}">
                <a16:creationId xmlns:a16="http://schemas.microsoft.com/office/drawing/2014/main" id="{6221BC59-591C-4152-AB27-303C263ED4F6}"/>
              </a:ext>
            </a:extLst>
          </p:cNvPr>
          <p:cNvSpPr/>
          <p:nvPr/>
        </p:nvSpPr>
        <p:spPr bwMode="auto">
          <a:xfrm>
            <a:off x="602483" y="3923845"/>
            <a:ext cx="3657600" cy="53632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I need to comply with industry regulation and national data protection laws 	</a:t>
            </a:r>
          </a:p>
        </p:txBody>
      </p:sp>
      <p:sp useBgFill="1">
        <p:nvSpPr>
          <p:cNvPr id="44" name="Rectangle 43">
            <a:extLst>
              <a:ext uri="{FF2B5EF4-FFF2-40B4-BE49-F238E27FC236}">
                <a16:creationId xmlns:a16="http://schemas.microsoft.com/office/drawing/2014/main" id="{96E1E3A1-857F-45E2-BEC6-C1835CA98955}"/>
              </a:ext>
            </a:extLst>
          </p:cNvPr>
          <p:cNvSpPr/>
          <p:nvPr/>
        </p:nvSpPr>
        <p:spPr bwMode="auto">
          <a:xfrm>
            <a:off x="457200" y="3284878"/>
            <a:ext cx="3948167" cy="210236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5" name="Title 1">
            <a:extLst>
              <a:ext uri="{FF2B5EF4-FFF2-40B4-BE49-F238E27FC236}">
                <a16:creationId xmlns:a16="http://schemas.microsoft.com/office/drawing/2014/main" id="{A66DF46E-384C-4380-B5F0-1025790DAB37}"/>
              </a:ext>
            </a:extLst>
          </p:cNvPr>
          <p:cNvSpPr txBox="1">
            <a:spLocks/>
          </p:cNvSpPr>
          <p:nvPr/>
        </p:nvSpPr>
        <p:spPr>
          <a:xfrm>
            <a:off x="393424" y="3790950"/>
            <a:ext cx="4021138" cy="900113"/>
          </a:xfrm>
          <a:prstGeom prst="rect">
            <a:avLst/>
          </a:prstGeom>
        </p:spPr>
        <p:txBody>
          <a:bodyPr vert="horz" wrap="square" lIns="146304" tIns="91440" rIns="146304" bIns="91440" rtlCol="0" anchor="t">
            <a:noAutofit/>
          </a:bodyPr>
          <a:lst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3200"/>
              <a:t>Azure Active Directory</a:t>
            </a:r>
          </a:p>
        </p:txBody>
      </p:sp>
      <p:sp>
        <p:nvSpPr>
          <p:cNvPr id="46" name="Freeform: Shape 45">
            <a:extLst>
              <a:ext uri="{FF2B5EF4-FFF2-40B4-BE49-F238E27FC236}">
                <a16:creationId xmlns:a16="http://schemas.microsoft.com/office/drawing/2014/main" id="{A60B0719-ADC9-474E-9C85-6D9AA9FFA87F}"/>
              </a:ext>
            </a:extLst>
          </p:cNvPr>
          <p:cNvSpPr>
            <a:spLocks noChangeAspect="1"/>
          </p:cNvSpPr>
          <p:nvPr/>
        </p:nvSpPr>
        <p:spPr bwMode="auto">
          <a:xfrm flipV="1">
            <a:off x="1281014" y="1559242"/>
            <a:ext cx="2245958" cy="223143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7" name="Group 46">
            <a:extLst>
              <a:ext uri="{FF2B5EF4-FFF2-40B4-BE49-F238E27FC236}">
                <a16:creationId xmlns:a16="http://schemas.microsoft.com/office/drawing/2014/main" id="{0AB8F120-9488-418C-83E4-925CB955F45F}"/>
              </a:ext>
            </a:extLst>
          </p:cNvPr>
          <p:cNvGrpSpPr/>
          <p:nvPr/>
        </p:nvGrpSpPr>
        <p:grpSpPr>
          <a:xfrm>
            <a:off x="10206697" y="264320"/>
            <a:ext cx="1737360" cy="1005840"/>
            <a:chOff x="10206697" y="264320"/>
            <a:chExt cx="1737360" cy="1005840"/>
          </a:xfrm>
        </p:grpSpPr>
        <p:sp>
          <p:nvSpPr>
            <p:cNvPr id="48" name="Rectangle 47">
              <a:extLst>
                <a:ext uri="{FF2B5EF4-FFF2-40B4-BE49-F238E27FC236}">
                  <a16:creationId xmlns:a16="http://schemas.microsoft.com/office/drawing/2014/main" id="{A7B87118-7E03-4E61-A3D6-CDF27C3A8141}"/>
                </a:ext>
              </a:extLst>
            </p:cNvPr>
            <p:cNvSpPr/>
            <p:nvPr/>
          </p:nvSpPr>
          <p:spPr bwMode="auto">
            <a:xfrm>
              <a:off x="1020669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fontAlgn="t"/>
              <a:r>
                <a:rPr lang="en-US" sz="1050" spc="-30">
                  <a:solidFill>
                    <a:srgbClr val="505050"/>
                  </a:solidFill>
                  <a:latin typeface="Segoe UI"/>
                  <a:cs typeface="Arial" panose="020B0604020202020204" pitchFamily="34" charset="0"/>
                </a:rPr>
                <a:t>Conditional Access</a:t>
              </a:r>
            </a:p>
          </p:txBody>
        </p:sp>
        <p:pic>
          <p:nvPicPr>
            <p:cNvPr id="49" name="Picture 48">
              <a:extLst>
                <a:ext uri="{FF2B5EF4-FFF2-40B4-BE49-F238E27FC236}">
                  <a16:creationId xmlns:a16="http://schemas.microsoft.com/office/drawing/2014/main" id="{689CD1FB-EA4B-4D82-8F11-2C1AFD9C16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56620" y="538640"/>
              <a:ext cx="457200" cy="457200"/>
            </a:xfrm>
            <a:prstGeom prst="rect">
              <a:avLst/>
            </a:prstGeom>
          </p:spPr>
        </p:pic>
      </p:grpSp>
      <p:grpSp>
        <p:nvGrpSpPr>
          <p:cNvPr id="50" name="Group 49">
            <a:extLst>
              <a:ext uri="{FF2B5EF4-FFF2-40B4-BE49-F238E27FC236}">
                <a16:creationId xmlns:a16="http://schemas.microsoft.com/office/drawing/2014/main" id="{A131F009-AF85-48A1-9E34-887B47433232}"/>
              </a:ext>
            </a:extLst>
          </p:cNvPr>
          <p:cNvGrpSpPr/>
          <p:nvPr/>
        </p:nvGrpSpPr>
        <p:grpSpPr>
          <a:xfrm>
            <a:off x="10206697" y="1328125"/>
            <a:ext cx="1737360" cy="1005840"/>
            <a:chOff x="10206697" y="1328125"/>
            <a:chExt cx="1737360" cy="1005840"/>
          </a:xfrm>
        </p:grpSpPr>
        <p:sp>
          <p:nvSpPr>
            <p:cNvPr id="51" name="Rectangle 50">
              <a:extLst>
                <a:ext uri="{FF2B5EF4-FFF2-40B4-BE49-F238E27FC236}">
                  <a16:creationId xmlns:a16="http://schemas.microsoft.com/office/drawing/2014/main" id="{FCAD8E48-CBC8-4B25-B3BF-799080B4776B}"/>
                </a:ext>
              </a:extLst>
            </p:cNvPr>
            <p:cNvSpPr/>
            <p:nvPr/>
          </p:nvSpPr>
          <p:spPr bwMode="auto">
            <a:xfrm>
              <a:off x="1020669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fontAlgn="t"/>
              <a:r>
                <a:rPr lang="en-US" sz="1050" spc="-30">
                  <a:solidFill>
                    <a:srgbClr val="505050"/>
                  </a:solidFill>
                  <a:latin typeface="Segoe UI"/>
                  <a:cs typeface="Arial" panose="020B0604020202020204" pitchFamily="34" charset="0"/>
                </a:rPr>
                <a:t>Multi-Factor Authentication</a:t>
              </a:r>
            </a:p>
          </p:txBody>
        </p:sp>
        <p:pic>
          <p:nvPicPr>
            <p:cNvPr id="52" name="Picture 51">
              <a:extLst>
                <a:ext uri="{FF2B5EF4-FFF2-40B4-BE49-F238E27FC236}">
                  <a16:creationId xmlns:a16="http://schemas.microsoft.com/office/drawing/2014/main" id="{7ED5975F-EA45-4BD9-A2A8-7621B546D9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6620" y="1602445"/>
              <a:ext cx="457200" cy="457200"/>
            </a:xfrm>
            <a:prstGeom prst="rect">
              <a:avLst/>
            </a:prstGeom>
          </p:spPr>
        </p:pic>
      </p:grpSp>
      <p:grpSp>
        <p:nvGrpSpPr>
          <p:cNvPr id="53" name="Group 52">
            <a:extLst>
              <a:ext uri="{FF2B5EF4-FFF2-40B4-BE49-F238E27FC236}">
                <a16:creationId xmlns:a16="http://schemas.microsoft.com/office/drawing/2014/main" id="{6474DC24-2572-4D66-B742-A737336B111E}"/>
              </a:ext>
            </a:extLst>
          </p:cNvPr>
          <p:cNvGrpSpPr/>
          <p:nvPr/>
        </p:nvGrpSpPr>
        <p:grpSpPr>
          <a:xfrm>
            <a:off x="4807987" y="2391930"/>
            <a:ext cx="1737360" cy="1005840"/>
            <a:chOff x="4807987" y="2391930"/>
            <a:chExt cx="1737360" cy="1005840"/>
          </a:xfrm>
        </p:grpSpPr>
        <p:sp>
          <p:nvSpPr>
            <p:cNvPr id="54" name="Rectangle 53">
              <a:extLst>
                <a:ext uri="{FF2B5EF4-FFF2-40B4-BE49-F238E27FC236}">
                  <a16:creationId xmlns:a16="http://schemas.microsoft.com/office/drawing/2014/main" id="{2181EEFC-B320-44BB-B2AC-7E314C6F3032}"/>
                </a:ext>
              </a:extLst>
            </p:cNvPr>
            <p:cNvSpPr/>
            <p:nvPr/>
          </p:nvSpPr>
          <p:spPr bwMode="auto">
            <a:xfrm>
              <a:off x="480798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fontAlgn="t"/>
              <a:r>
                <a:rPr lang="en-US" sz="1050" spc="-30">
                  <a:solidFill>
                    <a:srgbClr val="505050"/>
                  </a:solidFill>
                  <a:latin typeface="Segoe UI"/>
                  <a:cs typeface="Arial" panose="020B0604020202020204" pitchFamily="34" charset="0"/>
                </a:rPr>
                <a:t>Addition of custom cloud apps</a:t>
              </a:r>
            </a:p>
          </p:txBody>
        </p:sp>
        <p:pic>
          <p:nvPicPr>
            <p:cNvPr id="55" name="Picture 54">
              <a:extLst>
                <a:ext uri="{FF2B5EF4-FFF2-40B4-BE49-F238E27FC236}">
                  <a16:creationId xmlns:a16="http://schemas.microsoft.com/office/drawing/2014/main" id="{57C7F2A3-F7B4-445C-AD4A-C4505F20B92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1122" y="2666250"/>
              <a:ext cx="457200" cy="457200"/>
            </a:xfrm>
            <a:prstGeom prst="rect">
              <a:avLst/>
            </a:prstGeom>
          </p:spPr>
        </p:pic>
      </p:grpSp>
      <p:grpSp>
        <p:nvGrpSpPr>
          <p:cNvPr id="56" name="Group 55">
            <a:extLst>
              <a:ext uri="{FF2B5EF4-FFF2-40B4-BE49-F238E27FC236}">
                <a16:creationId xmlns:a16="http://schemas.microsoft.com/office/drawing/2014/main" id="{9AD7D619-C631-448D-A690-422670EA9622}"/>
              </a:ext>
            </a:extLst>
          </p:cNvPr>
          <p:cNvGrpSpPr/>
          <p:nvPr/>
        </p:nvGrpSpPr>
        <p:grpSpPr>
          <a:xfrm>
            <a:off x="4807987" y="3455733"/>
            <a:ext cx="1737360" cy="1005840"/>
            <a:chOff x="4807987" y="3455733"/>
            <a:chExt cx="1737360" cy="1005840"/>
          </a:xfrm>
        </p:grpSpPr>
        <p:sp>
          <p:nvSpPr>
            <p:cNvPr id="57" name="Rectangle 56">
              <a:extLst>
                <a:ext uri="{FF2B5EF4-FFF2-40B4-BE49-F238E27FC236}">
                  <a16:creationId xmlns:a16="http://schemas.microsoft.com/office/drawing/2014/main" id="{47F33FA5-8E01-4DF9-A3DF-75A8449FC7F8}"/>
                </a:ext>
              </a:extLst>
            </p:cNvPr>
            <p:cNvSpPr/>
            <p:nvPr/>
          </p:nvSpPr>
          <p:spPr bwMode="auto">
            <a:xfrm>
              <a:off x="480798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fontAlgn="t"/>
              <a:r>
                <a:rPr lang="en-US" sz="1050" spc="-30">
                  <a:solidFill>
                    <a:srgbClr val="505050"/>
                  </a:solidFill>
                  <a:latin typeface="Segoe UI"/>
                  <a:cs typeface="Arial" panose="020B0604020202020204" pitchFamily="34" charset="0"/>
                </a:rPr>
                <a:t>Remote Access to on-premises apps</a:t>
              </a:r>
            </a:p>
          </p:txBody>
        </p:sp>
        <p:pic>
          <p:nvPicPr>
            <p:cNvPr id="58" name="Picture 57">
              <a:extLst>
                <a:ext uri="{FF2B5EF4-FFF2-40B4-BE49-F238E27FC236}">
                  <a16:creationId xmlns:a16="http://schemas.microsoft.com/office/drawing/2014/main" id="{6E7F3A02-0CB8-4DDF-B350-DD6495EDBD2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41122" y="3730053"/>
              <a:ext cx="457200" cy="457200"/>
            </a:xfrm>
            <a:prstGeom prst="rect">
              <a:avLst/>
            </a:prstGeom>
          </p:spPr>
        </p:pic>
      </p:grpSp>
      <p:grpSp>
        <p:nvGrpSpPr>
          <p:cNvPr id="59" name="Group 58">
            <a:extLst>
              <a:ext uri="{FF2B5EF4-FFF2-40B4-BE49-F238E27FC236}">
                <a16:creationId xmlns:a16="http://schemas.microsoft.com/office/drawing/2014/main" id="{FE69A3E8-C907-447D-AACD-AF654A1C089B}"/>
              </a:ext>
            </a:extLst>
          </p:cNvPr>
          <p:cNvGrpSpPr/>
          <p:nvPr/>
        </p:nvGrpSpPr>
        <p:grpSpPr>
          <a:xfrm>
            <a:off x="10206697" y="3455733"/>
            <a:ext cx="1737360" cy="1005840"/>
            <a:chOff x="10206697" y="3455733"/>
            <a:chExt cx="1737360" cy="1005840"/>
          </a:xfrm>
        </p:grpSpPr>
        <p:sp>
          <p:nvSpPr>
            <p:cNvPr id="60" name="Rectangle 59">
              <a:extLst>
                <a:ext uri="{FF2B5EF4-FFF2-40B4-BE49-F238E27FC236}">
                  <a16:creationId xmlns:a16="http://schemas.microsoft.com/office/drawing/2014/main" id="{09FEB778-8E26-4851-BD25-772E0A9B76B8}"/>
                </a:ext>
              </a:extLst>
            </p:cNvPr>
            <p:cNvSpPr/>
            <p:nvPr/>
          </p:nvSpPr>
          <p:spPr bwMode="auto">
            <a:xfrm>
              <a:off x="1020669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dirty="0">
                  <a:ln>
                    <a:noFill/>
                  </a:ln>
                  <a:solidFill>
                    <a:srgbClr val="505050"/>
                  </a:solidFill>
                  <a:effectLst/>
                  <a:uLnTx/>
                  <a:uFillTx/>
                  <a:latin typeface="Segoe UI"/>
                  <a:ea typeface="+mn-ea"/>
                  <a:cs typeface="Arial" panose="020B0604020202020204" pitchFamily="34" charset="0"/>
                </a:rPr>
                <a:t>Privileged Identity Management</a:t>
              </a:r>
            </a:p>
          </p:txBody>
        </p:sp>
        <p:pic>
          <p:nvPicPr>
            <p:cNvPr id="61" name="Picture 60">
              <a:extLst>
                <a:ext uri="{FF2B5EF4-FFF2-40B4-BE49-F238E27FC236}">
                  <a16:creationId xmlns:a16="http://schemas.microsoft.com/office/drawing/2014/main" id="{C563BA31-42F5-4B08-BD2E-4A4EC1A891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56620" y="3730053"/>
              <a:ext cx="457200" cy="457200"/>
            </a:xfrm>
            <a:prstGeom prst="rect">
              <a:avLst/>
            </a:prstGeom>
          </p:spPr>
        </p:pic>
      </p:grpSp>
      <p:grpSp>
        <p:nvGrpSpPr>
          <p:cNvPr id="62" name="Group 61">
            <a:extLst>
              <a:ext uri="{FF2B5EF4-FFF2-40B4-BE49-F238E27FC236}">
                <a16:creationId xmlns:a16="http://schemas.microsoft.com/office/drawing/2014/main" id="{1F8A44A5-3D5F-469A-A899-2E4AB5F80AA3}"/>
              </a:ext>
            </a:extLst>
          </p:cNvPr>
          <p:cNvGrpSpPr/>
          <p:nvPr/>
        </p:nvGrpSpPr>
        <p:grpSpPr>
          <a:xfrm>
            <a:off x="8407127" y="2391930"/>
            <a:ext cx="1737360" cy="1005840"/>
            <a:chOff x="8407127" y="2391930"/>
            <a:chExt cx="1737360" cy="1005840"/>
          </a:xfrm>
        </p:grpSpPr>
        <p:sp>
          <p:nvSpPr>
            <p:cNvPr id="63" name="Rectangle 62">
              <a:extLst>
                <a:ext uri="{FF2B5EF4-FFF2-40B4-BE49-F238E27FC236}">
                  <a16:creationId xmlns:a16="http://schemas.microsoft.com/office/drawing/2014/main" id="{49039ADC-4C15-4B38-A206-6B47141DFAB9}"/>
                </a:ext>
              </a:extLst>
            </p:cNvPr>
            <p:cNvSpPr/>
            <p:nvPr/>
          </p:nvSpPr>
          <p:spPr bwMode="auto">
            <a:xfrm>
              <a:off x="840712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Segoe UI" pitchFamily="34" charset="0"/>
                  <a:cs typeface="Arial" panose="020B0604020202020204" pitchFamily="34" charset="0"/>
                </a:rPr>
                <a:t>Dynamic Groups</a:t>
              </a:r>
            </a:p>
          </p:txBody>
        </p:sp>
        <p:sp>
          <p:nvSpPr>
            <p:cNvPr id="64" name="Freeform 24">
              <a:extLst>
                <a:ext uri="{FF2B5EF4-FFF2-40B4-BE49-F238E27FC236}">
                  <a16:creationId xmlns:a16="http://schemas.microsoft.com/office/drawing/2014/main" id="{48424A32-2DBA-4D04-8F2D-679E87DF2C78}"/>
                </a:ext>
              </a:extLst>
            </p:cNvPr>
            <p:cNvSpPr>
              <a:spLocks noChangeAspect="1" noEditPoints="1"/>
            </p:cNvSpPr>
            <p:nvPr/>
          </p:nvSpPr>
          <p:spPr bwMode="auto">
            <a:xfrm>
              <a:off x="8542380" y="2708640"/>
              <a:ext cx="457200" cy="37242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5" name="Group 64">
            <a:extLst>
              <a:ext uri="{FF2B5EF4-FFF2-40B4-BE49-F238E27FC236}">
                <a16:creationId xmlns:a16="http://schemas.microsoft.com/office/drawing/2014/main" id="{D94E886F-DA64-4B2F-B8A5-CD00507469F4}"/>
              </a:ext>
            </a:extLst>
          </p:cNvPr>
          <p:cNvGrpSpPr/>
          <p:nvPr/>
        </p:nvGrpSpPr>
        <p:grpSpPr>
          <a:xfrm>
            <a:off x="10206697" y="2391930"/>
            <a:ext cx="1737360" cy="1005840"/>
            <a:chOff x="10206697" y="2391930"/>
            <a:chExt cx="1737360" cy="1005840"/>
          </a:xfrm>
        </p:grpSpPr>
        <p:sp>
          <p:nvSpPr>
            <p:cNvPr id="66" name="Rectangle 65">
              <a:extLst>
                <a:ext uri="{FF2B5EF4-FFF2-40B4-BE49-F238E27FC236}">
                  <a16:creationId xmlns:a16="http://schemas.microsoft.com/office/drawing/2014/main" id="{D5E4FFF0-F295-4982-8887-BC86A2E7282A}"/>
                </a:ext>
              </a:extLst>
            </p:cNvPr>
            <p:cNvSpPr/>
            <p:nvPr/>
          </p:nvSpPr>
          <p:spPr bwMode="auto">
            <a:xfrm>
              <a:off x="1020669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mn-ea"/>
                  <a:cs typeface="Arial" panose="020B0604020202020204" pitchFamily="34" charset="0"/>
                </a:rPr>
                <a:t>Identity Protection</a:t>
              </a:r>
            </a:p>
          </p:txBody>
        </p:sp>
        <p:pic>
          <p:nvPicPr>
            <p:cNvPr id="67" name="Picture 66" descr="A close up of a building&#10;&#10;Description generated with high confidence">
              <a:extLst>
                <a:ext uri="{FF2B5EF4-FFF2-40B4-BE49-F238E27FC236}">
                  <a16:creationId xmlns:a16="http://schemas.microsoft.com/office/drawing/2014/main" id="{632B2793-BE8F-44EA-B71A-7DECDDB8446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56620" y="2666250"/>
              <a:ext cx="457200" cy="457200"/>
            </a:xfrm>
            <a:prstGeom prst="rect">
              <a:avLst/>
            </a:prstGeom>
          </p:spPr>
        </p:pic>
      </p:grpSp>
      <p:grpSp>
        <p:nvGrpSpPr>
          <p:cNvPr id="68" name="Group 67">
            <a:extLst>
              <a:ext uri="{FF2B5EF4-FFF2-40B4-BE49-F238E27FC236}">
                <a16:creationId xmlns:a16="http://schemas.microsoft.com/office/drawing/2014/main" id="{12990751-EE05-4765-B100-40227E38ABA4}"/>
              </a:ext>
            </a:extLst>
          </p:cNvPr>
          <p:cNvGrpSpPr/>
          <p:nvPr/>
        </p:nvGrpSpPr>
        <p:grpSpPr>
          <a:xfrm>
            <a:off x="4807987" y="5583343"/>
            <a:ext cx="1737360" cy="1005840"/>
            <a:chOff x="4807987" y="5583343"/>
            <a:chExt cx="1737360" cy="1005840"/>
          </a:xfrm>
        </p:grpSpPr>
        <p:sp>
          <p:nvSpPr>
            <p:cNvPr id="69" name="Rectangle 68">
              <a:extLst>
                <a:ext uri="{FF2B5EF4-FFF2-40B4-BE49-F238E27FC236}">
                  <a16:creationId xmlns:a16="http://schemas.microsoft.com/office/drawing/2014/main" id="{F37F985B-85BE-43DD-B4A1-DA3D68B63145}"/>
                </a:ext>
              </a:extLst>
            </p:cNvPr>
            <p:cNvSpPr/>
            <p:nvPr/>
          </p:nvSpPr>
          <p:spPr bwMode="auto">
            <a:xfrm>
              <a:off x="480798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fontAlgn="t"/>
              <a:r>
                <a:rPr lang="en-US" sz="1050" spc="-30">
                  <a:solidFill>
                    <a:srgbClr val="505050"/>
                  </a:solidFill>
                  <a:latin typeface="Segoe UI"/>
                  <a:cs typeface="Arial" panose="020B0604020202020204" pitchFamily="34" charset="0"/>
                </a:rPr>
                <a:t>Azure AD DS</a:t>
              </a:r>
            </a:p>
          </p:txBody>
        </p:sp>
        <p:pic>
          <p:nvPicPr>
            <p:cNvPr id="70" name="Picture 69">
              <a:extLst>
                <a:ext uri="{FF2B5EF4-FFF2-40B4-BE49-F238E27FC236}">
                  <a16:creationId xmlns:a16="http://schemas.microsoft.com/office/drawing/2014/main" id="{CAD1022E-19BB-4E1E-AD8B-E50FCCF575D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41122" y="5857663"/>
              <a:ext cx="457200" cy="457200"/>
            </a:xfrm>
            <a:prstGeom prst="rect">
              <a:avLst/>
            </a:prstGeom>
          </p:spPr>
        </p:pic>
      </p:grpSp>
      <p:grpSp>
        <p:nvGrpSpPr>
          <p:cNvPr id="71" name="Group 70">
            <a:extLst>
              <a:ext uri="{FF2B5EF4-FFF2-40B4-BE49-F238E27FC236}">
                <a16:creationId xmlns:a16="http://schemas.microsoft.com/office/drawing/2014/main" id="{71E30E2D-760D-4698-96A7-1ECA9DF1FE68}"/>
              </a:ext>
            </a:extLst>
          </p:cNvPr>
          <p:cNvGrpSpPr/>
          <p:nvPr/>
        </p:nvGrpSpPr>
        <p:grpSpPr>
          <a:xfrm>
            <a:off x="6607557" y="5583343"/>
            <a:ext cx="1737360" cy="1005840"/>
            <a:chOff x="6607557" y="5583343"/>
            <a:chExt cx="1737360" cy="1005840"/>
          </a:xfrm>
        </p:grpSpPr>
        <p:sp>
          <p:nvSpPr>
            <p:cNvPr id="72" name="Rectangle 71">
              <a:extLst>
                <a:ext uri="{FF2B5EF4-FFF2-40B4-BE49-F238E27FC236}">
                  <a16:creationId xmlns:a16="http://schemas.microsoft.com/office/drawing/2014/main" id="{FB3B4C85-AEC1-4AD4-AFAB-6B79F9080D9F}"/>
                </a:ext>
              </a:extLst>
            </p:cNvPr>
            <p:cNvSpPr/>
            <p:nvPr/>
          </p:nvSpPr>
          <p:spPr bwMode="auto">
            <a:xfrm>
              <a:off x="660755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fontAlgn="t"/>
              <a:r>
                <a:rPr lang="en-US" sz="1050" spc="-30">
                  <a:solidFill>
                    <a:srgbClr val="505050"/>
                  </a:solidFill>
                  <a:latin typeface="Segoe UI"/>
                  <a:cs typeface="Arial" panose="020B0604020202020204" pitchFamily="34" charset="0"/>
                </a:rPr>
                <a:t>Office 365 App Launcher</a:t>
              </a:r>
            </a:p>
          </p:txBody>
        </p:sp>
        <p:sp>
          <p:nvSpPr>
            <p:cNvPr id="73" name="Freeform: Shape 72">
              <a:extLst>
                <a:ext uri="{FF2B5EF4-FFF2-40B4-BE49-F238E27FC236}">
                  <a16:creationId xmlns:a16="http://schemas.microsoft.com/office/drawing/2014/main" id="{80EDF785-4D5A-4E35-B4F5-F09BA4615AC7}"/>
                </a:ext>
              </a:extLst>
            </p:cNvPr>
            <p:cNvSpPr>
              <a:spLocks noChangeAspect="1"/>
            </p:cNvSpPr>
            <p:nvPr/>
          </p:nvSpPr>
          <p:spPr bwMode="auto">
            <a:xfrm>
              <a:off x="6735299" y="5903383"/>
              <a:ext cx="365760" cy="365760"/>
            </a:xfrm>
            <a:custGeom>
              <a:avLst/>
              <a:gdLst>
                <a:gd name="connsiteX0" fmla="*/ 640080 w 914400"/>
                <a:gd name="connsiteY0" fmla="*/ 640080 h 914400"/>
                <a:gd name="connsiteX1" fmla="*/ 914400 w 914400"/>
                <a:gd name="connsiteY1" fmla="*/ 640080 h 914400"/>
                <a:gd name="connsiteX2" fmla="*/ 914400 w 914400"/>
                <a:gd name="connsiteY2" fmla="*/ 914400 h 914400"/>
                <a:gd name="connsiteX3" fmla="*/ 640080 w 914400"/>
                <a:gd name="connsiteY3" fmla="*/ 914400 h 914400"/>
                <a:gd name="connsiteX4" fmla="*/ 320040 w 914400"/>
                <a:gd name="connsiteY4" fmla="*/ 640080 h 914400"/>
                <a:gd name="connsiteX5" fmla="*/ 594360 w 914400"/>
                <a:gd name="connsiteY5" fmla="*/ 640080 h 914400"/>
                <a:gd name="connsiteX6" fmla="*/ 594360 w 914400"/>
                <a:gd name="connsiteY6" fmla="*/ 914400 h 914400"/>
                <a:gd name="connsiteX7" fmla="*/ 320040 w 914400"/>
                <a:gd name="connsiteY7" fmla="*/ 914400 h 914400"/>
                <a:gd name="connsiteX8" fmla="*/ 0 w 914400"/>
                <a:gd name="connsiteY8" fmla="*/ 640080 h 914400"/>
                <a:gd name="connsiteX9" fmla="*/ 274320 w 914400"/>
                <a:gd name="connsiteY9" fmla="*/ 640080 h 914400"/>
                <a:gd name="connsiteX10" fmla="*/ 274320 w 914400"/>
                <a:gd name="connsiteY10" fmla="*/ 914400 h 914400"/>
                <a:gd name="connsiteX11" fmla="*/ 0 w 914400"/>
                <a:gd name="connsiteY11" fmla="*/ 914400 h 914400"/>
                <a:gd name="connsiteX12" fmla="*/ 640080 w 914400"/>
                <a:gd name="connsiteY12" fmla="*/ 320040 h 914400"/>
                <a:gd name="connsiteX13" fmla="*/ 914400 w 914400"/>
                <a:gd name="connsiteY13" fmla="*/ 320040 h 914400"/>
                <a:gd name="connsiteX14" fmla="*/ 914400 w 914400"/>
                <a:gd name="connsiteY14" fmla="*/ 594360 h 914400"/>
                <a:gd name="connsiteX15" fmla="*/ 640080 w 914400"/>
                <a:gd name="connsiteY15" fmla="*/ 594360 h 914400"/>
                <a:gd name="connsiteX16" fmla="*/ 320040 w 914400"/>
                <a:gd name="connsiteY16" fmla="*/ 320040 h 914400"/>
                <a:gd name="connsiteX17" fmla="*/ 594360 w 914400"/>
                <a:gd name="connsiteY17" fmla="*/ 320040 h 914400"/>
                <a:gd name="connsiteX18" fmla="*/ 594360 w 914400"/>
                <a:gd name="connsiteY18" fmla="*/ 594360 h 914400"/>
                <a:gd name="connsiteX19" fmla="*/ 320040 w 914400"/>
                <a:gd name="connsiteY19" fmla="*/ 594360 h 914400"/>
                <a:gd name="connsiteX20" fmla="*/ 0 w 914400"/>
                <a:gd name="connsiteY20" fmla="*/ 320040 h 914400"/>
                <a:gd name="connsiteX21" fmla="*/ 274320 w 914400"/>
                <a:gd name="connsiteY21" fmla="*/ 320040 h 914400"/>
                <a:gd name="connsiteX22" fmla="*/ 274320 w 914400"/>
                <a:gd name="connsiteY22" fmla="*/ 594360 h 914400"/>
                <a:gd name="connsiteX23" fmla="*/ 0 w 914400"/>
                <a:gd name="connsiteY23" fmla="*/ 594360 h 914400"/>
                <a:gd name="connsiteX24" fmla="*/ 640080 w 914400"/>
                <a:gd name="connsiteY24" fmla="*/ 0 h 914400"/>
                <a:gd name="connsiteX25" fmla="*/ 914400 w 914400"/>
                <a:gd name="connsiteY25" fmla="*/ 0 h 914400"/>
                <a:gd name="connsiteX26" fmla="*/ 914400 w 914400"/>
                <a:gd name="connsiteY26" fmla="*/ 274320 h 914400"/>
                <a:gd name="connsiteX27" fmla="*/ 640080 w 914400"/>
                <a:gd name="connsiteY27" fmla="*/ 274320 h 914400"/>
                <a:gd name="connsiteX28" fmla="*/ 320040 w 914400"/>
                <a:gd name="connsiteY28" fmla="*/ 0 h 914400"/>
                <a:gd name="connsiteX29" fmla="*/ 594360 w 914400"/>
                <a:gd name="connsiteY29" fmla="*/ 0 h 914400"/>
                <a:gd name="connsiteX30" fmla="*/ 594360 w 914400"/>
                <a:gd name="connsiteY30" fmla="*/ 274320 h 914400"/>
                <a:gd name="connsiteX31" fmla="*/ 320040 w 914400"/>
                <a:gd name="connsiteY31" fmla="*/ 274320 h 914400"/>
                <a:gd name="connsiteX32" fmla="*/ 0 w 914400"/>
                <a:gd name="connsiteY32" fmla="*/ 0 h 914400"/>
                <a:gd name="connsiteX33" fmla="*/ 274320 w 914400"/>
                <a:gd name="connsiteY33" fmla="*/ 0 h 914400"/>
                <a:gd name="connsiteX34" fmla="*/ 274320 w 914400"/>
                <a:gd name="connsiteY34" fmla="*/ 274320 h 914400"/>
                <a:gd name="connsiteX35" fmla="*/ 0 w 914400"/>
                <a:gd name="connsiteY35" fmla="*/ 27432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14400" h="914400">
                  <a:moveTo>
                    <a:pt x="640080" y="640080"/>
                  </a:moveTo>
                  <a:lnTo>
                    <a:pt x="914400" y="640080"/>
                  </a:lnTo>
                  <a:lnTo>
                    <a:pt x="914400" y="914400"/>
                  </a:lnTo>
                  <a:lnTo>
                    <a:pt x="640080" y="914400"/>
                  </a:lnTo>
                  <a:close/>
                  <a:moveTo>
                    <a:pt x="320040" y="640080"/>
                  </a:moveTo>
                  <a:lnTo>
                    <a:pt x="594360" y="640080"/>
                  </a:lnTo>
                  <a:lnTo>
                    <a:pt x="594360" y="914400"/>
                  </a:lnTo>
                  <a:lnTo>
                    <a:pt x="320040" y="914400"/>
                  </a:lnTo>
                  <a:close/>
                  <a:moveTo>
                    <a:pt x="0" y="640080"/>
                  </a:moveTo>
                  <a:lnTo>
                    <a:pt x="274320" y="640080"/>
                  </a:lnTo>
                  <a:lnTo>
                    <a:pt x="274320" y="914400"/>
                  </a:lnTo>
                  <a:lnTo>
                    <a:pt x="0" y="914400"/>
                  </a:lnTo>
                  <a:close/>
                  <a:moveTo>
                    <a:pt x="640080" y="320040"/>
                  </a:moveTo>
                  <a:lnTo>
                    <a:pt x="914400" y="320040"/>
                  </a:lnTo>
                  <a:lnTo>
                    <a:pt x="914400" y="594360"/>
                  </a:lnTo>
                  <a:lnTo>
                    <a:pt x="640080" y="594360"/>
                  </a:lnTo>
                  <a:close/>
                  <a:moveTo>
                    <a:pt x="320040" y="320040"/>
                  </a:moveTo>
                  <a:lnTo>
                    <a:pt x="594360" y="320040"/>
                  </a:lnTo>
                  <a:lnTo>
                    <a:pt x="594360" y="594360"/>
                  </a:lnTo>
                  <a:lnTo>
                    <a:pt x="320040" y="594360"/>
                  </a:lnTo>
                  <a:close/>
                  <a:moveTo>
                    <a:pt x="0" y="320040"/>
                  </a:moveTo>
                  <a:lnTo>
                    <a:pt x="274320" y="320040"/>
                  </a:lnTo>
                  <a:lnTo>
                    <a:pt x="274320" y="594360"/>
                  </a:lnTo>
                  <a:lnTo>
                    <a:pt x="0" y="594360"/>
                  </a:lnTo>
                  <a:close/>
                  <a:moveTo>
                    <a:pt x="640080" y="0"/>
                  </a:moveTo>
                  <a:lnTo>
                    <a:pt x="914400" y="0"/>
                  </a:lnTo>
                  <a:lnTo>
                    <a:pt x="914400" y="274320"/>
                  </a:lnTo>
                  <a:lnTo>
                    <a:pt x="640080" y="274320"/>
                  </a:lnTo>
                  <a:close/>
                  <a:moveTo>
                    <a:pt x="320040" y="0"/>
                  </a:moveTo>
                  <a:lnTo>
                    <a:pt x="594360" y="0"/>
                  </a:lnTo>
                  <a:lnTo>
                    <a:pt x="594360" y="274320"/>
                  </a:lnTo>
                  <a:lnTo>
                    <a:pt x="320040" y="274320"/>
                  </a:lnTo>
                  <a:close/>
                  <a:moveTo>
                    <a:pt x="0" y="0"/>
                  </a:moveTo>
                  <a:lnTo>
                    <a:pt x="274320" y="0"/>
                  </a:lnTo>
                  <a:lnTo>
                    <a:pt x="274320" y="274320"/>
                  </a:lnTo>
                  <a:lnTo>
                    <a:pt x="0" y="274320"/>
                  </a:ln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grpSp>
        <p:nvGrpSpPr>
          <p:cNvPr id="74" name="Group 73">
            <a:extLst>
              <a:ext uri="{FF2B5EF4-FFF2-40B4-BE49-F238E27FC236}">
                <a16:creationId xmlns:a16="http://schemas.microsoft.com/office/drawing/2014/main" id="{4EE9FC5C-2916-41ED-B281-C71E2FAF2933}"/>
              </a:ext>
            </a:extLst>
          </p:cNvPr>
          <p:cNvGrpSpPr/>
          <p:nvPr/>
        </p:nvGrpSpPr>
        <p:grpSpPr>
          <a:xfrm>
            <a:off x="8407127" y="3455733"/>
            <a:ext cx="1737360" cy="1005840"/>
            <a:chOff x="8407127" y="3455733"/>
            <a:chExt cx="1737360" cy="1005840"/>
          </a:xfrm>
        </p:grpSpPr>
        <p:sp>
          <p:nvSpPr>
            <p:cNvPr id="75" name="Rectangle 74">
              <a:extLst>
                <a:ext uri="{FF2B5EF4-FFF2-40B4-BE49-F238E27FC236}">
                  <a16:creationId xmlns:a16="http://schemas.microsoft.com/office/drawing/2014/main" id="{EA2B48BD-C46C-43EE-993A-EA3D565869AA}"/>
                </a:ext>
              </a:extLst>
            </p:cNvPr>
            <p:cNvSpPr/>
            <p:nvPr/>
          </p:nvSpPr>
          <p:spPr bwMode="auto">
            <a:xfrm>
              <a:off x="840712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Segoe UI" pitchFamily="34" charset="0"/>
                  <a:cs typeface="Arial" panose="020B0604020202020204" pitchFamily="34" charset="0"/>
                </a:rPr>
                <a:t>Group-Based Licensing</a:t>
              </a:r>
            </a:p>
          </p:txBody>
        </p:sp>
        <p:pic>
          <p:nvPicPr>
            <p:cNvPr id="76" name="Picture 75" descr="A close up of a logo&#10;&#10;Description generated with very high confidence">
              <a:extLst>
                <a:ext uri="{FF2B5EF4-FFF2-40B4-BE49-F238E27FC236}">
                  <a16:creationId xmlns:a16="http://schemas.microsoft.com/office/drawing/2014/main" id="{E1FD5D70-8C5B-4DED-85E8-73CAF30CABE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42380" y="3730053"/>
              <a:ext cx="457200" cy="457200"/>
            </a:xfrm>
            <a:prstGeom prst="rect">
              <a:avLst/>
            </a:prstGeom>
          </p:spPr>
        </p:pic>
      </p:grpSp>
      <p:grpSp>
        <p:nvGrpSpPr>
          <p:cNvPr id="77" name="Group 76">
            <a:extLst>
              <a:ext uri="{FF2B5EF4-FFF2-40B4-BE49-F238E27FC236}">
                <a16:creationId xmlns:a16="http://schemas.microsoft.com/office/drawing/2014/main" id="{4BE661D6-5DD3-4A4B-8F10-7AD8D8368CCE}"/>
              </a:ext>
            </a:extLst>
          </p:cNvPr>
          <p:cNvGrpSpPr/>
          <p:nvPr/>
        </p:nvGrpSpPr>
        <p:grpSpPr>
          <a:xfrm>
            <a:off x="6607557" y="2391930"/>
            <a:ext cx="1737360" cy="1005840"/>
            <a:chOff x="6607557" y="2391930"/>
            <a:chExt cx="1737360" cy="1005840"/>
          </a:xfrm>
        </p:grpSpPr>
        <p:sp>
          <p:nvSpPr>
            <p:cNvPr id="78" name="Rectangle 77">
              <a:extLst>
                <a:ext uri="{FF2B5EF4-FFF2-40B4-BE49-F238E27FC236}">
                  <a16:creationId xmlns:a16="http://schemas.microsoft.com/office/drawing/2014/main" id="{936ECFD3-8ADA-4075-8DB9-11F13B9B54E4}"/>
                </a:ext>
              </a:extLst>
            </p:cNvPr>
            <p:cNvSpPr/>
            <p:nvPr/>
          </p:nvSpPr>
          <p:spPr bwMode="auto">
            <a:xfrm>
              <a:off x="660755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fontAlgn="t"/>
              <a:r>
                <a:rPr lang="en-US" sz="1050" spc="-30">
                  <a:solidFill>
                    <a:srgbClr val="505050"/>
                  </a:solidFill>
                  <a:latin typeface="Segoe UI"/>
                  <a:cs typeface="Arial" panose="020B0604020202020204" pitchFamily="34" charset="0"/>
                </a:rPr>
                <a:t>Access Panel/MyApps</a:t>
              </a:r>
            </a:p>
          </p:txBody>
        </p:sp>
        <p:pic>
          <p:nvPicPr>
            <p:cNvPr id="79" name="Picture 78">
              <a:extLst>
                <a:ext uri="{FF2B5EF4-FFF2-40B4-BE49-F238E27FC236}">
                  <a16:creationId xmlns:a16="http://schemas.microsoft.com/office/drawing/2014/main" id="{79E8844A-BFAC-431A-858A-A1D8090D6B8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735299" y="2666250"/>
              <a:ext cx="457200" cy="457200"/>
            </a:xfrm>
            <a:prstGeom prst="rect">
              <a:avLst/>
            </a:prstGeom>
          </p:spPr>
        </p:pic>
      </p:grpSp>
      <p:grpSp>
        <p:nvGrpSpPr>
          <p:cNvPr id="80" name="Group 79">
            <a:extLst>
              <a:ext uri="{FF2B5EF4-FFF2-40B4-BE49-F238E27FC236}">
                <a16:creationId xmlns:a16="http://schemas.microsoft.com/office/drawing/2014/main" id="{F6A99AE5-DEB6-4129-8D98-EF97D7380045}"/>
              </a:ext>
            </a:extLst>
          </p:cNvPr>
          <p:cNvGrpSpPr/>
          <p:nvPr/>
        </p:nvGrpSpPr>
        <p:grpSpPr>
          <a:xfrm>
            <a:off x="4807987" y="264320"/>
            <a:ext cx="1737360" cy="1005840"/>
            <a:chOff x="4807987" y="264320"/>
            <a:chExt cx="1737360" cy="1005840"/>
          </a:xfrm>
        </p:grpSpPr>
        <p:sp>
          <p:nvSpPr>
            <p:cNvPr id="81" name="Rectangle 80">
              <a:extLst>
                <a:ext uri="{FF2B5EF4-FFF2-40B4-BE49-F238E27FC236}">
                  <a16:creationId xmlns:a16="http://schemas.microsoft.com/office/drawing/2014/main" id="{FAB0D5B8-50D7-4535-BC83-BA0BE922F0D6}"/>
                </a:ext>
              </a:extLst>
            </p:cNvPr>
            <p:cNvSpPr/>
            <p:nvPr/>
          </p:nvSpPr>
          <p:spPr bwMode="auto">
            <a:xfrm>
              <a:off x="480798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fontAlgn="t"/>
              <a:r>
                <a:rPr lang="en-US" sz="1050" spc="-30">
                  <a:solidFill>
                    <a:srgbClr val="505050"/>
                  </a:solidFill>
                  <a:latin typeface="Segoe UI"/>
                  <a:cs typeface="Arial" panose="020B0604020202020204" pitchFamily="34" charset="0"/>
                </a:rPr>
                <a:t>Azure AD Connect</a:t>
              </a:r>
            </a:p>
          </p:txBody>
        </p:sp>
        <p:pic>
          <p:nvPicPr>
            <p:cNvPr id="82" name="Picture 81" descr="A close up of a logo&#10;&#10;Description generated with very high confidence">
              <a:extLst>
                <a:ext uri="{FF2B5EF4-FFF2-40B4-BE49-F238E27FC236}">
                  <a16:creationId xmlns:a16="http://schemas.microsoft.com/office/drawing/2014/main" id="{C34C738C-2822-41B5-8318-DB72B396DF8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941122" y="538640"/>
              <a:ext cx="457200" cy="457200"/>
            </a:xfrm>
            <a:prstGeom prst="rect">
              <a:avLst/>
            </a:prstGeom>
          </p:spPr>
        </p:pic>
      </p:grpSp>
      <p:grpSp>
        <p:nvGrpSpPr>
          <p:cNvPr id="83" name="Group 82">
            <a:extLst>
              <a:ext uri="{FF2B5EF4-FFF2-40B4-BE49-F238E27FC236}">
                <a16:creationId xmlns:a16="http://schemas.microsoft.com/office/drawing/2014/main" id="{56EFBF9A-1B4C-42A9-A0B7-516F0A2B8A88}"/>
              </a:ext>
            </a:extLst>
          </p:cNvPr>
          <p:cNvGrpSpPr/>
          <p:nvPr/>
        </p:nvGrpSpPr>
        <p:grpSpPr>
          <a:xfrm>
            <a:off x="8407127" y="1328125"/>
            <a:ext cx="1737360" cy="1005840"/>
            <a:chOff x="8407127" y="1328125"/>
            <a:chExt cx="1737360" cy="1005840"/>
          </a:xfrm>
        </p:grpSpPr>
        <p:sp>
          <p:nvSpPr>
            <p:cNvPr id="84" name="Rectangle 83">
              <a:extLst>
                <a:ext uri="{FF2B5EF4-FFF2-40B4-BE49-F238E27FC236}">
                  <a16:creationId xmlns:a16="http://schemas.microsoft.com/office/drawing/2014/main" id="{1BF98610-0CAB-4AE8-831D-B73A4F3B077C}"/>
                </a:ext>
              </a:extLst>
            </p:cNvPr>
            <p:cNvSpPr/>
            <p:nvPr/>
          </p:nvSpPr>
          <p:spPr bwMode="auto">
            <a:xfrm>
              <a:off x="840712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Segoe UI" pitchFamily="34" charset="0"/>
                  <a:cs typeface="Arial" panose="020B0604020202020204" pitchFamily="34" charset="0"/>
                </a:rPr>
                <a:t>Connect Health</a:t>
              </a:r>
            </a:p>
          </p:txBody>
        </p:sp>
        <p:pic>
          <p:nvPicPr>
            <p:cNvPr id="85" name="Picture 84" descr="A picture containing thing&#10;&#10;Description generated with high confidence">
              <a:extLst>
                <a:ext uri="{FF2B5EF4-FFF2-40B4-BE49-F238E27FC236}">
                  <a16:creationId xmlns:a16="http://schemas.microsoft.com/office/drawing/2014/main" id="{DEA825A8-FBA4-4F60-AEB7-1A0E19879B5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542380" y="1602445"/>
              <a:ext cx="457200" cy="457200"/>
            </a:xfrm>
            <a:prstGeom prst="rect">
              <a:avLst/>
            </a:prstGeom>
          </p:spPr>
        </p:pic>
      </p:grpSp>
      <p:grpSp>
        <p:nvGrpSpPr>
          <p:cNvPr id="86" name="Group 85">
            <a:extLst>
              <a:ext uri="{FF2B5EF4-FFF2-40B4-BE49-F238E27FC236}">
                <a16:creationId xmlns:a16="http://schemas.microsoft.com/office/drawing/2014/main" id="{15F78A31-93C9-4EAF-85FB-0B2C4AA9D4BF}"/>
              </a:ext>
            </a:extLst>
          </p:cNvPr>
          <p:cNvGrpSpPr/>
          <p:nvPr/>
        </p:nvGrpSpPr>
        <p:grpSpPr>
          <a:xfrm>
            <a:off x="8407127" y="264320"/>
            <a:ext cx="1737360" cy="1005840"/>
            <a:chOff x="8407127" y="264320"/>
            <a:chExt cx="1737360" cy="1005840"/>
          </a:xfrm>
        </p:grpSpPr>
        <p:sp>
          <p:nvSpPr>
            <p:cNvPr id="87" name="Rectangle 86">
              <a:extLst>
                <a:ext uri="{FF2B5EF4-FFF2-40B4-BE49-F238E27FC236}">
                  <a16:creationId xmlns:a16="http://schemas.microsoft.com/office/drawing/2014/main" id="{025439D6-5414-4498-A53D-8569D9881649}"/>
                </a:ext>
              </a:extLst>
            </p:cNvPr>
            <p:cNvSpPr/>
            <p:nvPr/>
          </p:nvSpPr>
          <p:spPr bwMode="auto">
            <a:xfrm>
              <a:off x="840712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Segoe UI" pitchFamily="34" charset="0"/>
                  <a:cs typeface="Arial" panose="020B0604020202020204" pitchFamily="34" charset="0"/>
                </a:rPr>
                <a:t>Provisioning-Deprovisioning</a:t>
              </a:r>
            </a:p>
          </p:txBody>
        </p:sp>
        <p:pic>
          <p:nvPicPr>
            <p:cNvPr id="88" name="Picture 87" descr="A close up of a logo&#10;&#10;Description generated with very high confidence">
              <a:extLst>
                <a:ext uri="{FF2B5EF4-FFF2-40B4-BE49-F238E27FC236}">
                  <a16:creationId xmlns:a16="http://schemas.microsoft.com/office/drawing/2014/main" id="{6A180F55-BAB5-496A-85D3-66C248BF6BC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542380" y="538640"/>
              <a:ext cx="457200" cy="457200"/>
            </a:xfrm>
            <a:prstGeom prst="rect">
              <a:avLst/>
            </a:prstGeom>
          </p:spPr>
        </p:pic>
      </p:grpSp>
      <p:grpSp>
        <p:nvGrpSpPr>
          <p:cNvPr id="89" name="Group 88">
            <a:extLst>
              <a:ext uri="{FF2B5EF4-FFF2-40B4-BE49-F238E27FC236}">
                <a16:creationId xmlns:a16="http://schemas.microsoft.com/office/drawing/2014/main" id="{80F3FF00-B0BE-4446-991F-F49680F4D199}"/>
              </a:ext>
            </a:extLst>
          </p:cNvPr>
          <p:cNvGrpSpPr/>
          <p:nvPr/>
        </p:nvGrpSpPr>
        <p:grpSpPr>
          <a:xfrm>
            <a:off x="6607557" y="4519540"/>
            <a:ext cx="1737360" cy="1005840"/>
            <a:chOff x="6607557" y="4519540"/>
            <a:chExt cx="1737360" cy="1005840"/>
          </a:xfrm>
        </p:grpSpPr>
        <p:sp>
          <p:nvSpPr>
            <p:cNvPr id="90" name="Rectangle 89">
              <a:extLst>
                <a:ext uri="{FF2B5EF4-FFF2-40B4-BE49-F238E27FC236}">
                  <a16:creationId xmlns:a16="http://schemas.microsoft.com/office/drawing/2014/main" id="{8ACF1EC3-A30D-4428-8801-8D90BDD8104A}"/>
                </a:ext>
              </a:extLst>
            </p:cNvPr>
            <p:cNvSpPr/>
            <p:nvPr/>
          </p:nvSpPr>
          <p:spPr bwMode="auto">
            <a:xfrm>
              <a:off x="660755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mn-ea"/>
                  <a:cs typeface="Arial" panose="020B0604020202020204" pitchFamily="34" charset="0"/>
                </a:rPr>
                <a:t>Azure AD Join</a:t>
              </a:r>
            </a:p>
          </p:txBody>
        </p:sp>
        <p:pic>
          <p:nvPicPr>
            <p:cNvPr id="91" name="Picture 90">
              <a:extLst>
                <a:ext uri="{FF2B5EF4-FFF2-40B4-BE49-F238E27FC236}">
                  <a16:creationId xmlns:a16="http://schemas.microsoft.com/office/drawing/2014/main" id="{F39DF58C-B47A-4D98-A736-FC9C3388001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715680" y="4755189"/>
              <a:ext cx="534542" cy="534542"/>
            </a:xfrm>
            <a:prstGeom prst="rect">
              <a:avLst/>
            </a:prstGeom>
          </p:spPr>
        </p:pic>
      </p:grpSp>
      <p:grpSp>
        <p:nvGrpSpPr>
          <p:cNvPr id="92" name="Group 91">
            <a:extLst>
              <a:ext uri="{FF2B5EF4-FFF2-40B4-BE49-F238E27FC236}">
                <a16:creationId xmlns:a16="http://schemas.microsoft.com/office/drawing/2014/main" id="{678DB87C-06CD-41BC-B99F-AAC217668B82}"/>
              </a:ext>
            </a:extLst>
          </p:cNvPr>
          <p:cNvGrpSpPr/>
          <p:nvPr/>
        </p:nvGrpSpPr>
        <p:grpSpPr>
          <a:xfrm>
            <a:off x="6607557" y="1328125"/>
            <a:ext cx="1737360" cy="1005840"/>
            <a:chOff x="6607557" y="1328125"/>
            <a:chExt cx="1737360" cy="1005840"/>
          </a:xfrm>
        </p:grpSpPr>
        <p:sp>
          <p:nvSpPr>
            <p:cNvPr id="93" name="Rectangle 92">
              <a:extLst>
                <a:ext uri="{FF2B5EF4-FFF2-40B4-BE49-F238E27FC236}">
                  <a16:creationId xmlns:a16="http://schemas.microsoft.com/office/drawing/2014/main" id="{E1733CA9-0F80-4D66-965C-A1A15B0C5566}"/>
                </a:ext>
              </a:extLst>
            </p:cNvPr>
            <p:cNvSpPr/>
            <p:nvPr/>
          </p:nvSpPr>
          <p:spPr bwMode="auto">
            <a:xfrm>
              <a:off x="660755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fontAlgn="t"/>
              <a:r>
                <a:rPr lang="en-US" sz="1050" spc="-30">
                  <a:solidFill>
                    <a:srgbClr val="505050"/>
                  </a:solidFill>
                  <a:latin typeface="Segoe UI"/>
                  <a:cs typeface="Arial" panose="020B0604020202020204" pitchFamily="34" charset="0"/>
                </a:rPr>
                <a:t>Self-Service capabilities</a:t>
              </a:r>
            </a:p>
          </p:txBody>
        </p:sp>
        <p:pic>
          <p:nvPicPr>
            <p:cNvPr id="94" name="Picture 93" descr="A close up of a logo&#10;&#10;Description generated with very high confidence">
              <a:extLst>
                <a:ext uri="{FF2B5EF4-FFF2-40B4-BE49-F238E27FC236}">
                  <a16:creationId xmlns:a16="http://schemas.microsoft.com/office/drawing/2014/main" id="{4DC7C36D-1195-4E25-9953-989225CF443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735299" y="1602445"/>
              <a:ext cx="457200" cy="457200"/>
            </a:xfrm>
            <a:prstGeom prst="rect">
              <a:avLst/>
            </a:prstGeom>
          </p:spPr>
        </p:pic>
      </p:grpSp>
      <p:grpSp>
        <p:nvGrpSpPr>
          <p:cNvPr id="95" name="Group 94">
            <a:extLst>
              <a:ext uri="{FF2B5EF4-FFF2-40B4-BE49-F238E27FC236}">
                <a16:creationId xmlns:a16="http://schemas.microsoft.com/office/drawing/2014/main" id="{EAAEF8CA-2BFF-44A5-8EE7-983C99197B25}"/>
              </a:ext>
            </a:extLst>
          </p:cNvPr>
          <p:cNvGrpSpPr/>
          <p:nvPr/>
        </p:nvGrpSpPr>
        <p:grpSpPr>
          <a:xfrm>
            <a:off x="8407127" y="4519540"/>
            <a:ext cx="1737360" cy="1005840"/>
            <a:chOff x="8407127" y="4519540"/>
            <a:chExt cx="1737360" cy="1005840"/>
          </a:xfrm>
        </p:grpSpPr>
        <p:sp>
          <p:nvSpPr>
            <p:cNvPr id="96" name="Rectangle 95">
              <a:extLst>
                <a:ext uri="{FF2B5EF4-FFF2-40B4-BE49-F238E27FC236}">
                  <a16:creationId xmlns:a16="http://schemas.microsoft.com/office/drawing/2014/main" id="{CACCDEC0-75DC-427E-AB0C-9F4BF1BF3E53}"/>
                </a:ext>
              </a:extLst>
            </p:cNvPr>
            <p:cNvSpPr/>
            <p:nvPr/>
          </p:nvSpPr>
          <p:spPr bwMode="auto">
            <a:xfrm>
              <a:off x="840712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Segoe UI" pitchFamily="34" charset="0"/>
                  <a:cs typeface="Arial" panose="020B0604020202020204" pitchFamily="34" charset="0"/>
                </a:rPr>
                <a:t>MDM-auto enrollment /</a:t>
              </a:r>
            </a:p>
            <a:p>
              <a:pPr marL="0" marR="0" lvl="0" indent="0"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Segoe UI" pitchFamily="34" charset="0"/>
                  <a:cs typeface="Arial" panose="020B0604020202020204" pitchFamily="34" charset="0"/>
                </a:rPr>
                <a:t>Enterprise State Roaming</a:t>
              </a:r>
            </a:p>
          </p:txBody>
        </p:sp>
        <p:pic>
          <p:nvPicPr>
            <p:cNvPr id="97" name="Picture 96" descr="A picture containing thing, object&#10;&#10;Description generated with high confidence">
              <a:extLst>
                <a:ext uri="{FF2B5EF4-FFF2-40B4-BE49-F238E27FC236}">
                  <a16:creationId xmlns:a16="http://schemas.microsoft.com/office/drawing/2014/main" id="{C871764F-F98A-498B-A994-793E458DACD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00403" y="4824745"/>
              <a:ext cx="533566" cy="395430"/>
            </a:xfrm>
            <a:prstGeom prst="rect">
              <a:avLst/>
            </a:prstGeom>
          </p:spPr>
        </p:pic>
      </p:grpSp>
      <p:grpSp>
        <p:nvGrpSpPr>
          <p:cNvPr id="98" name="Group 97">
            <a:extLst>
              <a:ext uri="{FF2B5EF4-FFF2-40B4-BE49-F238E27FC236}">
                <a16:creationId xmlns:a16="http://schemas.microsoft.com/office/drawing/2014/main" id="{E050C373-9869-4B48-976E-85A33F30C47F}"/>
              </a:ext>
            </a:extLst>
          </p:cNvPr>
          <p:cNvGrpSpPr/>
          <p:nvPr/>
        </p:nvGrpSpPr>
        <p:grpSpPr>
          <a:xfrm>
            <a:off x="10206697" y="4519540"/>
            <a:ext cx="1737360" cy="1005840"/>
            <a:chOff x="10206697" y="4519540"/>
            <a:chExt cx="1737360" cy="1005840"/>
          </a:xfrm>
        </p:grpSpPr>
        <p:sp>
          <p:nvSpPr>
            <p:cNvPr id="99" name="Rectangle 98">
              <a:extLst>
                <a:ext uri="{FF2B5EF4-FFF2-40B4-BE49-F238E27FC236}">
                  <a16:creationId xmlns:a16="http://schemas.microsoft.com/office/drawing/2014/main" id="{36EE9EAE-A25D-44B7-A68A-EC64F90730D6}"/>
                </a:ext>
              </a:extLst>
            </p:cNvPr>
            <p:cNvSpPr/>
            <p:nvPr/>
          </p:nvSpPr>
          <p:spPr bwMode="auto">
            <a:xfrm>
              <a:off x="1020669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mn-ea"/>
                  <a:cs typeface="Arial" panose="020B0604020202020204" pitchFamily="34" charset="0"/>
                </a:rPr>
                <a:t>Security Reporting</a:t>
              </a:r>
            </a:p>
          </p:txBody>
        </p:sp>
        <p:pic>
          <p:nvPicPr>
            <p:cNvPr id="100" name="Picture 99">
              <a:extLst>
                <a:ext uri="{FF2B5EF4-FFF2-40B4-BE49-F238E27FC236}">
                  <a16:creationId xmlns:a16="http://schemas.microsoft.com/office/drawing/2014/main" id="{11D16DFE-7AFE-404E-82FA-0BC2683AE5C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402340" y="4839580"/>
              <a:ext cx="365760" cy="365760"/>
            </a:xfrm>
            <a:prstGeom prst="rect">
              <a:avLst/>
            </a:prstGeom>
          </p:spPr>
        </p:pic>
      </p:grpSp>
      <p:grpSp>
        <p:nvGrpSpPr>
          <p:cNvPr id="101" name="Group 100">
            <a:extLst>
              <a:ext uri="{FF2B5EF4-FFF2-40B4-BE49-F238E27FC236}">
                <a16:creationId xmlns:a16="http://schemas.microsoft.com/office/drawing/2014/main" id="{9A2D5F33-8B95-48D3-99B2-0ADD009FD28C}"/>
              </a:ext>
            </a:extLst>
          </p:cNvPr>
          <p:cNvGrpSpPr/>
          <p:nvPr/>
        </p:nvGrpSpPr>
        <p:grpSpPr>
          <a:xfrm>
            <a:off x="10206697" y="5583343"/>
            <a:ext cx="1737360" cy="1005840"/>
            <a:chOff x="10206697" y="5583343"/>
            <a:chExt cx="1737360" cy="1005840"/>
          </a:xfrm>
        </p:grpSpPr>
        <p:sp>
          <p:nvSpPr>
            <p:cNvPr id="102" name="Rectangle 101">
              <a:extLst>
                <a:ext uri="{FF2B5EF4-FFF2-40B4-BE49-F238E27FC236}">
                  <a16:creationId xmlns:a16="http://schemas.microsoft.com/office/drawing/2014/main" id="{DA3811A0-E27D-4216-A1C1-0E4CD2EFC245}"/>
                </a:ext>
              </a:extLst>
            </p:cNvPr>
            <p:cNvSpPr/>
            <p:nvPr/>
          </p:nvSpPr>
          <p:spPr bwMode="auto">
            <a:xfrm>
              <a:off x="1020669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mn-ea"/>
                  <a:cs typeface="Arial" panose="020B0604020202020204" pitchFamily="34" charset="0"/>
                </a:rPr>
                <a:t>Access Reviews</a:t>
              </a:r>
            </a:p>
          </p:txBody>
        </p:sp>
        <p:pic>
          <p:nvPicPr>
            <p:cNvPr id="103" name="Picture 102">
              <a:extLst>
                <a:ext uri="{FF2B5EF4-FFF2-40B4-BE49-F238E27FC236}">
                  <a16:creationId xmlns:a16="http://schemas.microsoft.com/office/drawing/2014/main" id="{AE1B93E6-1F20-4E72-A638-DCE7AEFDDD2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356620" y="5940386"/>
              <a:ext cx="457200" cy="291755"/>
            </a:xfrm>
            <a:prstGeom prst="rect">
              <a:avLst/>
            </a:prstGeom>
          </p:spPr>
        </p:pic>
      </p:grpSp>
      <p:grpSp>
        <p:nvGrpSpPr>
          <p:cNvPr id="104" name="Group 103">
            <a:extLst>
              <a:ext uri="{FF2B5EF4-FFF2-40B4-BE49-F238E27FC236}">
                <a16:creationId xmlns:a16="http://schemas.microsoft.com/office/drawing/2014/main" id="{00F72742-50DD-4FF1-BDE8-3D5100D8BAEF}"/>
              </a:ext>
            </a:extLst>
          </p:cNvPr>
          <p:cNvGrpSpPr/>
          <p:nvPr/>
        </p:nvGrpSpPr>
        <p:grpSpPr>
          <a:xfrm>
            <a:off x="8407127" y="5583343"/>
            <a:ext cx="1737360" cy="1005840"/>
            <a:chOff x="8407127" y="5583343"/>
            <a:chExt cx="1737360" cy="1005840"/>
          </a:xfrm>
        </p:grpSpPr>
        <p:sp>
          <p:nvSpPr>
            <p:cNvPr id="105" name="Rectangle 104">
              <a:extLst>
                <a:ext uri="{FF2B5EF4-FFF2-40B4-BE49-F238E27FC236}">
                  <a16:creationId xmlns:a16="http://schemas.microsoft.com/office/drawing/2014/main" id="{3B77F455-2E92-4698-A3E4-9BD5B36AA208}"/>
                </a:ext>
              </a:extLst>
            </p:cNvPr>
            <p:cNvSpPr/>
            <p:nvPr/>
          </p:nvSpPr>
          <p:spPr bwMode="auto">
            <a:xfrm>
              <a:off x="840712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Segoe UI" pitchFamily="34" charset="0"/>
                  <a:cs typeface="Arial" panose="020B0604020202020204" pitchFamily="34" charset="0"/>
                </a:rPr>
                <a:t>HR App Integration</a:t>
              </a:r>
            </a:p>
          </p:txBody>
        </p:sp>
        <p:pic>
          <p:nvPicPr>
            <p:cNvPr id="107" name="Picture 106">
              <a:extLst>
                <a:ext uri="{FF2B5EF4-FFF2-40B4-BE49-F238E27FC236}">
                  <a16:creationId xmlns:a16="http://schemas.microsoft.com/office/drawing/2014/main" id="{A8C8705F-6375-4323-B496-A93F9FECAD40}"/>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542380" y="5857216"/>
              <a:ext cx="457200" cy="458095"/>
            </a:xfrm>
            <a:prstGeom prst="rect">
              <a:avLst/>
            </a:prstGeom>
          </p:spPr>
        </p:pic>
      </p:grpSp>
      <p:grpSp>
        <p:nvGrpSpPr>
          <p:cNvPr id="108" name="Group 107">
            <a:extLst>
              <a:ext uri="{FF2B5EF4-FFF2-40B4-BE49-F238E27FC236}">
                <a16:creationId xmlns:a16="http://schemas.microsoft.com/office/drawing/2014/main" id="{025B36D5-FF6C-404C-83C5-8F4CD4E807B9}"/>
              </a:ext>
            </a:extLst>
          </p:cNvPr>
          <p:cNvGrpSpPr/>
          <p:nvPr/>
        </p:nvGrpSpPr>
        <p:grpSpPr>
          <a:xfrm>
            <a:off x="6607557" y="264320"/>
            <a:ext cx="1737360" cy="1005840"/>
            <a:chOff x="6607557" y="264320"/>
            <a:chExt cx="1737360" cy="1005840"/>
          </a:xfrm>
          <a:solidFill>
            <a:schemeClr val="accent4"/>
          </a:solidFill>
        </p:grpSpPr>
        <p:sp>
          <p:nvSpPr>
            <p:cNvPr id="109" name="Rectangle 108">
              <a:extLst>
                <a:ext uri="{FF2B5EF4-FFF2-40B4-BE49-F238E27FC236}">
                  <a16:creationId xmlns:a16="http://schemas.microsoft.com/office/drawing/2014/main" id="{0EDAA7CF-566B-45C2-82F4-F798CEED5C33}"/>
                </a:ext>
              </a:extLst>
            </p:cNvPr>
            <p:cNvSpPr/>
            <p:nvPr/>
          </p:nvSpPr>
          <p:spPr bwMode="auto">
            <a:xfrm>
              <a:off x="660755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mn-ea"/>
                  <a:cs typeface="Arial" panose="020B0604020202020204" pitchFamily="34" charset="0"/>
                </a:rPr>
                <a:t>B2B collaboration</a:t>
              </a:r>
            </a:p>
          </p:txBody>
        </p:sp>
        <p:grpSp>
          <p:nvGrpSpPr>
            <p:cNvPr id="110" name="Group 109">
              <a:extLst>
                <a:ext uri="{FF2B5EF4-FFF2-40B4-BE49-F238E27FC236}">
                  <a16:creationId xmlns:a16="http://schemas.microsoft.com/office/drawing/2014/main" id="{A2449534-6891-4646-98B0-980ECCF01B09}"/>
                </a:ext>
              </a:extLst>
            </p:cNvPr>
            <p:cNvGrpSpPr>
              <a:grpSpLocks noChangeAspect="1"/>
            </p:cNvGrpSpPr>
            <p:nvPr/>
          </p:nvGrpSpPr>
          <p:grpSpPr>
            <a:xfrm>
              <a:off x="6735299" y="630080"/>
              <a:ext cx="516326" cy="274320"/>
              <a:chOff x="10110340" y="2541110"/>
              <a:chExt cx="992606" cy="527364"/>
            </a:xfrm>
            <a:grpFill/>
          </p:grpSpPr>
          <p:grpSp>
            <p:nvGrpSpPr>
              <p:cNvPr id="112" name="Group 111">
                <a:extLst>
                  <a:ext uri="{FF2B5EF4-FFF2-40B4-BE49-F238E27FC236}">
                    <a16:creationId xmlns:a16="http://schemas.microsoft.com/office/drawing/2014/main" id="{312B9F30-ED95-4A3B-8E8D-70E981BDE0FB}"/>
                  </a:ext>
                </a:extLst>
              </p:cNvPr>
              <p:cNvGrpSpPr/>
              <p:nvPr/>
            </p:nvGrpSpPr>
            <p:grpSpPr>
              <a:xfrm>
                <a:off x="10110340" y="2541110"/>
                <a:ext cx="697761" cy="527364"/>
                <a:chOff x="10110340" y="2541110"/>
                <a:chExt cx="697761" cy="527364"/>
              </a:xfrm>
              <a:grpFill/>
            </p:grpSpPr>
            <p:sp>
              <p:nvSpPr>
                <p:cNvPr id="114" name="Freeform 143">
                  <a:extLst>
                    <a:ext uri="{FF2B5EF4-FFF2-40B4-BE49-F238E27FC236}">
                      <a16:creationId xmlns:a16="http://schemas.microsoft.com/office/drawing/2014/main" id="{85100860-3CF9-4CA7-B467-83E05E5A6092}"/>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nvGrpSpPr>
                <p:cNvPr id="115" name="Group 114">
                  <a:extLst>
                    <a:ext uri="{FF2B5EF4-FFF2-40B4-BE49-F238E27FC236}">
                      <a16:creationId xmlns:a16="http://schemas.microsoft.com/office/drawing/2014/main" id="{1A256134-2DBB-4178-BDA7-80CC051E724A}"/>
                    </a:ext>
                  </a:extLst>
                </p:cNvPr>
                <p:cNvGrpSpPr/>
                <p:nvPr/>
              </p:nvGrpSpPr>
              <p:grpSpPr>
                <a:xfrm>
                  <a:off x="10396736" y="2613879"/>
                  <a:ext cx="411365" cy="381827"/>
                  <a:chOff x="9675960" y="2523905"/>
                  <a:chExt cx="411365" cy="381827"/>
                </a:xfrm>
                <a:grpFill/>
              </p:grpSpPr>
              <p:sp>
                <p:nvSpPr>
                  <p:cNvPr id="116" name="Freeform 44">
                    <a:extLst>
                      <a:ext uri="{FF2B5EF4-FFF2-40B4-BE49-F238E27FC236}">
                        <a16:creationId xmlns:a16="http://schemas.microsoft.com/office/drawing/2014/main" id="{B4D67740-72D8-49BD-8E3A-94D7762EFC7B}"/>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44">
                    <a:extLst>
                      <a:ext uri="{FF2B5EF4-FFF2-40B4-BE49-F238E27FC236}">
                        <a16:creationId xmlns:a16="http://schemas.microsoft.com/office/drawing/2014/main" id="{77CD73BC-BA54-485C-A8AF-6400452B67DF}"/>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113" name="Freeform 143">
                <a:extLst>
                  <a:ext uri="{FF2B5EF4-FFF2-40B4-BE49-F238E27FC236}">
                    <a16:creationId xmlns:a16="http://schemas.microsoft.com/office/drawing/2014/main" id="{00458ED9-EDA3-4B48-AD72-E5D5B0B8C106}"/>
                  </a:ext>
                </a:extLst>
              </p:cNvPr>
              <p:cNvSpPr>
                <a:spLocks noEditPoints="1"/>
              </p:cNvSpPr>
              <p:nvPr/>
            </p:nvSpPr>
            <p:spPr bwMode="auto">
              <a:xfrm>
                <a:off x="10847406"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118" name="Group 117">
            <a:extLst>
              <a:ext uri="{FF2B5EF4-FFF2-40B4-BE49-F238E27FC236}">
                <a16:creationId xmlns:a16="http://schemas.microsoft.com/office/drawing/2014/main" id="{EB4BB85D-B45E-4C9E-BD99-5AE99490DA74}"/>
              </a:ext>
            </a:extLst>
          </p:cNvPr>
          <p:cNvGrpSpPr/>
          <p:nvPr/>
        </p:nvGrpSpPr>
        <p:grpSpPr>
          <a:xfrm>
            <a:off x="6607557" y="3455733"/>
            <a:ext cx="1737360" cy="1005840"/>
            <a:chOff x="6607557" y="3455733"/>
            <a:chExt cx="1737360" cy="1005840"/>
          </a:xfrm>
          <a:solidFill>
            <a:schemeClr val="accent4"/>
          </a:solidFill>
        </p:grpSpPr>
        <p:sp>
          <p:nvSpPr>
            <p:cNvPr id="119" name="Rectangle 118">
              <a:extLst>
                <a:ext uri="{FF2B5EF4-FFF2-40B4-BE49-F238E27FC236}">
                  <a16:creationId xmlns:a16="http://schemas.microsoft.com/office/drawing/2014/main" id="{61E6535B-90D0-4F46-B828-4C204A00B162}"/>
                </a:ext>
              </a:extLst>
            </p:cNvPr>
            <p:cNvSpPr/>
            <p:nvPr/>
          </p:nvSpPr>
          <p:spPr bwMode="auto">
            <a:xfrm>
              <a:off x="660755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noProof="0">
                  <a:ln>
                    <a:noFill/>
                  </a:ln>
                  <a:solidFill>
                    <a:srgbClr val="505050"/>
                  </a:solidFill>
                  <a:effectLst/>
                  <a:uLnTx/>
                  <a:uFillTx/>
                  <a:latin typeface="Segoe UI"/>
                  <a:ea typeface="+mn-ea"/>
                  <a:cs typeface="Arial" panose="020B0604020202020204" pitchFamily="34" charset="0"/>
                </a:rPr>
                <a:t>Azure AD</a:t>
              </a:r>
              <a:br>
                <a:rPr kumimoji="0" lang="en-US" sz="1050" b="0" i="0" u="none" strike="noStrike" kern="1200" cap="none" spc="-30" normalizeH="0" noProof="0">
                  <a:ln>
                    <a:noFill/>
                  </a:ln>
                  <a:solidFill>
                    <a:srgbClr val="505050"/>
                  </a:solidFill>
                  <a:effectLst/>
                  <a:uLnTx/>
                  <a:uFillTx/>
                  <a:latin typeface="Segoe UI"/>
                  <a:ea typeface="+mn-ea"/>
                  <a:cs typeface="Arial" panose="020B0604020202020204" pitchFamily="34" charset="0"/>
                </a:rPr>
              </a:br>
              <a:r>
                <a:rPr kumimoji="0" lang="en-US" sz="1050" b="0" i="0" u="none" strike="noStrike" kern="1200" cap="none" spc="-30" normalizeH="0" noProof="0">
                  <a:ln>
                    <a:noFill/>
                  </a:ln>
                  <a:solidFill>
                    <a:srgbClr val="505050"/>
                  </a:solidFill>
                  <a:effectLst/>
                  <a:uLnTx/>
                  <a:uFillTx/>
                  <a:latin typeface="Segoe UI"/>
                  <a:ea typeface="+mn-ea"/>
                  <a:cs typeface="Arial" panose="020B0604020202020204" pitchFamily="34" charset="0"/>
                </a:rPr>
                <a:t>B2C</a:t>
              </a:r>
            </a:p>
          </p:txBody>
        </p:sp>
        <p:grpSp>
          <p:nvGrpSpPr>
            <p:cNvPr id="120" name="Group 119">
              <a:extLst>
                <a:ext uri="{FF2B5EF4-FFF2-40B4-BE49-F238E27FC236}">
                  <a16:creationId xmlns:a16="http://schemas.microsoft.com/office/drawing/2014/main" id="{4D037792-A457-4C48-AF15-3B36B6088541}"/>
                </a:ext>
              </a:extLst>
            </p:cNvPr>
            <p:cNvGrpSpPr>
              <a:grpSpLocks noChangeAspect="1"/>
            </p:cNvGrpSpPr>
            <p:nvPr/>
          </p:nvGrpSpPr>
          <p:grpSpPr>
            <a:xfrm>
              <a:off x="6687669" y="3821493"/>
              <a:ext cx="568103" cy="274320"/>
              <a:chOff x="7521353" y="3579354"/>
              <a:chExt cx="695006" cy="335598"/>
            </a:xfrm>
            <a:grpFill/>
          </p:grpSpPr>
          <p:grpSp>
            <p:nvGrpSpPr>
              <p:cNvPr id="121" name="Group 120">
                <a:extLst>
                  <a:ext uri="{FF2B5EF4-FFF2-40B4-BE49-F238E27FC236}">
                    <a16:creationId xmlns:a16="http://schemas.microsoft.com/office/drawing/2014/main" id="{9EA369FC-1FF7-450D-A42B-C4CD6BE88015}"/>
                  </a:ext>
                </a:extLst>
              </p:cNvPr>
              <p:cNvGrpSpPr/>
              <p:nvPr/>
            </p:nvGrpSpPr>
            <p:grpSpPr>
              <a:xfrm>
                <a:off x="7521353" y="3579354"/>
                <a:ext cx="444034" cy="335598"/>
                <a:chOff x="10110340" y="2541110"/>
                <a:chExt cx="697761" cy="527364"/>
              </a:xfrm>
              <a:grpFill/>
            </p:grpSpPr>
            <p:sp>
              <p:nvSpPr>
                <p:cNvPr id="123" name="Freeform 143">
                  <a:extLst>
                    <a:ext uri="{FF2B5EF4-FFF2-40B4-BE49-F238E27FC236}">
                      <a16:creationId xmlns:a16="http://schemas.microsoft.com/office/drawing/2014/main" id="{B26602A0-940E-4AFE-A7A2-EA86BF0A3D4C}"/>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nvGrpSpPr>
                <p:cNvPr id="124" name="Group 123">
                  <a:extLst>
                    <a:ext uri="{FF2B5EF4-FFF2-40B4-BE49-F238E27FC236}">
                      <a16:creationId xmlns:a16="http://schemas.microsoft.com/office/drawing/2014/main" id="{8E8F457E-AECC-4E0A-A63F-9C95F3FF4CE3}"/>
                    </a:ext>
                  </a:extLst>
                </p:cNvPr>
                <p:cNvGrpSpPr/>
                <p:nvPr/>
              </p:nvGrpSpPr>
              <p:grpSpPr>
                <a:xfrm>
                  <a:off x="10396736" y="2613879"/>
                  <a:ext cx="411365" cy="381827"/>
                  <a:chOff x="9675960" y="2523905"/>
                  <a:chExt cx="411365" cy="381827"/>
                </a:xfrm>
                <a:grpFill/>
              </p:grpSpPr>
              <p:sp>
                <p:nvSpPr>
                  <p:cNvPr id="125" name="Freeform 44">
                    <a:extLst>
                      <a:ext uri="{FF2B5EF4-FFF2-40B4-BE49-F238E27FC236}">
                        <a16:creationId xmlns:a16="http://schemas.microsoft.com/office/drawing/2014/main" id="{8558B9BB-543C-4AE2-BF47-65F3F7E627B5}"/>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44">
                    <a:extLst>
                      <a:ext uri="{FF2B5EF4-FFF2-40B4-BE49-F238E27FC236}">
                        <a16:creationId xmlns:a16="http://schemas.microsoft.com/office/drawing/2014/main" id="{ED413C32-075D-4178-9EA2-4FB465D8DF74}"/>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122" name="Freeform 12">
                <a:extLst>
                  <a:ext uri="{FF2B5EF4-FFF2-40B4-BE49-F238E27FC236}">
                    <a16:creationId xmlns:a16="http://schemas.microsoft.com/office/drawing/2014/main" id="{92A5CEE8-E268-4ABF-9A0A-E67E3CA90AB8}"/>
                  </a:ext>
                </a:extLst>
              </p:cNvPr>
              <p:cNvSpPr>
                <a:spLocks noChangeAspect="1" noEditPoints="1"/>
              </p:cNvSpPr>
              <p:nvPr/>
            </p:nvSpPr>
            <p:spPr bwMode="auto">
              <a:xfrm>
                <a:off x="7949590" y="3603664"/>
                <a:ext cx="266769" cy="286979"/>
              </a:xfrm>
              <a:custGeom>
                <a:avLst/>
                <a:gdLst>
                  <a:gd name="T0" fmla="*/ 0 w 112"/>
                  <a:gd name="T1" fmla="*/ 120 h 120"/>
                  <a:gd name="T2" fmla="*/ 8 w 112"/>
                  <a:gd name="T3" fmla="*/ 120 h 120"/>
                  <a:gd name="T4" fmla="*/ 32 w 112"/>
                  <a:gd name="T5" fmla="*/ 96 h 120"/>
                  <a:gd name="T6" fmla="*/ 56 w 112"/>
                  <a:gd name="T7" fmla="*/ 120 h 120"/>
                  <a:gd name="T8" fmla="*/ 64 w 112"/>
                  <a:gd name="T9" fmla="*/ 120 h 120"/>
                  <a:gd name="T10" fmla="*/ 46 w 112"/>
                  <a:gd name="T11" fmla="*/ 91 h 120"/>
                  <a:gd name="T12" fmla="*/ 56 w 112"/>
                  <a:gd name="T13" fmla="*/ 72 h 120"/>
                  <a:gd name="T14" fmla="*/ 80 w 112"/>
                  <a:gd name="T15" fmla="*/ 48 h 120"/>
                  <a:gd name="T16" fmla="*/ 104 w 112"/>
                  <a:gd name="T17" fmla="*/ 72 h 120"/>
                  <a:gd name="T18" fmla="*/ 112 w 112"/>
                  <a:gd name="T19" fmla="*/ 72 h 120"/>
                  <a:gd name="T20" fmla="*/ 94 w 112"/>
                  <a:gd name="T21" fmla="*/ 43 h 120"/>
                  <a:gd name="T22" fmla="*/ 104 w 112"/>
                  <a:gd name="T23" fmla="*/ 24 h 120"/>
                  <a:gd name="T24" fmla="*/ 80 w 112"/>
                  <a:gd name="T25" fmla="*/ 0 h 120"/>
                  <a:gd name="T26" fmla="*/ 56 w 112"/>
                  <a:gd name="T27" fmla="*/ 24 h 120"/>
                  <a:gd name="T28" fmla="*/ 65 w 112"/>
                  <a:gd name="T29" fmla="*/ 43 h 120"/>
                  <a:gd name="T30" fmla="*/ 51 w 112"/>
                  <a:gd name="T31" fmla="*/ 58 h 120"/>
                  <a:gd name="T32" fmla="*/ 32 w 112"/>
                  <a:gd name="T33" fmla="*/ 48 h 120"/>
                  <a:gd name="T34" fmla="*/ 8 w 112"/>
                  <a:gd name="T35" fmla="*/ 72 h 120"/>
                  <a:gd name="T36" fmla="*/ 17 w 112"/>
                  <a:gd name="T37" fmla="*/ 91 h 120"/>
                  <a:gd name="T38" fmla="*/ 0 w 112"/>
                  <a:gd name="T39" fmla="*/ 120 h 120"/>
                  <a:gd name="T40" fmla="*/ 64 w 112"/>
                  <a:gd name="T41" fmla="*/ 24 h 120"/>
                  <a:gd name="T42" fmla="*/ 80 w 112"/>
                  <a:gd name="T43" fmla="*/ 8 h 120"/>
                  <a:gd name="T44" fmla="*/ 96 w 112"/>
                  <a:gd name="T45" fmla="*/ 24 h 120"/>
                  <a:gd name="T46" fmla="*/ 80 w 112"/>
                  <a:gd name="T47" fmla="*/ 40 h 120"/>
                  <a:gd name="T48" fmla="*/ 64 w 112"/>
                  <a:gd name="T49" fmla="*/ 24 h 120"/>
                  <a:gd name="T50" fmla="*/ 16 w 112"/>
                  <a:gd name="T51" fmla="*/ 72 h 120"/>
                  <a:gd name="T52" fmla="*/ 32 w 112"/>
                  <a:gd name="T53" fmla="*/ 56 h 120"/>
                  <a:gd name="T54" fmla="*/ 48 w 112"/>
                  <a:gd name="T55" fmla="*/ 72 h 120"/>
                  <a:gd name="T56" fmla="*/ 32 w 112"/>
                  <a:gd name="T57" fmla="*/ 88 h 120"/>
                  <a:gd name="T58" fmla="*/ 16 w 112"/>
                  <a:gd name="T59"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0" y="120"/>
                    </a:moveTo>
                    <a:cubicBezTo>
                      <a:pt x="8" y="120"/>
                      <a:pt x="8" y="120"/>
                      <a:pt x="8" y="120"/>
                    </a:cubicBezTo>
                    <a:cubicBezTo>
                      <a:pt x="8" y="107"/>
                      <a:pt x="18" y="96"/>
                      <a:pt x="32" y="96"/>
                    </a:cubicBezTo>
                    <a:cubicBezTo>
                      <a:pt x="45" y="96"/>
                      <a:pt x="56" y="107"/>
                      <a:pt x="56" y="120"/>
                    </a:cubicBezTo>
                    <a:cubicBezTo>
                      <a:pt x="64" y="120"/>
                      <a:pt x="64" y="120"/>
                      <a:pt x="64" y="120"/>
                    </a:cubicBezTo>
                    <a:cubicBezTo>
                      <a:pt x="64" y="107"/>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59"/>
                      <a:pt x="104" y="49"/>
                      <a:pt x="94" y="43"/>
                    </a:cubicBezTo>
                    <a:cubicBezTo>
                      <a:pt x="100" y="39"/>
                      <a:pt x="104" y="32"/>
                      <a:pt x="104" y="24"/>
                    </a:cubicBezTo>
                    <a:cubicBezTo>
                      <a:pt x="104" y="11"/>
                      <a:pt x="93" y="0"/>
                      <a:pt x="80" y="0"/>
                    </a:cubicBezTo>
                    <a:cubicBezTo>
                      <a:pt x="66" y="0"/>
                      <a:pt x="56" y="11"/>
                      <a:pt x="56" y="24"/>
                    </a:cubicBezTo>
                    <a:cubicBezTo>
                      <a:pt x="56" y="32"/>
                      <a:pt x="60" y="39"/>
                      <a:pt x="65" y="43"/>
                    </a:cubicBezTo>
                    <a:cubicBezTo>
                      <a:pt x="59" y="46"/>
                      <a:pt x="54" y="52"/>
                      <a:pt x="51" y="58"/>
                    </a:cubicBezTo>
                    <a:cubicBezTo>
                      <a:pt x="47" y="52"/>
                      <a:pt x="40" y="48"/>
                      <a:pt x="32" y="48"/>
                    </a:cubicBezTo>
                    <a:cubicBezTo>
                      <a:pt x="18" y="48"/>
                      <a:pt x="8" y="59"/>
                      <a:pt x="8" y="72"/>
                    </a:cubicBezTo>
                    <a:cubicBezTo>
                      <a:pt x="8" y="80"/>
                      <a:pt x="12" y="87"/>
                      <a:pt x="17" y="91"/>
                    </a:cubicBezTo>
                    <a:cubicBezTo>
                      <a:pt x="7" y="97"/>
                      <a:pt x="0" y="107"/>
                      <a:pt x="0" y="120"/>
                    </a:cubicBezTo>
                    <a:close/>
                    <a:moveTo>
                      <a:pt x="64" y="24"/>
                    </a:moveTo>
                    <a:cubicBezTo>
                      <a:pt x="64" y="15"/>
                      <a:pt x="71" y="8"/>
                      <a:pt x="80" y="8"/>
                    </a:cubicBezTo>
                    <a:cubicBezTo>
                      <a:pt x="88" y="8"/>
                      <a:pt x="96" y="15"/>
                      <a:pt x="96" y="24"/>
                    </a:cubicBezTo>
                    <a:cubicBezTo>
                      <a:pt x="96" y="33"/>
                      <a:pt x="88" y="40"/>
                      <a:pt x="80" y="40"/>
                    </a:cubicBezTo>
                    <a:cubicBezTo>
                      <a:pt x="71" y="40"/>
                      <a:pt x="64" y="33"/>
                      <a:pt x="64" y="24"/>
                    </a:cubicBezTo>
                    <a:close/>
                    <a:moveTo>
                      <a:pt x="16" y="72"/>
                    </a:moveTo>
                    <a:cubicBezTo>
                      <a:pt x="16" y="63"/>
                      <a:pt x="23" y="56"/>
                      <a:pt x="32" y="56"/>
                    </a:cubicBezTo>
                    <a:cubicBezTo>
                      <a:pt x="40" y="56"/>
                      <a:pt x="48" y="63"/>
                      <a:pt x="48" y="72"/>
                    </a:cubicBezTo>
                    <a:cubicBezTo>
                      <a:pt x="48" y="81"/>
                      <a:pt x="40" y="88"/>
                      <a:pt x="32" y="88"/>
                    </a:cubicBezTo>
                    <a:cubicBezTo>
                      <a:pt x="23" y="88"/>
                      <a:pt x="16" y="81"/>
                      <a:pt x="16"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127" name="Group 126">
            <a:extLst>
              <a:ext uri="{FF2B5EF4-FFF2-40B4-BE49-F238E27FC236}">
                <a16:creationId xmlns:a16="http://schemas.microsoft.com/office/drawing/2014/main" id="{9EF81268-2288-4DDD-8CF9-B4C702C4614A}"/>
              </a:ext>
            </a:extLst>
          </p:cNvPr>
          <p:cNvGrpSpPr/>
          <p:nvPr/>
        </p:nvGrpSpPr>
        <p:grpSpPr>
          <a:xfrm>
            <a:off x="4807987" y="1328125"/>
            <a:ext cx="1737360" cy="1005840"/>
            <a:chOff x="4807987" y="1328125"/>
            <a:chExt cx="1737360" cy="1005840"/>
          </a:xfrm>
        </p:grpSpPr>
        <p:sp>
          <p:nvSpPr>
            <p:cNvPr id="128" name="Rectangle 127">
              <a:extLst>
                <a:ext uri="{FF2B5EF4-FFF2-40B4-BE49-F238E27FC236}">
                  <a16:creationId xmlns:a16="http://schemas.microsoft.com/office/drawing/2014/main" id="{48E06C80-7FA9-4FBD-83AC-78E7D24041B0}"/>
                </a:ext>
              </a:extLst>
            </p:cNvPr>
            <p:cNvSpPr/>
            <p:nvPr/>
          </p:nvSpPr>
          <p:spPr bwMode="auto">
            <a:xfrm>
              <a:off x="480798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fontAlgn="t"/>
              <a:r>
                <a:rPr lang="en-US" sz="1050" spc="-30">
                  <a:solidFill>
                    <a:srgbClr val="505050"/>
                  </a:solidFill>
                  <a:latin typeface="Segoe UI"/>
                  <a:cs typeface="Arial" panose="020B0604020202020204" pitchFamily="34" charset="0"/>
                </a:rPr>
                <a:t>SSO to SaaS</a:t>
              </a:r>
            </a:p>
          </p:txBody>
        </p:sp>
        <p:pic>
          <p:nvPicPr>
            <p:cNvPr id="129" name="Picture 128" descr="A close up of a sign&#10;&#10;Description generated with high confidence">
              <a:extLst>
                <a:ext uri="{FF2B5EF4-FFF2-40B4-BE49-F238E27FC236}">
                  <a16:creationId xmlns:a16="http://schemas.microsoft.com/office/drawing/2014/main" id="{79DE8674-02D6-4A8B-AC51-EE9F72C16CCE}"/>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935470" y="1670140"/>
              <a:ext cx="468504" cy="321810"/>
            </a:xfrm>
            <a:prstGeom prst="rect">
              <a:avLst/>
            </a:prstGeom>
          </p:spPr>
        </p:pic>
      </p:grpSp>
      <p:grpSp>
        <p:nvGrpSpPr>
          <p:cNvPr id="130" name="Group 129">
            <a:extLst>
              <a:ext uri="{FF2B5EF4-FFF2-40B4-BE49-F238E27FC236}">
                <a16:creationId xmlns:a16="http://schemas.microsoft.com/office/drawing/2014/main" id="{215AE62B-2716-46D9-8E99-E8B3F2DCA9D9}"/>
              </a:ext>
            </a:extLst>
          </p:cNvPr>
          <p:cNvGrpSpPr/>
          <p:nvPr/>
        </p:nvGrpSpPr>
        <p:grpSpPr>
          <a:xfrm>
            <a:off x="4807987" y="4519540"/>
            <a:ext cx="1737360" cy="1005840"/>
            <a:chOff x="4807987" y="4519540"/>
            <a:chExt cx="1737360" cy="1005840"/>
          </a:xfrm>
        </p:grpSpPr>
        <p:sp>
          <p:nvSpPr>
            <p:cNvPr id="131" name="Rectangle 130">
              <a:extLst>
                <a:ext uri="{FF2B5EF4-FFF2-40B4-BE49-F238E27FC236}">
                  <a16:creationId xmlns:a16="http://schemas.microsoft.com/office/drawing/2014/main" id="{68E82F37-4C98-4A59-9B41-E116F2BB5F97}"/>
                </a:ext>
              </a:extLst>
            </p:cNvPr>
            <p:cNvSpPr/>
            <p:nvPr/>
          </p:nvSpPr>
          <p:spPr bwMode="auto">
            <a:xfrm>
              <a:off x="480798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fontAlgn="t"/>
              <a:r>
                <a:rPr lang="en-US" sz="1050" spc="-30">
                  <a:solidFill>
                    <a:srgbClr val="505050"/>
                  </a:solidFill>
                  <a:latin typeface="Segoe UI"/>
                  <a:cs typeface="Arial" panose="020B0604020202020204" pitchFamily="34" charset="0"/>
                </a:rPr>
                <a:t>Microsoft Authenticator  - Password-less Access</a:t>
              </a:r>
            </a:p>
          </p:txBody>
        </p:sp>
        <p:grpSp>
          <p:nvGrpSpPr>
            <p:cNvPr id="132" name="Group 131">
              <a:extLst>
                <a:ext uri="{FF2B5EF4-FFF2-40B4-BE49-F238E27FC236}">
                  <a16:creationId xmlns:a16="http://schemas.microsoft.com/office/drawing/2014/main" id="{C8A7BF4E-A5CF-4C5D-8322-B23292BAE4AA}"/>
                </a:ext>
              </a:extLst>
            </p:cNvPr>
            <p:cNvGrpSpPr>
              <a:grpSpLocks noChangeAspect="1"/>
            </p:cNvGrpSpPr>
            <p:nvPr/>
          </p:nvGrpSpPr>
          <p:grpSpPr>
            <a:xfrm>
              <a:off x="5050459" y="4797980"/>
              <a:ext cx="238526" cy="448955"/>
              <a:chOff x="7368827" y="4988149"/>
              <a:chExt cx="456145" cy="858558"/>
            </a:xfrm>
          </p:grpSpPr>
          <p:grpSp>
            <p:nvGrpSpPr>
              <p:cNvPr id="133" name="Group 132">
                <a:extLst>
                  <a:ext uri="{FF2B5EF4-FFF2-40B4-BE49-F238E27FC236}">
                    <a16:creationId xmlns:a16="http://schemas.microsoft.com/office/drawing/2014/main" id="{F01CC5C6-F11D-4D9F-8F28-18C38B5FFF84}"/>
                  </a:ext>
                </a:extLst>
              </p:cNvPr>
              <p:cNvGrpSpPr/>
              <p:nvPr/>
            </p:nvGrpSpPr>
            <p:grpSpPr>
              <a:xfrm>
                <a:off x="7368827" y="4988149"/>
                <a:ext cx="456145" cy="858558"/>
                <a:chOff x="9273976" y="4198321"/>
                <a:chExt cx="406409" cy="764944"/>
              </a:xfrm>
            </p:grpSpPr>
            <p:sp>
              <p:nvSpPr>
                <p:cNvPr id="135" name="Freeform 8">
                  <a:extLst>
                    <a:ext uri="{FF2B5EF4-FFF2-40B4-BE49-F238E27FC236}">
                      <a16:creationId xmlns:a16="http://schemas.microsoft.com/office/drawing/2014/main" id="{A681E3E5-613C-4E0B-8137-9AC711A15CD2}"/>
                    </a:ext>
                  </a:extLst>
                </p:cNvPr>
                <p:cNvSpPr>
                  <a:spLocks/>
                </p:cNvSpPr>
                <p:nvPr/>
              </p:nvSpPr>
              <p:spPr bwMode="auto">
                <a:xfrm>
                  <a:off x="9273976" y="4198321"/>
                  <a:ext cx="406409" cy="764944"/>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136" name="Line 9">
                  <a:extLst>
                    <a:ext uri="{FF2B5EF4-FFF2-40B4-BE49-F238E27FC236}">
                      <a16:creationId xmlns:a16="http://schemas.microsoft.com/office/drawing/2014/main" id="{250EE92A-B865-4817-93E7-C5FCD9487277}"/>
                    </a:ext>
                  </a:extLst>
                </p:cNvPr>
                <p:cNvSpPr>
                  <a:spLocks noChangeShapeType="1"/>
                </p:cNvSpPr>
                <p:nvPr/>
              </p:nvSpPr>
              <p:spPr bwMode="auto">
                <a:xfrm flipH="1" flipV="1">
                  <a:off x="9273976" y="4854288"/>
                  <a:ext cx="406409"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137" name="Line 10">
                  <a:extLst>
                    <a:ext uri="{FF2B5EF4-FFF2-40B4-BE49-F238E27FC236}">
                      <a16:creationId xmlns:a16="http://schemas.microsoft.com/office/drawing/2014/main" id="{72EE9186-71F0-42D1-BD6F-1E87F0AE8EA1}"/>
                    </a:ext>
                  </a:extLst>
                </p:cNvPr>
                <p:cNvSpPr>
                  <a:spLocks noChangeShapeType="1"/>
                </p:cNvSpPr>
                <p:nvPr/>
              </p:nvSpPr>
              <p:spPr bwMode="auto">
                <a:xfrm>
                  <a:off x="9273976" y="4298916"/>
                  <a:ext cx="402623" cy="25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grpSp>
          <p:sp>
            <p:nvSpPr>
              <p:cNvPr id="134" name="Freeform 172">
                <a:extLst>
                  <a:ext uri="{FF2B5EF4-FFF2-40B4-BE49-F238E27FC236}">
                    <a16:creationId xmlns:a16="http://schemas.microsoft.com/office/drawing/2014/main" id="{36B689EC-1968-45E8-90F5-904B24E46240}"/>
                  </a:ext>
                </a:extLst>
              </p:cNvPr>
              <p:cNvSpPr>
                <a:spLocks noChangeAspect="1"/>
              </p:cNvSpPr>
              <p:nvPr/>
            </p:nvSpPr>
            <p:spPr bwMode="black">
              <a:xfrm>
                <a:off x="7436763" y="5243735"/>
                <a:ext cx="324656" cy="368647"/>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marL="0" marR="0" lvl="0" indent="0" algn="ctr" defTabSz="483924" eaLnBrk="1" fontAlgn="base" latinLnBrk="0" hangingPunct="1">
                  <a:lnSpc>
                    <a:spcPct val="90000"/>
                  </a:lnSpc>
                  <a:spcBef>
                    <a:spcPct val="0"/>
                  </a:spcBef>
                  <a:spcAft>
                    <a:spcPct val="0"/>
                  </a:spcAft>
                  <a:buClrTx/>
                  <a:buSzTx/>
                  <a:buFontTx/>
                  <a:buNone/>
                  <a:tabLst/>
                  <a:defRPr/>
                </a:pPr>
                <a:endParaRPr kumimoji="0" lang="en-US" sz="1246"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8A2E4A09-865D-40C0-87A9-BF10856DCB21}"/>
              </a:ext>
            </a:extLst>
          </p:cNvPr>
          <p:cNvSpPr/>
          <p:nvPr/>
        </p:nvSpPr>
        <p:spPr>
          <a:xfrm>
            <a:off x="350044" y="6404517"/>
            <a:ext cx="2699970" cy="369332"/>
          </a:xfrm>
          <a:prstGeom prst="rect">
            <a:avLst/>
          </a:prstGeom>
        </p:spPr>
        <p:txBody>
          <a:bodyPr wrap="none">
            <a:spAutoFit/>
          </a:bodyPr>
          <a:lstStyle/>
          <a:p>
            <a:r>
              <a:rPr lang="en-US" dirty="0">
                <a:hlinkClick r:id="rId22"/>
              </a:rPr>
              <a:t>aka.ms/Azure/AD/Limits</a:t>
            </a:r>
            <a:r>
              <a:rPr lang="en-US" dirty="0"/>
              <a:t> </a:t>
            </a:r>
          </a:p>
        </p:txBody>
      </p:sp>
    </p:spTree>
    <p:extLst>
      <p:ext uri="{BB962C8B-B14F-4D97-AF65-F5344CB8AC3E}">
        <p14:creationId xmlns:p14="http://schemas.microsoft.com/office/powerpoint/2010/main" val="1138598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0" y="1212853"/>
            <a:ext cx="12434888" cy="57816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Text Placeholder 6"/>
          <p:cNvSpPr txBox="1">
            <a:spLocks/>
          </p:cNvSpPr>
          <p:nvPr/>
        </p:nvSpPr>
        <p:spPr>
          <a:xfrm>
            <a:off x="366169" y="1287462"/>
            <a:ext cx="10347075" cy="461641"/>
          </a:xfrm>
          <a:prstGeom prst="rect">
            <a:avLst/>
          </a:prstGeom>
        </p:spPr>
        <p:txBody>
          <a:bodyPr vert="horz" wrap="square" lIns="146285" tIns="91428" rIns="146285" bIns="91428" rtlCol="0" anchor="ctr" anchorCtr="0">
            <a:noAutofit/>
          </a:bodyPr>
          <a:lstStyle>
            <a:lvl1pPr marL="0" indent="0" algn="l" defTabSz="931684" rtl="0" fontAlgn="base">
              <a:lnSpc>
                <a:spcPct val="90000"/>
              </a:lnSpc>
              <a:spcBef>
                <a:spcPct val="20000"/>
              </a:spcBef>
              <a:spcAft>
                <a:spcPct val="0"/>
              </a:spcAft>
              <a:buSzPct val="90000"/>
              <a:buFont typeface="Arial" charset="0"/>
              <a:buNone/>
              <a:defRPr sz="2244" b="0" kern="1200">
                <a:solidFill>
                  <a:schemeClr val="accent2"/>
                </a:solidFill>
                <a:latin typeface="+mn-lt"/>
                <a:ea typeface="ＭＳ Ｐゴシック" charset="0"/>
                <a:cs typeface="ＭＳ Ｐゴシック" charset="0"/>
              </a:defRPr>
            </a:lvl1pPr>
            <a:lvl2pPr marL="342834" indent="0" algn="l" defTabSz="931684" rtl="0" fontAlgn="base">
              <a:lnSpc>
                <a:spcPct val="90000"/>
              </a:lnSpc>
              <a:spcBef>
                <a:spcPct val="20000"/>
              </a:spcBef>
              <a:spcAft>
                <a:spcPct val="0"/>
              </a:spcAft>
              <a:buSzPct val="90000"/>
              <a:buFont typeface="Arial" charset="0"/>
              <a:buNone/>
              <a:defRPr sz="2400" kern="1200">
                <a:gradFill>
                  <a:gsLst>
                    <a:gs pos="1250">
                      <a:schemeClr val="tx1"/>
                    </a:gs>
                    <a:gs pos="100000">
                      <a:schemeClr val="tx1"/>
                    </a:gs>
                  </a:gsLst>
                  <a:lin ang="5400000" scaled="0"/>
                </a:gradFill>
                <a:latin typeface="+mn-lt"/>
                <a:ea typeface="ＭＳ Ｐゴシック" charset="0"/>
                <a:cs typeface="+mn-cs"/>
              </a:defRPr>
            </a:lvl2pPr>
            <a:lvl3pPr marL="571390" indent="0" algn="l" defTabSz="931684" rtl="0" fontAlgn="base">
              <a:lnSpc>
                <a:spcPct val="90000"/>
              </a:lnSpc>
              <a:spcBef>
                <a:spcPct val="20000"/>
              </a:spcBef>
              <a:spcAft>
                <a:spcPct val="0"/>
              </a:spcAft>
              <a:buSzPct val="90000"/>
              <a:buFont typeface="Arial" charset="0"/>
              <a:buNone/>
              <a:defRPr sz="2000" kern="1200">
                <a:gradFill>
                  <a:gsLst>
                    <a:gs pos="1250">
                      <a:schemeClr val="tx1"/>
                    </a:gs>
                    <a:gs pos="100000">
                      <a:schemeClr val="tx1"/>
                    </a:gs>
                  </a:gsLst>
                  <a:lin ang="5400000" scaled="0"/>
                </a:gradFill>
                <a:latin typeface="+mn-lt"/>
                <a:ea typeface="ＭＳ Ｐゴシック" charset="0"/>
                <a:cs typeface="+mn-cs"/>
              </a:defRPr>
            </a:lvl3pPr>
            <a:lvl4pPr marL="799946"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28502"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1591">
              <a:defRPr/>
            </a:pPr>
            <a:r>
              <a:rPr lang="en-US" sz="2000" dirty="0">
                <a:solidFill>
                  <a:schemeClr val="bg1"/>
                </a:solidFill>
                <a:latin typeface="Segoe UI Semibold" panose="020B0702040204020203" pitchFamily="34" charset="0"/>
                <a:cs typeface="Segoe UI Semibold" panose="020B0702040204020203" pitchFamily="34" charset="0"/>
              </a:rPr>
              <a:t>Integrated end-user experiences across devices</a:t>
            </a:r>
          </a:p>
        </p:txBody>
      </p:sp>
      <p:sp>
        <p:nvSpPr>
          <p:cNvPr id="3" name="Rectangle 2"/>
          <p:cNvSpPr/>
          <p:nvPr/>
        </p:nvSpPr>
        <p:spPr>
          <a:xfrm>
            <a:off x="960316" y="4415302"/>
            <a:ext cx="4651941" cy="521367"/>
          </a:xfrm>
          <a:prstGeom prst="rect">
            <a:avLst/>
          </a:prstGeom>
        </p:spPr>
        <p:txBody>
          <a:bodyPr wrap="square" lIns="182831" tIns="146264" rIns="182831" bIns="146264">
            <a:spAutoFit/>
          </a:bodyPr>
          <a:lstStyle/>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a:ea typeface="+mn-ea"/>
                <a:cs typeface="+mn-cs"/>
              </a:rPr>
              <a:t>Manage your account, apps, and groups</a:t>
            </a:r>
          </a:p>
        </p:txBody>
      </p:sp>
      <p:sp>
        <p:nvSpPr>
          <p:cNvPr id="16" name="Rectangle 15"/>
          <p:cNvSpPr/>
          <p:nvPr/>
        </p:nvSpPr>
        <p:spPr>
          <a:xfrm>
            <a:off x="960315" y="2092713"/>
            <a:ext cx="4160731" cy="1374292"/>
          </a:xfrm>
          <a:prstGeom prst="rect">
            <a:avLst/>
          </a:prstGeom>
        </p:spPr>
        <p:txBody>
          <a:bodyPr wrap="square" lIns="182831" tIns="146264" rIns="182831" bIns="146264">
            <a:spAutoFit/>
          </a:bodyPr>
          <a:lstStyle/>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a:ea typeface="+mn-ea"/>
                <a:cs typeface="+mn-cs"/>
              </a:rPr>
              <a:t>Company-branded, personalized application Access Panel: </a:t>
            </a:r>
          </a:p>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a:ea typeface="+mn-ea"/>
                <a:cs typeface="+mn-cs"/>
              </a:rPr>
              <a:t>http://myapps.microsoft.com</a:t>
            </a:r>
          </a:p>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a:ea typeface="+mn-ea"/>
                <a:cs typeface="+mn-cs"/>
              </a:rPr>
              <a:t>+ iOS and Android Mobile Apps</a:t>
            </a:r>
          </a:p>
        </p:txBody>
      </p:sp>
      <p:grpSp>
        <p:nvGrpSpPr>
          <p:cNvPr id="14" name="Group 13"/>
          <p:cNvGrpSpPr/>
          <p:nvPr/>
        </p:nvGrpSpPr>
        <p:grpSpPr>
          <a:xfrm>
            <a:off x="5284959" y="2662705"/>
            <a:ext cx="6009317" cy="3106069"/>
            <a:chOff x="3352800" y="1983278"/>
            <a:chExt cx="6329110" cy="3271363"/>
          </a:xfrm>
        </p:grpSpPr>
        <p:pic>
          <p:nvPicPr>
            <p:cNvPr id="59" name="Picture 5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352800" y="1983278"/>
              <a:ext cx="6329110" cy="3271363"/>
            </a:xfrm>
            <a:prstGeom prst="rect">
              <a:avLst/>
            </a:prstGeom>
          </p:spPr>
        </p:pic>
        <p:pic>
          <p:nvPicPr>
            <p:cNvPr id="7" name="Picture 6"/>
            <p:cNvPicPr preferRelativeResize="0">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14261" y="2438400"/>
              <a:ext cx="4086923" cy="2302732"/>
            </a:xfrm>
            <a:prstGeom prst="rect">
              <a:avLst/>
            </a:prstGeom>
          </p:spPr>
        </p:pic>
      </p:grpSp>
      <p:grpSp>
        <p:nvGrpSpPr>
          <p:cNvPr id="13" name="Group 12"/>
          <p:cNvGrpSpPr/>
          <p:nvPr/>
        </p:nvGrpSpPr>
        <p:grpSpPr>
          <a:xfrm>
            <a:off x="9650486" y="1541801"/>
            <a:ext cx="2980571" cy="5296182"/>
            <a:chOff x="3822838" y="1705173"/>
            <a:chExt cx="3204489" cy="5694063"/>
          </a:xfrm>
        </p:grpSpPr>
        <p:grpSp>
          <p:nvGrpSpPr>
            <p:cNvPr id="8" name="Group 7"/>
            <p:cNvGrpSpPr/>
            <p:nvPr/>
          </p:nvGrpSpPr>
          <p:grpSpPr>
            <a:xfrm>
              <a:off x="3822838" y="1705173"/>
              <a:ext cx="3204489" cy="5694063"/>
              <a:chOff x="5281937" y="1621139"/>
              <a:chExt cx="3204489" cy="5694063"/>
            </a:xfrm>
          </p:grpSpPr>
          <p:pic>
            <p:nvPicPr>
              <p:cNvPr id="34" name="Picture 3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5400000">
                <a:off x="4037150" y="2865926"/>
                <a:ext cx="5694063" cy="3204489"/>
              </a:xfrm>
              <a:prstGeom prst="rect">
                <a:avLst/>
              </a:prstGeom>
            </p:spPr>
          </p:pic>
          <p:pic>
            <p:nvPicPr>
              <p:cNvPr id="35" name="Picture 34"/>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726299" y="2895673"/>
                <a:ext cx="2127204" cy="2948127"/>
              </a:xfrm>
              <a:prstGeom prst="rect">
                <a:avLst/>
              </a:prstGeom>
            </p:spPr>
          </p:pic>
        </p:grpSp>
        <p:sp>
          <p:nvSpPr>
            <p:cNvPr id="9" name="Rectangle 8"/>
            <p:cNvSpPr/>
            <p:nvPr/>
          </p:nvSpPr>
          <p:spPr bwMode="auto">
            <a:xfrm>
              <a:off x="4267200" y="5793217"/>
              <a:ext cx="2123090" cy="397376"/>
            </a:xfrm>
            <a:prstGeom prst="rect">
              <a:avLst/>
            </a:prstGeom>
            <a:solidFill>
              <a:srgbClr val="F1F1F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marL="0" marR="0" lvl="0" indent="0" algn="ctr"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44" name="Group 43"/>
          <p:cNvGrpSpPr/>
          <p:nvPr/>
        </p:nvGrpSpPr>
        <p:grpSpPr>
          <a:xfrm>
            <a:off x="648882" y="2482777"/>
            <a:ext cx="284732" cy="284732"/>
            <a:chOff x="5372581" y="1617831"/>
            <a:chExt cx="498112" cy="498112"/>
          </a:xfrm>
        </p:grpSpPr>
        <p:sp>
          <p:nvSpPr>
            <p:cNvPr id="45" name="Oval 44"/>
            <p:cNvSpPr/>
            <p:nvPr/>
          </p:nvSpPr>
          <p:spPr bwMode="auto">
            <a:xfrm>
              <a:off x="5372581" y="1617831"/>
              <a:ext cx="498112" cy="49811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marL="0" marR="0" lvl="0" indent="0" algn="ctr" defTabSz="932021"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6" name="Isosceles Triangle 197"/>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53" name="Group 52"/>
          <p:cNvGrpSpPr/>
          <p:nvPr/>
        </p:nvGrpSpPr>
        <p:grpSpPr>
          <a:xfrm>
            <a:off x="648882" y="4545518"/>
            <a:ext cx="284732" cy="284732"/>
            <a:chOff x="5372581" y="1617831"/>
            <a:chExt cx="498112" cy="498112"/>
          </a:xfrm>
        </p:grpSpPr>
        <p:sp>
          <p:nvSpPr>
            <p:cNvPr id="54" name="Oval 53"/>
            <p:cNvSpPr/>
            <p:nvPr/>
          </p:nvSpPr>
          <p:spPr bwMode="auto">
            <a:xfrm>
              <a:off x="5372581" y="1617831"/>
              <a:ext cx="498112" cy="49811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marL="0" marR="0" lvl="0" indent="0" algn="ctr" defTabSz="932021"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5" name="Isosceles Triangle 204"/>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4" name="Title 3"/>
          <p:cNvSpPr>
            <a:spLocks noGrp="1"/>
          </p:cNvSpPr>
          <p:nvPr>
            <p:ph type="title"/>
          </p:nvPr>
        </p:nvSpPr>
        <p:spPr/>
        <p:txBody>
          <a:bodyPr/>
          <a:lstStyle/>
          <a:p>
            <a:r>
              <a:rPr lang="en-US" dirty="0"/>
              <a:t>Making the lives of users easier</a:t>
            </a:r>
          </a:p>
        </p:txBody>
      </p:sp>
      <p:sp>
        <p:nvSpPr>
          <p:cNvPr id="65" name="Rectangle 64"/>
          <p:cNvSpPr/>
          <p:nvPr/>
        </p:nvSpPr>
        <p:spPr>
          <a:xfrm>
            <a:off x="960316" y="5084582"/>
            <a:ext cx="4651941" cy="521367"/>
          </a:xfrm>
          <a:prstGeom prst="rect">
            <a:avLst/>
          </a:prstGeom>
        </p:spPr>
        <p:txBody>
          <a:bodyPr wrap="square" lIns="182831" tIns="146264" rIns="182831" bIns="146264">
            <a:spAutoFit/>
          </a:bodyPr>
          <a:lstStyle/>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a:ea typeface="+mn-ea"/>
                <a:cs typeface="+mn-cs"/>
              </a:rPr>
              <a:t>Self-service password reset</a:t>
            </a:r>
          </a:p>
        </p:txBody>
      </p:sp>
      <p:grpSp>
        <p:nvGrpSpPr>
          <p:cNvPr id="66" name="Group 65"/>
          <p:cNvGrpSpPr/>
          <p:nvPr/>
        </p:nvGrpSpPr>
        <p:grpSpPr>
          <a:xfrm>
            <a:off x="648882" y="5188351"/>
            <a:ext cx="284732" cy="284732"/>
            <a:chOff x="5372581" y="1617831"/>
            <a:chExt cx="498112" cy="498112"/>
          </a:xfrm>
        </p:grpSpPr>
        <p:sp>
          <p:nvSpPr>
            <p:cNvPr id="67" name="Oval 66"/>
            <p:cNvSpPr/>
            <p:nvPr/>
          </p:nvSpPr>
          <p:spPr bwMode="auto">
            <a:xfrm>
              <a:off x="5372581" y="1617831"/>
              <a:ext cx="498112" cy="49811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marL="0" marR="0" lvl="0" indent="0" algn="ctr" defTabSz="932021"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 name="Isosceles Triangle 204"/>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69" name="Rectangle 68"/>
          <p:cNvSpPr/>
          <p:nvPr/>
        </p:nvSpPr>
        <p:spPr>
          <a:xfrm>
            <a:off x="960316" y="5707653"/>
            <a:ext cx="4651941" cy="521367"/>
          </a:xfrm>
          <a:prstGeom prst="rect">
            <a:avLst/>
          </a:prstGeom>
        </p:spPr>
        <p:txBody>
          <a:bodyPr wrap="square" lIns="182831" tIns="146264" rIns="182831" bIns="146264">
            <a:spAutoFit/>
          </a:bodyPr>
          <a:lstStyle/>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a:ea typeface="+mn-ea"/>
                <a:cs typeface="+mn-cs"/>
              </a:rPr>
              <a:t>Application access requests</a:t>
            </a:r>
          </a:p>
        </p:txBody>
      </p:sp>
      <p:grpSp>
        <p:nvGrpSpPr>
          <p:cNvPr id="70" name="Group 69"/>
          <p:cNvGrpSpPr/>
          <p:nvPr/>
        </p:nvGrpSpPr>
        <p:grpSpPr>
          <a:xfrm>
            <a:off x="648882" y="5831183"/>
            <a:ext cx="284732" cy="284732"/>
            <a:chOff x="5372581" y="1617831"/>
            <a:chExt cx="498112" cy="498112"/>
          </a:xfrm>
        </p:grpSpPr>
        <p:sp>
          <p:nvSpPr>
            <p:cNvPr id="71" name="Oval 70"/>
            <p:cNvSpPr/>
            <p:nvPr/>
          </p:nvSpPr>
          <p:spPr bwMode="auto">
            <a:xfrm>
              <a:off x="5372581" y="1617831"/>
              <a:ext cx="498112" cy="49811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marL="0" marR="0" lvl="0" indent="0" algn="ctr" defTabSz="932021"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2" name="Isosceles Triangle 204"/>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43" name="Rectangle 42"/>
          <p:cNvSpPr/>
          <p:nvPr/>
        </p:nvSpPr>
        <p:spPr>
          <a:xfrm>
            <a:off x="960316" y="3768560"/>
            <a:ext cx="4651941" cy="521367"/>
          </a:xfrm>
          <a:prstGeom prst="rect">
            <a:avLst/>
          </a:prstGeom>
        </p:spPr>
        <p:txBody>
          <a:bodyPr wrap="square" lIns="182831" tIns="146264" rIns="182831" bIns="146264">
            <a:spAutoFit/>
          </a:bodyPr>
          <a:lstStyle/>
          <a:p>
            <a:pPr marL="0" marR="0" lvl="0" indent="0" algn="l" defTabSz="913832" rtl="0" eaLnBrk="1" fontAlgn="base" latinLnBrk="0" hangingPunct="1">
              <a:lnSpc>
                <a:spcPct val="90000"/>
              </a:lnSpc>
              <a:spcBef>
                <a:spcPts val="60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a:ea typeface="+mn-ea"/>
                <a:cs typeface="+mn-cs"/>
              </a:rPr>
              <a:t>Integrated Office 365 app launching</a:t>
            </a:r>
          </a:p>
        </p:txBody>
      </p:sp>
      <p:grpSp>
        <p:nvGrpSpPr>
          <p:cNvPr id="47" name="Group 46"/>
          <p:cNvGrpSpPr/>
          <p:nvPr/>
        </p:nvGrpSpPr>
        <p:grpSpPr>
          <a:xfrm>
            <a:off x="648882" y="3902685"/>
            <a:ext cx="284732" cy="284732"/>
            <a:chOff x="5372581" y="1617831"/>
            <a:chExt cx="498112" cy="498112"/>
          </a:xfrm>
        </p:grpSpPr>
        <p:sp>
          <p:nvSpPr>
            <p:cNvPr id="48" name="Oval 47"/>
            <p:cNvSpPr/>
            <p:nvPr/>
          </p:nvSpPr>
          <p:spPr bwMode="auto">
            <a:xfrm>
              <a:off x="5372581" y="1617831"/>
              <a:ext cx="498112" cy="49811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marL="0" marR="0" lvl="0" indent="0" algn="ctr" defTabSz="932021"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9" name="Isosceles Triangle 204"/>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pic>
        <p:nvPicPr>
          <p:cNvPr id="15" name="Picture 1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63798" y="2727275"/>
            <a:ext cx="1979158" cy="2183745"/>
          </a:xfrm>
          <a:prstGeom prst="rect">
            <a:avLst/>
          </a:prstGeom>
        </p:spPr>
      </p:pic>
      <p:pic>
        <p:nvPicPr>
          <p:cNvPr id="18" name="Picture 17"/>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079318" y="4905194"/>
            <a:ext cx="1959513" cy="808144"/>
          </a:xfrm>
          <a:prstGeom prst="rect">
            <a:avLst/>
          </a:prstGeom>
        </p:spPr>
      </p:pic>
      <p:grpSp>
        <p:nvGrpSpPr>
          <p:cNvPr id="21" name="Group 20"/>
          <p:cNvGrpSpPr/>
          <p:nvPr/>
        </p:nvGrpSpPr>
        <p:grpSpPr>
          <a:xfrm>
            <a:off x="9301356" y="3853796"/>
            <a:ext cx="1522429" cy="2462866"/>
            <a:chOff x="9302542" y="4189980"/>
            <a:chExt cx="1522623" cy="2463180"/>
          </a:xfrm>
        </p:grpSpPr>
        <p:pic>
          <p:nvPicPr>
            <p:cNvPr id="38" name="Picture 37" descr="windows_phone_7_psd.png"/>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302542" y="4189980"/>
              <a:ext cx="1522623" cy="2463180"/>
            </a:xfrm>
            <a:prstGeom prst="rect">
              <a:avLst/>
            </a:prstGeom>
          </p:spPr>
        </p:pic>
        <p:pic>
          <p:nvPicPr>
            <p:cNvPr id="19" name="Picture 18"/>
            <p:cNvPicPr>
              <a:picLocks/>
            </p:cNvPicPr>
            <p:nvPr/>
          </p:nvPicPr>
          <p:blipFill>
            <a:blip r:embed="rId10" cstate="screen">
              <a:extLst>
                <a:ext uri="{28A0092B-C50C-407E-A947-70E740481C1C}">
                  <a14:useLocalDpi xmlns:a14="http://schemas.microsoft.com/office/drawing/2010/main"/>
                </a:ext>
              </a:extLst>
            </a:blip>
            <a:stretch>
              <a:fillRect/>
            </a:stretch>
          </p:blipFill>
          <p:spPr>
            <a:xfrm>
              <a:off x="9565746" y="4489586"/>
              <a:ext cx="950976" cy="1627632"/>
            </a:xfrm>
            <a:prstGeom prst="rect">
              <a:avLst/>
            </a:prstGeom>
          </p:spPr>
        </p:pic>
      </p:grpSp>
    </p:spTree>
    <p:extLst>
      <p:ext uri="{BB962C8B-B14F-4D97-AF65-F5344CB8AC3E}">
        <p14:creationId xmlns:p14="http://schemas.microsoft.com/office/powerpoint/2010/main" val="492901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D Domain Services</a:t>
            </a:r>
          </a:p>
        </p:txBody>
      </p:sp>
      <p:pic>
        <p:nvPicPr>
          <p:cNvPr id="3" name="Picture 2" descr="A close up of a logo&#10;&#10;Description generated with high confidence">
            <a:extLst>
              <a:ext uri="{FF2B5EF4-FFF2-40B4-BE49-F238E27FC236}">
                <a16:creationId xmlns:a16="http://schemas.microsoft.com/office/drawing/2014/main" id="{B2A7C202-7359-4F7F-8717-EFD510061744}"/>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9489" b="89416" l="7692" r="92308">
                        <a14:foregroundMark x1="7925" y1="68248" x2="7925" y2="68248"/>
                        <a14:foregroundMark x1="9324" y1="65328" x2="9324" y2="65328"/>
                        <a14:foregroundMark x1="68531" y1="74453" x2="68531" y2="74453"/>
                        <a14:foregroundMark x1="68531" y1="72628" x2="68531" y2="72628"/>
                        <a14:foregroundMark x1="50816" y1="52555" x2="50816" y2="52555"/>
                        <a14:foregroundMark x1="48019" y1="50730" x2="48019" y2="50730"/>
                        <a14:foregroundMark x1="45221" y1="50365" x2="45221" y2="50365"/>
                        <a14:foregroundMark x1="39627" y1="34307" x2="58741" y2="33212"/>
                        <a14:foregroundMark x1="58741" y1="33212" x2="60373" y2="60949"/>
                        <a14:foregroundMark x1="60373" y1="60949" x2="44988" y2="67153"/>
                        <a14:foregroundMark x1="44988" y1="67153" x2="35897" y2="47810"/>
                        <a14:foregroundMark x1="35897" y1="47810" x2="40326" y2="35766"/>
                        <a14:foregroundMark x1="45688" y1="40146" x2="45688" y2="40146"/>
                        <a14:foregroundMark x1="52448" y1="43796" x2="52448" y2="43796"/>
                        <a14:foregroundMark x1="53147" y1="49270" x2="53147" y2="49270"/>
                        <a14:foregroundMark x1="52681" y1="54015" x2="52681" y2="54015"/>
                        <a14:foregroundMark x1="54779" y1="52555" x2="54779" y2="52555"/>
                        <a14:foregroundMark x1="54079" y1="51460" x2="54079" y2="51460"/>
                        <a14:foregroundMark x1="49184" y1="55839" x2="49184" y2="55839"/>
                        <a14:foregroundMark x1="49650" y1="57664" x2="49650" y2="57664"/>
                        <a14:foregroundMark x1="49184" y1="58759" x2="49184" y2="58759"/>
                        <a14:foregroundMark x1="42657" y1="52555" x2="42657" y2="52555"/>
                        <a14:foregroundMark x1="43590" y1="52555" x2="43590" y2="52555"/>
                        <a14:foregroundMark x1="48951" y1="45255" x2="48951" y2="45255"/>
                        <a14:foregroundMark x1="49883" y1="43796" x2="49883" y2="43796"/>
                        <a14:foregroundMark x1="49883" y1="43796" x2="49883" y2="43796"/>
                        <a14:foregroundMark x1="55944" y1="51460" x2="55944" y2="51460"/>
                        <a14:foregroundMark x1="56643" y1="51825" x2="57110" y2="53285"/>
                        <a14:foregroundMark x1="57809" y1="55839" x2="57809" y2="56934"/>
                        <a14:foregroundMark x1="57343" y1="58394" x2="55245" y2="59124"/>
                        <a14:foregroundMark x1="53380" y1="59124" x2="53380" y2="59124"/>
                        <a14:foregroundMark x1="53147" y1="59124" x2="53147" y2="59124"/>
                        <a14:foregroundMark x1="53147" y1="59124" x2="53147" y2="59124"/>
                        <a14:foregroundMark x1="57343" y1="49635" x2="57343" y2="49635"/>
                        <a14:foregroundMark x1="57576" y1="47810" x2="57576" y2="47810"/>
                        <a14:foregroundMark x1="57576" y1="47810" x2="57576" y2="47810"/>
                        <a14:foregroundMark x1="77389" y1="40876" x2="77389" y2="40876"/>
                        <a14:foregroundMark x1="76923" y1="41241" x2="76923" y2="41241"/>
                        <a14:foregroundMark x1="75991" y1="41241" x2="75991" y2="41241"/>
                        <a14:foregroundMark x1="75991" y1="41241" x2="75991" y2="41241"/>
                        <a14:foregroundMark x1="75291" y1="46350" x2="75291" y2="46350"/>
                        <a14:foregroundMark x1="75058" y1="47445" x2="75058" y2="47445"/>
                        <a14:foregroundMark x1="75991" y1="48540" x2="75991" y2="48540"/>
                        <a14:foregroundMark x1="76457" y1="48540" x2="76690" y2="50730"/>
                        <a14:foregroundMark x1="75524" y1="55474" x2="75524" y2="55474"/>
                        <a14:foregroundMark x1="75524" y1="55839" x2="75524" y2="55839"/>
                        <a14:foregroundMark x1="75991" y1="64234" x2="75991" y2="64234"/>
                        <a14:foregroundMark x1="75991" y1="60949" x2="75991" y2="60949"/>
                        <a14:foregroundMark x1="27506" y1="70438" x2="27506" y2="70438"/>
                        <a14:foregroundMark x1="27972" y1="70438" x2="27972" y2="70438"/>
                        <a14:foregroundMark x1="29371" y1="70438" x2="29371" y2="70438"/>
                        <a14:foregroundMark x1="29371" y1="70438" x2="28205" y2="70438"/>
                        <a14:foregroundMark x1="26340" y1="70438" x2="26340" y2="70438"/>
                        <a14:foregroundMark x1="25641" y1="70438" x2="25641" y2="70438"/>
                        <a14:foregroundMark x1="25641" y1="75182" x2="25641" y2="75182"/>
                        <a14:foregroundMark x1="26340" y1="70803" x2="26340" y2="70803"/>
                        <a14:foregroundMark x1="92308" y1="64234" x2="92308" y2="64234"/>
                      </a14:backgroundRemoval>
                    </a14:imgEffect>
                  </a14:imgLayer>
                </a14:imgProps>
              </a:ext>
            </a:extLst>
          </a:blip>
          <a:srcRect l="5298" t="8651" r="2531" b="7650"/>
          <a:stretch/>
        </p:blipFill>
        <p:spPr>
          <a:xfrm>
            <a:off x="4007644" y="4106862"/>
            <a:ext cx="4744248" cy="2751616"/>
          </a:xfrm>
          <a:prstGeom prst="rect">
            <a:avLst/>
          </a:prstGeom>
          <a:ln>
            <a:noFill/>
          </a:ln>
        </p:spPr>
      </p:pic>
    </p:spTree>
    <p:extLst>
      <p:ext uri="{BB962C8B-B14F-4D97-AF65-F5344CB8AC3E}">
        <p14:creationId xmlns:p14="http://schemas.microsoft.com/office/powerpoint/2010/main" val="356717906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Azure AD DS look like?</a:t>
            </a:r>
          </a:p>
        </p:txBody>
      </p:sp>
      <p:sp>
        <p:nvSpPr>
          <p:cNvPr id="3" name="Rectangle 2">
            <a:extLst>
              <a:ext uri="{FF2B5EF4-FFF2-40B4-BE49-F238E27FC236}">
                <a16:creationId xmlns:a16="http://schemas.microsoft.com/office/drawing/2014/main" id="{C66CE4D7-7C50-4380-AC5E-79532F9FF7B7}"/>
              </a:ext>
            </a:extLst>
          </p:cNvPr>
          <p:cNvSpPr/>
          <p:nvPr/>
        </p:nvSpPr>
        <p:spPr>
          <a:xfrm>
            <a:off x="121444" y="6469062"/>
            <a:ext cx="2299219" cy="369332"/>
          </a:xfrm>
          <a:prstGeom prst="rect">
            <a:avLst/>
          </a:prstGeom>
        </p:spPr>
        <p:txBody>
          <a:bodyPr wrap="none">
            <a:spAutoFit/>
          </a:bodyPr>
          <a:lstStyle/>
          <a:p>
            <a:r>
              <a:rPr lang="en-US" dirty="0">
                <a:hlinkClick r:id="rId3"/>
              </a:rPr>
              <a:t>aka.ms/Azure/ADDS</a:t>
            </a:r>
            <a:r>
              <a:rPr lang="en-US" dirty="0"/>
              <a:t> </a:t>
            </a:r>
          </a:p>
        </p:txBody>
      </p:sp>
      <p:pic>
        <p:nvPicPr>
          <p:cNvPr id="5" name="Picture 4">
            <a:extLst>
              <a:ext uri="{FF2B5EF4-FFF2-40B4-BE49-F238E27FC236}">
                <a16:creationId xmlns:a16="http://schemas.microsoft.com/office/drawing/2014/main" id="{9E52EFCD-5C5A-4951-9197-1361877D1A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47634" y="2049462"/>
            <a:ext cx="1663724" cy="1100877"/>
          </a:xfrm>
          <a:prstGeom prst="rect">
            <a:avLst/>
          </a:prstGeom>
        </p:spPr>
      </p:pic>
      <p:pic>
        <p:nvPicPr>
          <p:cNvPr id="6" name="Picture 5">
            <a:extLst>
              <a:ext uri="{FF2B5EF4-FFF2-40B4-BE49-F238E27FC236}">
                <a16:creationId xmlns:a16="http://schemas.microsoft.com/office/drawing/2014/main" id="{76B340C4-1915-4D8F-AC92-9F6BF41623BC}"/>
              </a:ext>
            </a:extLst>
          </p:cNvPr>
          <p:cNvPicPr>
            <a:picLocks noChangeAspect="1"/>
          </p:cNvPicPr>
          <p:nvPr/>
        </p:nvPicPr>
        <p:blipFill>
          <a:blip r:embed="rId5"/>
          <a:stretch>
            <a:fillRect/>
          </a:stretch>
        </p:blipFill>
        <p:spPr>
          <a:xfrm>
            <a:off x="5732834" y="1794743"/>
            <a:ext cx="1610314" cy="1610314"/>
          </a:xfrm>
          <a:prstGeom prst="rect">
            <a:avLst/>
          </a:prstGeom>
        </p:spPr>
      </p:pic>
      <p:sp>
        <p:nvSpPr>
          <p:cNvPr id="8" name="Rectangle 7">
            <a:extLst>
              <a:ext uri="{FF2B5EF4-FFF2-40B4-BE49-F238E27FC236}">
                <a16:creationId xmlns:a16="http://schemas.microsoft.com/office/drawing/2014/main" id="{884781FA-A067-4A94-8EE8-FAD4284CAC96}"/>
              </a:ext>
            </a:extLst>
          </p:cNvPr>
          <p:cNvSpPr/>
          <p:nvPr/>
        </p:nvSpPr>
        <p:spPr bwMode="auto">
          <a:xfrm>
            <a:off x="644640" y="2354262"/>
            <a:ext cx="1646516" cy="1371600"/>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9" name="Group 8">
            <a:extLst>
              <a:ext uri="{FF2B5EF4-FFF2-40B4-BE49-F238E27FC236}">
                <a16:creationId xmlns:a16="http://schemas.microsoft.com/office/drawing/2014/main" id="{5F84E515-804A-4C0C-9340-DCB5CF448A87}"/>
              </a:ext>
            </a:extLst>
          </p:cNvPr>
          <p:cNvGrpSpPr/>
          <p:nvPr/>
        </p:nvGrpSpPr>
        <p:grpSpPr>
          <a:xfrm>
            <a:off x="1753105" y="3040062"/>
            <a:ext cx="458002" cy="468411"/>
            <a:chOff x="2086108" y="3113989"/>
            <a:chExt cx="458002" cy="468411"/>
          </a:xfrm>
        </p:grpSpPr>
        <p:sp>
          <p:nvSpPr>
            <p:cNvPr id="10" name="Hexagon 9">
              <a:extLst>
                <a:ext uri="{FF2B5EF4-FFF2-40B4-BE49-F238E27FC236}">
                  <a16:creationId xmlns:a16="http://schemas.microsoft.com/office/drawing/2014/main" id="{9E16E16F-82E8-4C8E-A464-91A51C5BB905}"/>
                </a:ext>
              </a:extLst>
            </p:cNvPr>
            <p:cNvSpPr/>
            <p:nvPr/>
          </p:nvSpPr>
          <p:spPr bwMode="auto">
            <a:xfrm>
              <a:off x="2086108" y="3181649"/>
              <a:ext cx="458002" cy="343501"/>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useBgFill="1">
          <p:nvSpPr>
            <p:cNvPr id="11" name="Rectangle 10">
              <a:extLst>
                <a:ext uri="{FF2B5EF4-FFF2-40B4-BE49-F238E27FC236}">
                  <a16:creationId xmlns:a16="http://schemas.microsoft.com/office/drawing/2014/main" id="{4449177C-D0B1-429B-85C8-B51EE596820C}"/>
                </a:ext>
              </a:extLst>
            </p:cNvPr>
            <p:cNvSpPr/>
            <p:nvPr/>
          </p:nvSpPr>
          <p:spPr bwMode="auto">
            <a:xfrm>
              <a:off x="2183664" y="3113989"/>
              <a:ext cx="267414" cy="4684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B0F0"/>
                  </a:solidFill>
                  <a:effectLst/>
                  <a:uLnTx/>
                  <a:uFillTx/>
                  <a:latin typeface="Segoe UI"/>
                  <a:ea typeface="+mn-ea"/>
                  <a:cs typeface="+mn-cs"/>
                </a:rPr>
                <a:t>…</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B0F0"/>
                </a:solidFill>
                <a:effectLst/>
                <a:uLnTx/>
                <a:uFillTx/>
                <a:latin typeface="Segoe UI"/>
                <a:ea typeface="+mn-ea"/>
                <a:cs typeface="+mn-cs"/>
              </a:endParaRPr>
            </a:p>
          </p:txBody>
        </p:sp>
      </p:grpSp>
      <p:pic>
        <p:nvPicPr>
          <p:cNvPr id="12" name="Picture 11">
            <a:extLst>
              <a:ext uri="{FF2B5EF4-FFF2-40B4-BE49-F238E27FC236}">
                <a16:creationId xmlns:a16="http://schemas.microsoft.com/office/drawing/2014/main" id="{DC998EA4-8E3D-4486-9CBA-CAA7358A48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46634" y="2354262"/>
            <a:ext cx="889046" cy="588277"/>
          </a:xfrm>
          <a:prstGeom prst="rect">
            <a:avLst/>
          </a:prstGeom>
        </p:spPr>
      </p:pic>
      <p:sp>
        <p:nvSpPr>
          <p:cNvPr id="13" name="TextBox 12">
            <a:extLst>
              <a:ext uri="{FF2B5EF4-FFF2-40B4-BE49-F238E27FC236}">
                <a16:creationId xmlns:a16="http://schemas.microsoft.com/office/drawing/2014/main" id="{45D14871-D8FC-4737-9239-0F67EE3525B4}"/>
              </a:ext>
            </a:extLst>
          </p:cNvPr>
          <p:cNvSpPr txBox="1"/>
          <p:nvPr/>
        </p:nvSpPr>
        <p:spPr>
          <a:xfrm>
            <a:off x="930950" y="3344862"/>
            <a:ext cx="15180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Virtual network</a:t>
            </a:r>
          </a:p>
        </p:txBody>
      </p:sp>
      <p:sp>
        <p:nvSpPr>
          <p:cNvPr id="14" name="TextBox 13">
            <a:extLst>
              <a:ext uri="{FF2B5EF4-FFF2-40B4-BE49-F238E27FC236}">
                <a16:creationId xmlns:a16="http://schemas.microsoft.com/office/drawing/2014/main" id="{AE06C0DB-3558-4D36-81D5-CA012945AD6B}"/>
              </a:ext>
            </a:extLst>
          </p:cNvPr>
          <p:cNvSpPr txBox="1"/>
          <p:nvPr/>
        </p:nvSpPr>
        <p:spPr>
          <a:xfrm>
            <a:off x="7802912" y="2890198"/>
            <a:ext cx="1587522"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zure AD Connect Sync</a:t>
            </a:r>
          </a:p>
        </p:txBody>
      </p:sp>
      <p:sp>
        <p:nvSpPr>
          <p:cNvPr id="15" name="TextBox 14">
            <a:extLst>
              <a:ext uri="{FF2B5EF4-FFF2-40B4-BE49-F238E27FC236}">
                <a16:creationId xmlns:a16="http://schemas.microsoft.com/office/drawing/2014/main" id="{D2AEB923-5AB0-4545-8359-B96FB0B3CC1F}"/>
              </a:ext>
            </a:extLst>
          </p:cNvPr>
          <p:cNvSpPr txBox="1"/>
          <p:nvPr/>
        </p:nvSpPr>
        <p:spPr>
          <a:xfrm>
            <a:off x="5380501" y="3742197"/>
            <a:ext cx="2314979"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zure AD tenant</a:t>
            </a:r>
          </a:p>
        </p:txBody>
      </p:sp>
      <p:sp>
        <p:nvSpPr>
          <p:cNvPr id="16" name="TextBox 15">
            <a:extLst>
              <a:ext uri="{FF2B5EF4-FFF2-40B4-BE49-F238E27FC236}">
                <a16:creationId xmlns:a16="http://schemas.microsoft.com/office/drawing/2014/main" id="{13E37CEA-301D-48CB-825C-0D2EB329DCC4}"/>
              </a:ext>
            </a:extLst>
          </p:cNvPr>
          <p:cNvSpPr txBox="1"/>
          <p:nvPr/>
        </p:nvSpPr>
        <p:spPr>
          <a:xfrm>
            <a:off x="9619034" y="3725862"/>
            <a:ext cx="2314979"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On-premises AD</a:t>
            </a:r>
          </a:p>
        </p:txBody>
      </p:sp>
      <p:sp>
        <p:nvSpPr>
          <p:cNvPr id="17" name="TextBox 16">
            <a:extLst>
              <a:ext uri="{FF2B5EF4-FFF2-40B4-BE49-F238E27FC236}">
                <a16:creationId xmlns:a16="http://schemas.microsoft.com/office/drawing/2014/main" id="{DDE27CB6-5C32-4227-BB3E-478DEEFA34A7}"/>
              </a:ext>
            </a:extLst>
          </p:cNvPr>
          <p:cNvSpPr txBox="1"/>
          <p:nvPr/>
        </p:nvSpPr>
        <p:spPr>
          <a:xfrm>
            <a:off x="532492" y="3730597"/>
            <a:ext cx="2314979"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Workloads/Apps in Azure IaaS</a:t>
            </a:r>
          </a:p>
        </p:txBody>
      </p:sp>
      <p:grpSp>
        <p:nvGrpSpPr>
          <p:cNvPr id="18" name="Group 17">
            <a:extLst>
              <a:ext uri="{FF2B5EF4-FFF2-40B4-BE49-F238E27FC236}">
                <a16:creationId xmlns:a16="http://schemas.microsoft.com/office/drawing/2014/main" id="{6D3FC4A2-1E29-48D3-AAD3-AA58F7CA0D61}"/>
              </a:ext>
            </a:extLst>
          </p:cNvPr>
          <p:cNvGrpSpPr/>
          <p:nvPr/>
        </p:nvGrpSpPr>
        <p:grpSpPr>
          <a:xfrm>
            <a:off x="8021108" y="2125662"/>
            <a:ext cx="956437" cy="250408"/>
            <a:chOff x="8354111" y="1820862"/>
            <a:chExt cx="956437" cy="250408"/>
          </a:xfrm>
        </p:grpSpPr>
        <p:sp>
          <p:nvSpPr>
            <p:cNvPr id="19" name="Freeform 20">
              <a:extLst>
                <a:ext uri="{FF2B5EF4-FFF2-40B4-BE49-F238E27FC236}">
                  <a16:creationId xmlns:a16="http://schemas.microsoft.com/office/drawing/2014/main" id="{0A31CAB5-2AE3-4662-9E4E-E5BA8134531D}"/>
                </a:ext>
              </a:extLst>
            </p:cNvPr>
            <p:cNvSpPr>
              <a:spLocks noEditPoints="1"/>
            </p:cNvSpPr>
            <p:nvPr/>
          </p:nvSpPr>
          <p:spPr bwMode="auto">
            <a:xfrm>
              <a:off x="8983094" y="1831779"/>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21">
              <a:extLst>
                <a:ext uri="{FF2B5EF4-FFF2-40B4-BE49-F238E27FC236}">
                  <a16:creationId xmlns:a16="http://schemas.microsoft.com/office/drawing/2014/main" id="{D5A9FB0C-CBF7-4B84-AF96-4D831E6722EC}"/>
                </a:ext>
              </a:extLst>
            </p:cNvPr>
            <p:cNvSpPr>
              <a:spLocks noEditPoints="1"/>
            </p:cNvSpPr>
            <p:nvPr/>
          </p:nvSpPr>
          <p:spPr bwMode="auto">
            <a:xfrm>
              <a:off x="8354111" y="1820862"/>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22">
              <a:extLst>
                <a:ext uri="{FF2B5EF4-FFF2-40B4-BE49-F238E27FC236}">
                  <a16:creationId xmlns:a16="http://schemas.microsoft.com/office/drawing/2014/main" id="{7A496E0E-92FB-423F-B374-DD2A2DAC2230}"/>
                </a:ext>
              </a:extLst>
            </p:cNvPr>
            <p:cNvSpPr>
              <a:spLocks noEditPoints="1"/>
            </p:cNvSpPr>
            <p:nvPr/>
          </p:nvSpPr>
          <p:spPr bwMode="auto">
            <a:xfrm>
              <a:off x="8725919" y="1822805"/>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805AE5A7-539E-4558-9D7C-ACB839E8877B}"/>
              </a:ext>
            </a:extLst>
          </p:cNvPr>
          <p:cNvGrpSpPr/>
          <p:nvPr/>
        </p:nvGrpSpPr>
        <p:grpSpPr>
          <a:xfrm>
            <a:off x="3801277" y="2103854"/>
            <a:ext cx="956437" cy="250408"/>
            <a:chOff x="8354111" y="1789732"/>
            <a:chExt cx="956437" cy="250408"/>
          </a:xfrm>
        </p:grpSpPr>
        <p:sp>
          <p:nvSpPr>
            <p:cNvPr id="23" name="Freeform 25">
              <a:extLst>
                <a:ext uri="{FF2B5EF4-FFF2-40B4-BE49-F238E27FC236}">
                  <a16:creationId xmlns:a16="http://schemas.microsoft.com/office/drawing/2014/main" id="{20F00AA9-506C-4D4D-B4EA-D7D28857DC7E}"/>
                </a:ext>
              </a:extLst>
            </p:cNvPr>
            <p:cNvSpPr>
              <a:spLocks noEditPoints="1"/>
            </p:cNvSpPr>
            <p:nvPr/>
          </p:nvSpPr>
          <p:spPr bwMode="auto">
            <a:xfrm>
              <a:off x="8983094" y="1800649"/>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 name="Freeform 26">
              <a:extLst>
                <a:ext uri="{FF2B5EF4-FFF2-40B4-BE49-F238E27FC236}">
                  <a16:creationId xmlns:a16="http://schemas.microsoft.com/office/drawing/2014/main" id="{B4E78A93-F0E4-4CA5-83B8-E2E9FEDC416F}"/>
                </a:ext>
              </a:extLst>
            </p:cNvPr>
            <p:cNvSpPr>
              <a:spLocks noEditPoints="1"/>
            </p:cNvSpPr>
            <p:nvPr/>
          </p:nvSpPr>
          <p:spPr bwMode="auto">
            <a:xfrm>
              <a:off x="8354111" y="1789732"/>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Freeform 27">
              <a:extLst>
                <a:ext uri="{FF2B5EF4-FFF2-40B4-BE49-F238E27FC236}">
                  <a16:creationId xmlns:a16="http://schemas.microsoft.com/office/drawing/2014/main" id="{7A822683-46F0-455A-8B79-96FF74160845}"/>
                </a:ext>
              </a:extLst>
            </p:cNvPr>
            <p:cNvSpPr>
              <a:spLocks noEditPoints="1"/>
            </p:cNvSpPr>
            <p:nvPr/>
          </p:nvSpPr>
          <p:spPr bwMode="auto">
            <a:xfrm>
              <a:off x="8725919" y="1791675"/>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6" name="TextBox 25">
            <a:extLst>
              <a:ext uri="{FF2B5EF4-FFF2-40B4-BE49-F238E27FC236}">
                <a16:creationId xmlns:a16="http://schemas.microsoft.com/office/drawing/2014/main" id="{FC657DC6-E3DF-46B1-850B-970CE9B39DAC}"/>
              </a:ext>
            </a:extLst>
          </p:cNvPr>
          <p:cNvSpPr txBox="1"/>
          <p:nvPr/>
        </p:nvSpPr>
        <p:spPr>
          <a:xfrm>
            <a:off x="550458" y="4487862"/>
            <a:ext cx="11763779" cy="204363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Users, group memberships and passwords are synced from your Azure AD tenant.</a:t>
            </a:r>
            <a:endParaRPr kumimoji="0" lang="en-US" sz="2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1"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imple to deploy:</a:t>
            </a:r>
          </a:p>
          <a:p>
            <a:pPr marL="809271"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loud-only directories – no additional sync/replication software needed!</a:t>
            </a:r>
          </a:p>
          <a:p>
            <a:pPr marL="809271"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Federated/synced directories – simply leverage your existing Azure AD Connect deployment.</a:t>
            </a:r>
          </a:p>
        </p:txBody>
      </p:sp>
      <p:cxnSp>
        <p:nvCxnSpPr>
          <p:cNvPr id="27" name="Straight Arrow Connector 26">
            <a:extLst>
              <a:ext uri="{FF2B5EF4-FFF2-40B4-BE49-F238E27FC236}">
                <a16:creationId xmlns:a16="http://schemas.microsoft.com/office/drawing/2014/main" id="{F61D7396-F6C5-450A-9A55-05C72341C40C}"/>
              </a:ext>
            </a:extLst>
          </p:cNvPr>
          <p:cNvCxnSpPr>
            <a:cxnSpLocks/>
          </p:cNvCxnSpPr>
          <p:nvPr/>
        </p:nvCxnSpPr>
        <p:spPr>
          <a:xfrm flipH="1">
            <a:off x="2941637" y="2720615"/>
            <a:ext cx="990600" cy="0"/>
          </a:xfrm>
          <a:prstGeom prst="straightConnector1">
            <a:avLst/>
          </a:prstGeom>
          <a:ln w="2857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C542589-E490-497C-BF16-F2A5EB9B54F9}"/>
              </a:ext>
            </a:extLst>
          </p:cNvPr>
          <p:cNvCxnSpPr/>
          <p:nvPr/>
        </p:nvCxnSpPr>
        <p:spPr>
          <a:xfrm flipH="1">
            <a:off x="7451292" y="2741252"/>
            <a:ext cx="2424545" cy="0"/>
          </a:xfrm>
          <a:prstGeom prst="straightConnector1">
            <a:avLst/>
          </a:prstGeom>
          <a:ln w="28575">
            <a:solidFill>
              <a:schemeClr val="tx1"/>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Rounded Rectangular Callout 32">
            <a:extLst>
              <a:ext uri="{FF2B5EF4-FFF2-40B4-BE49-F238E27FC236}">
                <a16:creationId xmlns:a16="http://schemas.microsoft.com/office/drawing/2014/main" id="{101C501D-E61C-4747-9A53-D7A4EA2839BA}"/>
              </a:ext>
            </a:extLst>
          </p:cNvPr>
          <p:cNvSpPr/>
          <p:nvPr/>
        </p:nvSpPr>
        <p:spPr bwMode="auto">
          <a:xfrm>
            <a:off x="9442903" y="1211262"/>
            <a:ext cx="2414134" cy="616567"/>
          </a:xfrm>
          <a:prstGeom prst="wedgeRoundRectCallout">
            <a:avLst>
              <a:gd name="adj1" fmla="val -60992"/>
              <a:gd name="adj2" fmla="val 136488"/>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Sync users, groups, passwords, SIDs to Azure AD</a:t>
            </a:r>
          </a:p>
        </p:txBody>
      </p:sp>
      <p:cxnSp>
        <p:nvCxnSpPr>
          <p:cNvPr id="30" name="Straight Arrow Connector 29">
            <a:extLst>
              <a:ext uri="{FF2B5EF4-FFF2-40B4-BE49-F238E27FC236}">
                <a16:creationId xmlns:a16="http://schemas.microsoft.com/office/drawing/2014/main" id="{49E76546-5C86-44C6-92A6-D6D72D209301}"/>
              </a:ext>
            </a:extLst>
          </p:cNvPr>
          <p:cNvCxnSpPr>
            <a:cxnSpLocks/>
          </p:cNvCxnSpPr>
          <p:nvPr/>
        </p:nvCxnSpPr>
        <p:spPr>
          <a:xfrm flipH="1">
            <a:off x="4592881" y="2720615"/>
            <a:ext cx="990600" cy="0"/>
          </a:xfrm>
          <a:prstGeom prst="straightConnector1">
            <a:avLst/>
          </a:prstGeom>
          <a:ln w="2857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Freeform 196">
            <a:extLst>
              <a:ext uri="{FF2B5EF4-FFF2-40B4-BE49-F238E27FC236}">
                <a16:creationId xmlns:a16="http://schemas.microsoft.com/office/drawing/2014/main" id="{5FBA43E8-8D97-472C-A4EF-C3B4305E1B77}"/>
              </a:ext>
            </a:extLst>
          </p:cNvPr>
          <p:cNvSpPr>
            <a:spLocks noChangeAspect="1" noEditPoints="1"/>
          </p:cNvSpPr>
          <p:nvPr/>
        </p:nvSpPr>
        <p:spPr bwMode="auto">
          <a:xfrm>
            <a:off x="4000806" y="2454063"/>
            <a:ext cx="489990" cy="483514"/>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 name="Rounded Rectangular Callout 32">
            <a:extLst>
              <a:ext uri="{FF2B5EF4-FFF2-40B4-BE49-F238E27FC236}">
                <a16:creationId xmlns:a16="http://schemas.microsoft.com/office/drawing/2014/main" id="{5C6D2188-8CC7-491C-819A-3A5ACB8E094B}"/>
              </a:ext>
            </a:extLst>
          </p:cNvPr>
          <p:cNvSpPr/>
          <p:nvPr/>
        </p:nvSpPr>
        <p:spPr bwMode="auto">
          <a:xfrm flipH="1">
            <a:off x="911008" y="1178176"/>
            <a:ext cx="2414134" cy="616567"/>
          </a:xfrm>
          <a:prstGeom prst="wedgeRoundRectCallout">
            <a:avLst>
              <a:gd name="adj1" fmla="val -60992"/>
              <a:gd name="adj2" fmla="val 136488"/>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Automatic background sync to your managed domain</a:t>
            </a:r>
          </a:p>
        </p:txBody>
      </p:sp>
      <p:sp>
        <p:nvSpPr>
          <p:cNvPr id="33" name="TextBox 32">
            <a:extLst>
              <a:ext uri="{FF2B5EF4-FFF2-40B4-BE49-F238E27FC236}">
                <a16:creationId xmlns:a16="http://schemas.microsoft.com/office/drawing/2014/main" id="{212CFEA0-4F6E-4D6A-82CB-53C00D4DEB1E}"/>
              </a:ext>
            </a:extLst>
          </p:cNvPr>
          <p:cNvSpPr txBox="1"/>
          <p:nvPr/>
        </p:nvSpPr>
        <p:spPr>
          <a:xfrm>
            <a:off x="3475037" y="2890198"/>
            <a:ext cx="1587522"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zure AD Domain Services</a:t>
            </a:r>
          </a:p>
        </p:txBody>
      </p:sp>
      <p:grpSp>
        <p:nvGrpSpPr>
          <p:cNvPr id="34" name="Group 33">
            <a:extLst>
              <a:ext uri="{FF2B5EF4-FFF2-40B4-BE49-F238E27FC236}">
                <a16:creationId xmlns:a16="http://schemas.microsoft.com/office/drawing/2014/main" id="{65BE3EFD-2BEB-4A3E-9418-0B56353F871B}"/>
              </a:ext>
            </a:extLst>
          </p:cNvPr>
          <p:cNvGrpSpPr/>
          <p:nvPr/>
        </p:nvGrpSpPr>
        <p:grpSpPr bwMode="black">
          <a:xfrm>
            <a:off x="1486330" y="2891687"/>
            <a:ext cx="310676" cy="239822"/>
            <a:chOff x="7010400" y="2133600"/>
            <a:chExt cx="1379538" cy="1065213"/>
          </a:xfrm>
          <a:solidFill>
            <a:srgbClr val="505050"/>
          </a:solidFill>
        </p:grpSpPr>
        <p:sp>
          <p:nvSpPr>
            <p:cNvPr id="35" name="Freeform 18">
              <a:extLst>
                <a:ext uri="{FF2B5EF4-FFF2-40B4-BE49-F238E27FC236}">
                  <a16:creationId xmlns:a16="http://schemas.microsoft.com/office/drawing/2014/main" id="{1446FFAD-10F9-452E-8FB0-BAE53802C659}"/>
                </a:ext>
              </a:extLst>
            </p:cNvPr>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19">
              <a:extLst>
                <a:ext uri="{FF2B5EF4-FFF2-40B4-BE49-F238E27FC236}">
                  <a16:creationId xmlns:a16="http://schemas.microsoft.com/office/drawing/2014/main" id="{D3A19012-0A21-41D9-816E-2F00F27A7BD1}"/>
                </a:ext>
              </a:extLst>
            </p:cNvPr>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0">
              <a:extLst>
                <a:ext uri="{FF2B5EF4-FFF2-40B4-BE49-F238E27FC236}">
                  <a16:creationId xmlns:a16="http://schemas.microsoft.com/office/drawing/2014/main" id="{C6AC822F-A58C-400F-A55D-46B8FC47FC92}"/>
                </a:ext>
              </a:extLst>
            </p:cNvPr>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21">
              <a:extLst>
                <a:ext uri="{FF2B5EF4-FFF2-40B4-BE49-F238E27FC236}">
                  <a16:creationId xmlns:a16="http://schemas.microsoft.com/office/drawing/2014/main" id="{8C9F6D2A-9964-4046-A89E-2DE222F6E951}"/>
                </a:ext>
              </a:extLst>
            </p:cNvPr>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22">
              <a:extLst>
                <a:ext uri="{FF2B5EF4-FFF2-40B4-BE49-F238E27FC236}">
                  <a16:creationId xmlns:a16="http://schemas.microsoft.com/office/drawing/2014/main" id="{16023377-FE47-4A6C-9CB6-32E816437503}"/>
                </a:ext>
              </a:extLst>
            </p:cNvPr>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23">
              <a:extLst>
                <a:ext uri="{FF2B5EF4-FFF2-40B4-BE49-F238E27FC236}">
                  <a16:creationId xmlns:a16="http://schemas.microsoft.com/office/drawing/2014/main" id="{1FBE9C5D-FA26-44AD-A317-F0762D0CC275}"/>
                </a:ext>
              </a:extLst>
            </p:cNvPr>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24">
              <a:extLst>
                <a:ext uri="{FF2B5EF4-FFF2-40B4-BE49-F238E27FC236}">
                  <a16:creationId xmlns:a16="http://schemas.microsoft.com/office/drawing/2014/main" id="{459512BC-E242-4C8B-99E7-C376754A79F6}"/>
                </a:ext>
              </a:extLst>
            </p:cNvPr>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25">
              <a:extLst>
                <a:ext uri="{FF2B5EF4-FFF2-40B4-BE49-F238E27FC236}">
                  <a16:creationId xmlns:a16="http://schemas.microsoft.com/office/drawing/2014/main" id="{BBAC6A05-E94E-4849-9FFA-D9BF0AA28C8B}"/>
                </a:ext>
              </a:extLst>
            </p:cNvPr>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26">
              <a:extLst>
                <a:ext uri="{FF2B5EF4-FFF2-40B4-BE49-F238E27FC236}">
                  <a16:creationId xmlns:a16="http://schemas.microsoft.com/office/drawing/2014/main" id="{73FDFC4E-E81C-4F34-8D0A-063D70246F3A}"/>
                </a:ext>
              </a:extLst>
            </p:cNvPr>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27">
              <a:extLst>
                <a:ext uri="{FF2B5EF4-FFF2-40B4-BE49-F238E27FC236}">
                  <a16:creationId xmlns:a16="http://schemas.microsoft.com/office/drawing/2014/main" id="{D5AD01C8-CA59-48AC-A9B6-15E26A83E76A}"/>
                </a:ext>
              </a:extLst>
            </p:cNvPr>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28">
              <a:extLst>
                <a:ext uri="{FF2B5EF4-FFF2-40B4-BE49-F238E27FC236}">
                  <a16:creationId xmlns:a16="http://schemas.microsoft.com/office/drawing/2014/main" id="{8573E2DB-8E90-4B97-ADD0-52D4E103866F}"/>
                </a:ext>
              </a:extLst>
            </p:cNvPr>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29">
              <a:extLst>
                <a:ext uri="{FF2B5EF4-FFF2-40B4-BE49-F238E27FC236}">
                  <a16:creationId xmlns:a16="http://schemas.microsoft.com/office/drawing/2014/main" id="{39CD65BD-AF30-4B56-BE35-FF103174EB90}"/>
                </a:ext>
              </a:extLst>
            </p:cNvPr>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0">
              <a:extLst>
                <a:ext uri="{FF2B5EF4-FFF2-40B4-BE49-F238E27FC236}">
                  <a16:creationId xmlns:a16="http://schemas.microsoft.com/office/drawing/2014/main" id="{83C4F1F4-8F3B-4E82-9A01-AFEB9C2390C8}"/>
                </a:ext>
              </a:extLst>
            </p:cNvPr>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31">
              <a:extLst>
                <a:ext uri="{FF2B5EF4-FFF2-40B4-BE49-F238E27FC236}">
                  <a16:creationId xmlns:a16="http://schemas.microsoft.com/office/drawing/2014/main" id="{EF4CCEF7-1004-41C1-8070-0659E88278A0}"/>
                </a:ext>
              </a:extLst>
            </p:cNvPr>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32">
              <a:extLst>
                <a:ext uri="{FF2B5EF4-FFF2-40B4-BE49-F238E27FC236}">
                  <a16:creationId xmlns:a16="http://schemas.microsoft.com/office/drawing/2014/main" id="{5467F10E-0E8F-475A-816C-8AE569682326}"/>
                </a:ext>
              </a:extLst>
            </p:cNvPr>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33">
              <a:extLst>
                <a:ext uri="{FF2B5EF4-FFF2-40B4-BE49-F238E27FC236}">
                  <a16:creationId xmlns:a16="http://schemas.microsoft.com/office/drawing/2014/main" id="{42C173A8-6D93-45BF-B78E-B54D1928CA8B}"/>
                </a:ext>
              </a:extLst>
            </p:cNvPr>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34">
              <a:extLst>
                <a:ext uri="{FF2B5EF4-FFF2-40B4-BE49-F238E27FC236}">
                  <a16:creationId xmlns:a16="http://schemas.microsoft.com/office/drawing/2014/main" id="{74C66A46-073A-4647-B39D-C96EC283EFE0}"/>
                </a:ext>
              </a:extLst>
            </p:cNvPr>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35">
              <a:extLst>
                <a:ext uri="{FF2B5EF4-FFF2-40B4-BE49-F238E27FC236}">
                  <a16:creationId xmlns:a16="http://schemas.microsoft.com/office/drawing/2014/main" id="{42464C46-7B1C-4A01-AC0F-EAD85AB0F7B6}"/>
                </a:ext>
              </a:extLst>
            </p:cNvPr>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36">
              <a:extLst>
                <a:ext uri="{FF2B5EF4-FFF2-40B4-BE49-F238E27FC236}">
                  <a16:creationId xmlns:a16="http://schemas.microsoft.com/office/drawing/2014/main" id="{443D28A8-8586-438D-B9B1-2C884EAD17A2}"/>
                </a:ext>
              </a:extLst>
            </p:cNvPr>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37">
              <a:extLst>
                <a:ext uri="{FF2B5EF4-FFF2-40B4-BE49-F238E27FC236}">
                  <a16:creationId xmlns:a16="http://schemas.microsoft.com/office/drawing/2014/main" id="{511A7DF1-AE68-4EA4-9CD8-721505F06331}"/>
                </a:ext>
              </a:extLst>
            </p:cNvPr>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38">
              <a:extLst>
                <a:ext uri="{FF2B5EF4-FFF2-40B4-BE49-F238E27FC236}">
                  <a16:creationId xmlns:a16="http://schemas.microsoft.com/office/drawing/2014/main" id="{19B02891-9B90-4E86-A6E2-AE8745DB5FC6}"/>
                </a:ext>
              </a:extLst>
            </p:cNvPr>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39">
              <a:extLst>
                <a:ext uri="{FF2B5EF4-FFF2-40B4-BE49-F238E27FC236}">
                  <a16:creationId xmlns:a16="http://schemas.microsoft.com/office/drawing/2014/main" id="{FAC447D9-8D7E-495E-995B-4F58300DC3BC}"/>
                </a:ext>
              </a:extLst>
            </p:cNvPr>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40">
              <a:extLst>
                <a:ext uri="{FF2B5EF4-FFF2-40B4-BE49-F238E27FC236}">
                  <a16:creationId xmlns:a16="http://schemas.microsoft.com/office/drawing/2014/main" id="{1E0A916E-F342-4DF5-BA1D-427B3BC994FD}"/>
                </a:ext>
              </a:extLst>
            </p:cNvPr>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41">
              <a:extLst>
                <a:ext uri="{FF2B5EF4-FFF2-40B4-BE49-F238E27FC236}">
                  <a16:creationId xmlns:a16="http://schemas.microsoft.com/office/drawing/2014/main" id="{D7CA87C1-576A-472D-B60C-FA51B39E820C}"/>
                </a:ext>
              </a:extLst>
            </p:cNvPr>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42">
              <a:extLst>
                <a:ext uri="{FF2B5EF4-FFF2-40B4-BE49-F238E27FC236}">
                  <a16:creationId xmlns:a16="http://schemas.microsoft.com/office/drawing/2014/main" id="{6BA46974-1F82-4F1C-864F-C1AB32597D52}"/>
                </a:ext>
              </a:extLst>
            </p:cNvPr>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43">
              <a:extLst>
                <a:ext uri="{FF2B5EF4-FFF2-40B4-BE49-F238E27FC236}">
                  <a16:creationId xmlns:a16="http://schemas.microsoft.com/office/drawing/2014/main" id="{8898E1C7-433A-4A78-A54D-95C8D78378AC}"/>
                </a:ext>
              </a:extLst>
            </p:cNvPr>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44">
              <a:extLst>
                <a:ext uri="{FF2B5EF4-FFF2-40B4-BE49-F238E27FC236}">
                  <a16:creationId xmlns:a16="http://schemas.microsoft.com/office/drawing/2014/main" id="{D2F84D99-7814-4E77-87A4-D1D43225482C}"/>
                </a:ext>
              </a:extLst>
            </p:cNvPr>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45">
              <a:extLst>
                <a:ext uri="{FF2B5EF4-FFF2-40B4-BE49-F238E27FC236}">
                  <a16:creationId xmlns:a16="http://schemas.microsoft.com/office/drawing/2014/main" id="{4D94CCE7-E665-4FD9-AA45-6A74AC9A2710}"/>
                </a:ext>
              </a:extLst>
            </p:cNvPr>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46">
              <a:extLst>
                <a:ext uri="{FF2B5EF4-FFF2-40B4-BE49-F238E27FC236}">
                  <a16:creationId xmlns:a16="http://schemas.microsoft.com/office/drawing/2014/main" id="{349B79C8-ECC6-4C9F-8FFF-7B0484D3EC04}"/>
                </a:ext>
              </a:extLst>
            </p:cNvPr>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47">
              <a:extLst>
                <a:ext uri="{FF2B5EF4-FFF2-40B4-BE49-F238E27FC236}">
                  <a16:creationId xmlns:a16="http://schemas.microsoft.com/office/drawing/2014/main" id="{DF7F530F-CC9A-437F-B10C-7564A7FDCB49}"/>
                </a:ext>
              </a:extLst>
            </p:cNvPr>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48">
              <a:extLst>
                <a:ext uri="{FF2B5EF4-FFF2-40B4-BE49-F238E27FC236}">
                  <a16:creationId xmlns:a16="http://schemas.microsoft.com/office/drawing/2014/main" id="{7B543513-E334-4E25-B788-A42287B8F0D0}"/>
                </a:ext>
              </a:extLst>
            </p:cNvPr>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49">
              <a:extLst>
                <a:ext uri="{FF2B5EF4-FFF2-40B4-BE49-F238E27FC236}">
                  <a16:creationId xmlns:a16="http://schemas.microsoft.com/office/drawing/2014/main" id="{E108C507-701C-45E4-ABEC-E40E561DDF6B}"/>
                </a:ext>
              </a:extLst>
            </p:cNvPr>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50">
              <a:extLst>
                <a:ext uri="{FF2B5EF4-FFF2-40B4-BE49-F238E27FC236}">
                  <a16:creationId xmlns:a16="http://schemas.microsoft.com/office/drawing/2014/main" id="{CE305A09-58E0-4F73-ABBD-D73933B64C75}"/>
                </a:ext>
              </a:extLst>
            </p:cNvPr>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51">
              <a:extLst>
                <a:ext uri="{FF2B5EF4-FFF2-40B4-BE49-F238E27FC236}">
                  <a16:creationId xmlns:a16="http://schemas.microsoft.com/office/drawing/2014/main" id="{A0C11A67-FFF1-4BF7-BEA3-65B9070C630C}"/>
                </a:ext>
              </a:extLst>
            </p:cNvPr>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52">
              <a:extLst>
                <a:ext uri="{FF2B5EF4-FFF2-40B4-BE49-F238E27FC236}">
                  <a16:creationId xmlns:a16="http://schemas.microsoft.com/office/drawing/2014/main" id="{9AE72442-98D1-4C0C-8A81-79B76D5295C0}"/>
                </a:ext>
              </a:extLst>
            </p:cNvPr>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53">
              <a:extLst>
                <a:ext uri="{FF2B5EF4-FFF2-40B4-BE49-F238E27FC236}">
                  <a16:creationId xmlns:a16="http://schemas.microsoft.com/office/drawing/2014/main" id="{EDF966A0-4A3D-4D2A-B8A1-C5FD6DF9688A}"/>
                </a:ext>
              </a:extLst>
            </p:cNvPr>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71" name="Freeform 54">
              <a:extLst>
                <a:ext uri="{FF2B5EF4-FFF2-40B4-BE49-F238E27FC236}">
                  <a16:creationId xmlns:a16="http://schemas.microsoft.com/office/drawing/2014/main" id="{DDE04AA3-9425-412D-8C47-2B2F0C07A9ED}"/>
                </a:ext>
              </a:extLst>
            </p:cNvPr>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55">
              <a:extLst>
                <a:ext uri="{FF2B5EF4-FFF2-40B4-BE49-F238E27FC236}">
                  <a16:creationId xmlns:a16="http://schemas.microsoft.com/office/drawing/2014/main" id="{F6AD5959-F729-4552-994B-7D50BB0A5F77}"/>
                </a:ext>
              </a:extLst>
            </p:cNvPr>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73" name="Freeform 56">
              <a:extLst>
                <a:ext uri="{FF2B5EF4-FFF2-40B4-BE49-F238E27FC236}">
                  <a16:creationId xmlns:a16="http://schemas.microsoft.com/office/drawing/2014/main" id="{56464CA9-02EF-423F-B6F1-784CECAC676A}"/>
                </a:ext>
              </a:extLst>
            </p:cNvPr>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74" name="Freeform 57">
              <a:extLst>
                <a:ext uri="{FF2B5EF4-FFF2-40B4-BE49-F238E27FC236}">
                  <a16:creationId xmlns:a16="http://schemas.microsoft.com/office/drawing/2014/main" id="{48EEE517-D399-4D5C-8873-B929AD3D8034}"/>
                </a:ext>
              </a:extLst>
            </p:cNvPr>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58">
              <a:extLst>
                <a:ext uri="{FF2B5EF4-FFF2-40B4-BE49-F238E27FC236}">
                  <a16:creationId xmlns:a16="http://schemas.microsoft.com/office/drawing/2014/main" id="{855A2363-B6BA-475E-9715-69A31337C01F}"/>
                </a:ext>
              </a:extLst>
            </p:cNvPr>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59">
              <a:extLst>
                <a:ext uri="{FF2B5EF4-FFF2-40B4-BE49-F238E27FC236}">
                  <a16:creationId xmlns:a16="http://schemas.microsoft.com/office/drawing/2014/main" id="{A83A6661-5C8C-49B1-A4E1-76C7CFFF828D}"/>
                </a:ext>
              </a:extLst>
            </p:cNvPr>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60">
              <a:extLst>
                <a:ext uri="{FF2B5EF4-FFF2-40B4-BE49-F238E27FC236}">
                  <a16:creationId xmlns:a16="http://schemas.microsoft.com/office/drawing/2014/main" id="{483E93AD-A473-4802-8A8E-B07F03DE8092}"/>
                </a:ext>
              </a:extLst>
            </p:cNvPr>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61">
              <a:extLst>
                <a:ext uri="{FF2B5EF4-FFF2-40B4-BE49-F238E27FC236}">
                  <a16:creationId xmlns:a16="http://schemas.microsoft.com/office/drawing/2014/main" id="{B561128D-6E81-48A8-BA9A-1341902461F0}"/>
                </a:ext>
              </a:extLst>
            </p:cNvPr>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62">
              <a:extLst>
                <a:ext uri="{FF2B5EF4-FFF2-40B4-BE49-F238E27FC236}">
                  <a16:creationId xmlns:a16="http://schemas.microsoft.com/office/drawing/2014/main" id="{6B6DC973-CA27-4DF4-9BF5-5E96BCC371D7}"/>
                </a:ext>
              </a:extLst>
            </p:cNvPr>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63">
              <a:extLst>
                <a:ext uri="{FF2B5EF4-FFF2-40B4-BE49-F238E27FC236}">
                  <a16:creationId xmlns:a16="http://schemas.microsoft.com/office/drawing/2014/main" id="{40C056C2-661F-4383-A751-80FF4290F612}"/>
                </a:ext>
              </a:extLst>
            </p:cNvPr>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64">
              <a:extLst>
                <a:ext uri="{FF2B5EF4-FFF2-40B4-BE49-F238E27FC236}">
                  <a16:creationId xmlns:a16="http://schemas.microsoft.com/office/drawing/2014/main" id="{D3FB44A8-884B-4AF0-BC27-FFA330222044}"/>
                </a:ext>
              </a:extLst>
            </p:cNvPr>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094E2B9A-B609-4476-B896-38743577088E}"/>
              </a:ext>
            </a:extLst>
          </p:cNvPr>
          <p:cNvGrpSpPr/>
          <p:nvPr/>
        </p:nvGrpSpPr>
        <p:grpSpPr>
          <a:xfrm>
            <a:off x="1181530" y="3120287"/>
            <a:ext cx="364490" cy="261342"/>
            <a:chOff x="1492615" y="2860796"/>
            <a:chExt cx="572014" cy="410138"/>
          </a:xfrm>
        </p:grpSpPr>
        <p:grpSp>
          <p:nvGrpSpPr>
            <p:cNvPr id="83" name="Group 82">
              <a:extLst>
                <a:ext uri="{FF2B5EF4-FFF2-40B4-BE49-F238E27FC236}">
                  <a16:creationId xmlns:a16="http://schemas.microsoft.com/office/drawing/2014/main" id="{11A9E199-E4EF-4DB1-B57E-F739C0C7B2C7}"/>
                </a:ext>
              </a:extLst>
            </p:cNvPr>
            <p:cNvGrpSpPr/>
            <p:nvPr/>
          </p:nvGrpSpPr>
          <p:grpSpPr bwMode="black">
            <a:xfrm>
              <a:off x="1492615" y="2860796"/>
              <a:ext cx="487562" cy="376367"/>
              <a:chOff x="7010400" y="2133600"/>
              <a:chExt cx="1379538" cy="1065213"/>
            </a:xfrm>
            <a:solidFill>
              <a:srgbClr val="505050"/>
            </a:solidFill>
          </p:grpSpPr>
          <p:sp>
            <p:nvSpPr>
              <p:cNvPr id="85" name="Freeform 66">
                <a:extLst>
                  <a:ext uri="{FF2B5EF4-FFF2-40B4-BE49-F238E27FC236}">
                    <a16:creationId xmlns:a16="http://schemas.microsoft.com/office/drawing/2014/main" id="{06CBF9FC-6B30-4B59-8052-668DE4CCE21B}"/>
                  </a:ext>
                </a:extLst>
              </p:cNvPr>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86" name="Freeform 67">
                <a:extLst>
                  <a:ext uri="{FF2B5EF4-FFF2-40B4-BE49-F238E27FC236}">
                    <a16:creationId xmlns:a16="http://schemas.microsoft.com/office/drawing/2014/main" id="{FA56CCF2-0E7C-4551-BD10-9C89B16615F8}"/>
                  </a:ext>
                </a:extLst>
              </p:cNvPr>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87" name="Freeform 68">
                <a:extLst>
                  <a:ext uri="{FF2B5EF4-FFF2-40B4-BE49-F238E27FC236}">
                    <a16:creationId xmlns:a16="http://schemas.microsoft.com/office/drawing/2014/main" id="{95E1971C-38AF-42D5-8B7E-58E16C6CD93D}"/>
                  </a:ext>
                </a:extLst>
              </p:cNvPr>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69">
                <a:extLst>
                  <a:ext uri="{FF2B5EF4-FFF2-40B4-BE49-F238E27FC236}">
                    <a16:creationId xmlns:a16="http://schemas.microsoft.com/office/drawing/2014/main" id="{6CE3FE25-F036-4507-B738-F68E4918550B}"/>
                  </a:ext>
                </a:extLst>
              </p:cNvPr>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70">
                <a:extLst>
                  <a:ext uri="{FF2B5EF4-FFF2-40B4-BE49-F238E27FC236}">
                    <a16:creationId xmlns:a16="http://schemas.microsoft.com/office/drawing/2014/main" id="{B2C337EB-81FD-4056-9BB6-B896FE7C26FF}"/>
                  </a:ext>
                </a:extLst>
              </p:cNvPr>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90" name="Freeform 71">
                <a:extLst>
                  <a:ext uri="{FF2B5EF4-FFF2-40B4-BE49-F238E27FC236}">
                    <a16:creationId xmlns:a16="http://schemas.microsoft.com/office/drawing/2014/main" id="{3A085010-D161-4369-84D0-CF6532DE5BF2}"/>
                  </a:ext>
                </a:extLst>
              </p:cNvPr>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91" name="Freeform 72">
                <a:extLst>
                  <a:ext uri="{FF2B5EF4-FFF2-40B4-BE49-F238E27FC236}">
                    <a16:creationId xmlns:a16="http://schemas.microsoft.com/office/drawing/2014/main" id="{CF1C8DDB-1286-465A-BCBE-5C40033D9E6B}"/>
                  </a:ext>
                </a:extLst>
              </p:cNvPr>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92" name="Freeform 73">
                <a:extLst>
                  <a:ext uri="{FF2B5EF4-FFF2-40B4-BE49-F238E27FC236}">
                    <a16:creationId xmlns:a16="http://schemas.microsoft.com/office/drawing/2014/main" id="{71B976BE-8E4B-4966-84ED-C33BF691A988}"/>
                  </a:ext>
                </a:extLst>
              </p:cNvPr>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93" name="Freeform 74">
                <a:extLst>
                  <a:ext uri="{FF2B5EF4-FFF2-40B4-BE49-F238E27FC236}">
                    <a16:creationId xmlns:a16="http://schemas.microsoft.com/office/drawing/2014/main" id="{1F2D414E-CDA4-4056-9B3D-078A07F169D6}"/>
                  </a:ext>
                </a:extLst>
              </p:cNvPr>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94" name="Freeform 75">
                <a:extLst>
                  <a:ext uri="{FF2B5EF4-FFF2-40B4-BE49-F238E27FC236}">
                    <a16:creationId xmlns:a16="http://schemas.microsoft.com/office/drawing/2014/main" id="{9D510150-3CCD-425A-ABC2-A496275D9277}"/>
                  </a:ext>
                </a:extLst>
              </p:cNvPr>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95" name="Freeform 76">
                <a:extLst>
                  <a:ext uri="{FF2B5EF4-FFF2-40B4-BE49-F238E27FC236}">
                    <a16:creationId xmlns:a16="http://schemas.microsoft.com/office/drawing/2014/main" id="{CC52AFBA-DF1E-47C7-A39A-E403BB5FE7F1}"/>
                  </a:ext>
                </a:extLst>
              </p:cNvPr>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96" name="Freeform 77">
                <a:extLst>
                  <a:ext uri="{FF2B5EF4-FFF2-40B4-BE49-F238E27FC236}">
                    <a16:creationId xmlns:a16="http://schemas.microsoft.com/office/drawing/2014/main" id="{8846A1E9-A2D1-40EC-92A7-4EB9CFC1223B}"/>
                  </a:ext>
                </a:extLst>
              </p:cNvPr>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97" name="Freeform 78">
                <a:extLst>
                  <a:ext uri="{FF2B5EF4-FFF2-40B4-BE49-F238E27FC236}">
                    <a16:creationId xmlns:a16="http://schemas.microsoft.com/office/drawing/2014/main" id="{7B37BF6F-7DDF-46A2-9F82-754AA688AF4E}"/>
                  </a:ext>
                </a:extLst>
              </p:cNvPr>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79">
                <a:extLst>
                  <a:ext uri="{FF2B5EF4-FFF2-40B4-BE49-F238E27FC236}">
                    <a16:creationId xmlns:a16="http://schemas.microsoft.com/office/drawing/2014/main" id="{0E06A760-3B90-4ED2-AF76-15CCEBFF25E3}"/>
                  </a:ext>
                </a:extLst>
              </p:cNvPr>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80">
                <a:extLst>
                  <a:ext uri="{FF2B5EF4-FFF2-40B4-BE49-F238E27FC236}">
                    <a16:creationId xmlns:a16="http://schemas.microsoft.com/office/drawing/2014/main" id="{5C02B411-8857-498A-B209-874FD031C79F}"/>
                  </a:ext>
                </a:extLst>
              </p:cNvPr>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81">
                <a:extLst>
                  <a:ext uri="{FF2B5EF4-FFF2-40B4-BE49-F238E27FC236}">
                    <a16:creationId xmlns:a16="http://schemas.microsoft.com/office/drawing/2014/main" id="{077D8AA2-5240-436A-BDF5-F8D19CD7ED4A}"/>
                  </a:ext>
                </a:extLst>
              </p:cNvPr>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82">
                <a:extLst>
                  <a:ext uri="{FF2B5EF4-FFF2-40B4-BE49-F238E27FC236}">
                    <a16:creationId xmlns:a16="http://schemas.microsoft.com/office/drawing/2014/main" id="{72A2E1C4-35FE-4066-9059-3511475B8517}"/>
                  </a:ext>
                </a:extLst>
              </p:cNvPr>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83">
                <a:extLst>
                  <a:ext uri="{FF2B5EF4-FFF2-40B4-BE49-F238E27FC236}">
                    <a16:creationId xmlns:a16="http://schemas.microsoft.com/office/drawing/2014/main" id="{F875B41D-CB38-4406-8B96-FE4A69ECAC7E}"/>
                  </a:ext>
                </a:extLst>
              </p:cNvPr>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84">
                <a:extLst>
                  <a:ext uri="{FF2B5EF4-FFF2-40B4-BE49-F238E27FC236}">
                    <a16:creationId xmlns:a16="http://schemas.microsoft.com/office/drawing/2014/main" id="{1D73C010-DFC7-4DEA-BD54-9D569E8E5DF8}"/>
                  </a:ext>
                </a:extLst>
              </p:cNvPr>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85">
                <a:extLst>
                  <a:ext uri="{FF2B5EF4-FFF2-40B4-BE49-F238E27FC236}">
                    <a16:creationId xmlns:a16="http://schemas.microsoft.com/office/drawing/2014/main" id="{99324340-7155-4ECF-A3C7-0C0BA8C32768}"/>
                  </a:ext>
                </a:extLst>
              </p:cNvPr>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6">
                <a:extLst>
                  <a:ext uri="{FF2B5EF4-FFF2-40B4-BE49-F238E27FC236}">
                    <a16:creationId xmlns:a16="http://schemas.microsoft.com/office/drawing/2014/main" id="{498BCA65-62E0-477F-A9A0-8DBAD940E739}"/>
                  </a:ext>
                </a:extLst>
              </p:cNvPr>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87">
                <a:extLst>
                  <a:ext uri="{FF2B5EF4-FFF2-40B4-BE49-F238E27FC236}">
                    <a16:creationId xmlns:a16="http://schemas.microsoft.com/office/drawing/2014/main" id="{625C7073-3FFC-4D07-909D-4B06AA4E4D60}"/>
                  </a:ext>
                </a:extLst>
              </p:cNvPr>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88">
                <a:extLst>
                  <a:ext uri="{FF2B5EF4-FFF2-40B4-BE49-F238E27FC236}">
                    <a16:creationId xmlns:a16="http://schemas.microsoft.com/office/drawing/2014/main" id="{81DED582-6A34-4746-A88E-63CF657EED48}"/>
                  </a:ext>
                </a:extLst>
              </p:cNvPr>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89">
                <a:extLst>
                  <a:ext uri="{FF2B5EF4-FFF2-40B4-BE49-F238E27FC236}">
                    <a16:creationId xmlns:a16="http://schemas.microsoft.com/office/drawing/2014/main" id="{1C20004B-A842-43EA-998D-29D00AD5BA7E}"/>
                  </a:ext>
                </a:extLst>
              </p:cNvPr>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90">
                <a:extLst>
                  <a:ext uri="{FF2B5EF4-FFF2-40B4-BE49-F238E27FC236}">
                    <a16:creationId xmlns:a16="http://schemas.microsoft.com/office/drawing/2014/main" id="{14F3D087-66FD-4A40-BA8B-AC5575F2A057}"/>
                  </a:ext>
                </a:extLst>
              </p:cNvPr>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91">
                <a:extLst>
                  <a:ext uri="{FF2B5EF4-FFF2-40B4-BE49-F238E27FC236}">
                    <a16:creationId xmlns:a16="http://schemas.microsoft.com/office/drawing/2014/main" id="{76D7C758-40CA-498B-B6E5-A559CC833693}"/>
                  </a:ext>
                </a:extLst>
              </p:cNvPr>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92">
                <a:extLst>
                  <a:ext uri="{FF2B5EF4-FFF2-40B4-BE49-F238E27FC236}">
                    <a16:creationId xmlns:a16="http://schemas.microsoft.com/office/drawing/2014/main" id="{8CF8F33B-B6EA-48F9-BDA9-77DB2CAC0DED}"/>
                  </a:ext>
                </a:extLst>
              </p:cNvPr>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12" name="Freeform 93">
                <a:extLst>
                  <a:ext uri="{FF2B5EF4-FFF2-40B4-BE49-F238E27FC236}">
                    <a16:creationId xmlns:a16="http://schemas.microsoft.com/office/drawing/2014/main" id="{E24FF0DD-603F-4423-B23D-179520BEDAEB}"/>
                  </a:ext>
                </a:extLst>
              </p:cNvPr>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13" name="Freeform 94">
                <a:extLst>
                  <a:ext uri="{FF2B5EF4-FFF2-40B4-BE49-F238E27FC236}">
                    <a16:creationId xmlns:a16="http://schemas.microsoft.com/office/drawing/2014/main" id="{7F529E0F-4BBB-4473-827B-3F3189D72F30}"/>
                  </a:ext>
                </a:extLst>
              </p:cNvPr>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14" name="Freeform 95">
                <a:extLst>
                  <a:ext uri="{FF2B5EF4-FFF2-40B4-BE49-F238E27FC236}">
                    <a16:creationId xmlns:a16="http://schemas.microsoft.com/office/drawing/2014/main" id="{9B8BD88D-F76F-4A3A-856A-6B0E7285354E}"/>
                  </a:ext>
                </a:extLst>
              </p:cNvPr>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15" name="Freeform 96">
                <a:extLst>
                  <a:ext uri="{FF2B5EF4-FFF2-40B4-BE49-F238E27FC236}">
                    <a16:creationId xmlns:a16="http://schemas.microsoft.com/office/drawing/2014/main" id="{DF52E0DB-C882-4E7D-9ECA-A5C1A93A436C}"/>
                  </a:ext>
                </a:extLst>
              </p:cNvPr>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97">
                <a:extLst>
                  <a:ext uri="{FF2B5EF4-FFF2-40B4-BE49-F238E27FC236}">
                    <a16:creationId xmlns:a16="http://schemas.microsoft.com/office/drawing/2014/main" id="{C47A2B5E-C411-46A3-B5B6-746EA3A07FD6}"/>
                  </a:ext>
                </a:extLst>
              </p:cNvPr>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98">
                <a:extLst>
                  <a:ext uri="{FF2B5EF4-FFF2-40B4-BE49-F238E27FC236}">
                    <a16:creationId xmlns:a16="http://schemas.microsoft.com/office/drawing/2014/main" id="{313EA320-D340-4CA9-99C1-44E533C91580}"/>
                  </a:ext>
                </a:extLst>
              </p:cNvPr>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99">
                <a:extLst>
                  <a:ext uri="{FF2B5EF4-FFF2-40B4-BE49-F238E27FC236}">
                    <a16:creationId xmlns:a16="http://schemas.microsoft.com/office/drawing/2014/main" id="{3C33434B-FD91-4A97-8E79-30F560A7E159}"/>
                  </a:ext>
                </a:extLst>
              </p:cNvPr>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100">
                <a:extLst>
                  <a:ext uri="{FF2B5EF4-FFF2-40B4-BE49-F238E27FC236}">
                    <a16:creationId xmlns:a16="http://schemas.microsoft.com/office/drawing/2014/main" id="{5FED6BCB-A9C6-4B67-82AD-7D01EFE2B1F3}"/>
                  </a:ext>
                </a:extLst>
              </p:cNvPr>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101">
                <a:extLst>
                  <a:ext uri="{FF2B5EF4-FFF2-40B4-BE49-F238E27FC236}">
                    <a16:creationId xmlns:a16="http://schemas.microsoft.com/office/drawing/2014/main" id="{F7BFF014-2F1D-4CA1-A286-C95CF6317120}"/>
                  </a:ext>
                </a:extLst>
              </p:cNvPr>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102">
                <a:extLst>
                  <a:ext uri="{FF2B5EF4-FFF2-40B4-BE49-F238E27FC236}">
                    <a16:creationId xmlns:a16="http://schemas.microsoft.com/office/drawing/2014/main" id="{2ADF69C3-1F8C-472D-B124-E0C675819B4C}"/>
                  </a:ext>
                </a:extLst>
              </p:cNvPr>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103">
                <a:extLst>
                  <a:ext uri="{FF2B5EF4-FFF2-40B4-BE49-F238E27FC236}">
                    <a16:creationId xmlns:a16="http://schemas.microsoft.com/office/drawing/2014/main" id="{DFC629C9-5770-4DF8-B215-72C1B0B75C24}"/>
                  </a:ext>
                </a:extLst>
              </p:cNvPr>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104">
                <a:extLst>
                  <a:ext uri="{FF2B5EF4-FFF2-40B4-BE49-F238E27FC236}">
                    <a16:creationId xmlns:a16="http://schemas.microsoft.com/office/drawing/2014/main" id="{486E8C12-4DF5-4253-B9FC-C71D7DC86877}"/>
                  </a:ext>
                </a:extLst>
              </p:cNvPr>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105">
                <a:extLst>
                  <a:ext uri="{FF2B5EF4-FFF2-40B4-BE49-F238E27FC236}">
                    <a16:creationId xmlns:a16="http://schemas.microsoft.com/office/drawing/2014/main" id="{3C9A9716-2752-4A47-849E-C2CBD650AF83}"/>
                  </a:ext>
                </a:extLst>
              </p:cNvPr>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106">
                <a:extLst>
                  <a:ext uri="{FF2B5EF4-FFF2-40B4-BE49-F238E27FC236}">
                    <a16:creationId xmlns:a16="http://schemas.microsoft.com/office/drawing/2014/main" id="{6EC07BF2-05AA-4866-99C0-0649A2C2A309}"/>
                  </a:ext>
                </a:extLst>
              </p:cNvPr>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107">
                <a:extLst>
                  <a:ext uri="{FF2B5EF4-FFF2-40B4-BE49-F238E27FC236}">
                    <a16:creationId xmlns:a16="http://schemas.microsoft.com/office/drawing/2014/main" id="{9A2659D3-69BF-48D7-A816-5F67159044DA}"/>
                  </a:ext>
                </a:extLst>
              </p:cNvPr>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108">
                <a:extLst>
                  <a:ext uri="{FF2B5EF4-FFF2-40B4-BE49-F238E27FC236}">
                    <a16:creationId xmlns:a16="http://schemas.microsoft.com/office/drawing/2014/main" id="{B7B95974-5290-456E-8573-4CAA652CD649}"/>
                  </a:ext>
                </a:extLst>
              </p:cNvPr>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109">
                <a:extLst>
                  <a:ext uri="{FF2B5EF4-FFF2-40B4-BE49-F238E27FC236}">
                    <a16:creationId xmlns:a16="http://schemas.microsoft.com/office/drawing/2014/main" id="{8974CCE1-2B58-4ADC-8C5B-9F53AE67B614}"/>
                  </a:ext>
                </a:extLst>
              </p:cNvPr>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110">
                <a:extLst>
                  <a:ext uri="{FF2B5EF4-FFF2-40B4-BE49-F238E27FC236}">
                    <a16:creationId xmlns:a16="http://schemas.microsoft.com/office/drawing/2014/main" id="{D981A6D1-F4DA-4660-A3BC-6B4D8C882929}"/>
                  </a:ext>
                </a:extLst>
              </p:cNvPr>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111">
                <a:extLst>
                  <a:ext uri="{FF2B5EF4-FFF2-40B4-BE49-F238E27FC236}">
                    <a16:creationId xmlns:a16="http://schemas.microsoft.com/office/drawing/2014/main" id="{8E5B4FE9-B7C2-4902-84A6-8364A5B7B9EE}"/>
                  </a:ext>
                </a:extLst>
              </p:cNvPr>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112">
                <a:extLst>
                  <a:ext uri="{FF2B5EF4-FFF2-40B4-BE49-F238E27FC236}">
                    <a16:creationId xmlns:a16="http://schemas.microsoft.com/office/drawing/2014/main" id="{14029922-2196-4C17-917F-DAD1FEEEC53B}"/>
                  </a:ext>
                </a:extLst>
              </p:cNvPr>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grpSp>
        <p:sp>
          <p:nvSpPr>
            <p:cNvPr id="84" name="Freeform 113">
              <a:extLst>
                <a:ext uri="{FF2B5EF4-FFF2-40B4-BE49-F238E27FC236}">
                  <a16:creationId xmlns:a16="http://schemas.microsoft.com/office/drawing/2014/main" id="{FD720649-7076-4BF6-98DF-7B05A16A5EB4}"/>
                </a:ext>
              </a:extLst>
            </p:cNvPr>
            <p:cNvSpPr>
              <a:spLocks noChangeAspect="1"/>
            </p:cNvSpPr>
            <p:nvPr/>
          </p:nvSpPr>
          <p:spPr bwMode="black">
            <a:xfrm>
              <a:off x="1866552" y="3074252"/>
              <a:ext cx="198077" cy="19668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marL="0" marR="0" lvl="0" indent="0" algn="ctr" defTabSz="672139"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2" name="Group 131">
            <a:extLst>
              <a:ext uri="{FF2B5EF4-FFF2-40B4-BE49-F238E27FC236}">
                <a16:creationId xmlns:a16="http://schemas.microsoft.com/office/drawing/2014/main" id="{92C58695-2311-44C1-B8BF-A9D49CC68DE8}"/>
              </a:ext>
            </a:extLst>
          </p:cNvPr>
          <p:cNvGrpSpPr/>
          <p:nvPr/>
        </p:nvGrpSpPr>
        <p:grpSpPr bwMode="black">
          <a:xfrm>
            <a:off x="731415" y="3104471"/>
            <a:ext cx="310676" cy="239822"/>
            <a:chOff x="7010400" y="2133600"/>
            <a:chExt cx="1379538" cy="1065213"/>
          </a:xfrm>
          <a:solidFill>
            <a:srgbClr val="505050"/>
          </a:solidFill>
        </p:grpSpPr>
        <p:sp>
          <p:nvSpPr>
            <p:cNvPr id="133" name="Freeform 116">
              <a:extLst>
                <a:ext uri="{FF2B5EF4-FFF2-40B4-BE49-F238E27FC236}">
                  <a16:creationId xmlns:a16="http://schemas.microsoft.com/office/drawing/2014/main" id="{C34F62D1-2EA5-46BF-9BCB-3F935F44FF6F}"/>
                </a:ext>
              </a:extLst>
            </p:cNvPr>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117">
              <a:extLst>
                <a:ext uri="{FF2B5EF4-FFF2-40B4-BE49-F238E27FC236}">
                  <a16:creationId xmlns:a16="http://schemas.microsoft.com/office/drawing/2014/main" id="{F17A1F1D-763E-498D-B69B-5B9928906A11}"/>
                </a:ext>
              </a:extLst>
            </p:cNvPr>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118">
              <a:extLst>
                <a:ext uri="{FF2B5EF4-FFF2-40B4-BE49-F238E27FC236}">
                  <a16:creationId xmlns:a16="http://schemas.microsoft.com/office/drawing/2014/main" id="{9DD10E52-1407-4408-BCDC-BA54092B7815}"/>
                </a:ext>
              </a:extLst>
            </p:cNvPr>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119">
              <a:extLst>
                <a:ext uri="{FF2B5EF4-FFF2-40B4-BE49-F238E27FC236}">
                  <a16:creationId xmlns:a16="http://schemas.microsoft.com/office/drawing/2014/main" id="{635DC14C-451E-4CAD-A6D1-F6E0C1911430}"/>
                </a:ext>
              </a:extLst>
            </p:cNvPr>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120">
              <a:extLst>
                <a:ext uri="{FF2B5EF4-FFF2-40B4-BE49-F238E27FC236}">
                  <a16:creationId xmlns:a16="http://schemas.microsoft.com/office/drawing/2014/main" id="{1547C687-67E1-43F4-877A-6884FEB3A74D}"/>
                </a:ext>
              </a:extLst>
            </p:cNvPr>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121">
              <a:extLst>
                <a:ext uri="{FF2B5EF4-FFF2-40B4-BE49-F238E27FC236}">
                  <a16:creationId xmlns:a16="http://schemas.microsoft.com/office/drawing/2014/main" id="{33B8AFEB-463F-4454-A890-6CE861FED1BC}"/>
                </a:ext>
              </a:extLst>
            </p:cNvPr>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122">
              <a:extLst>
                <a:ext uri="{FF2B5EF4-FFF2-40B4-BE49-F238E27FC236}">
                  <a16:creationId xmlns:a16="http://schemas.microsoft.com/office/drawing/2014/main" id="{30F4CA1B-FEE1-4EC5-AECB-9515FFAA7ECD}"/>
                </a:ext>
              </a:extLst>
            </p:cNvPr>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123">
              <a:extLst>
                <a:ext uri="{FF2B5EF4-FFF2-40B4-BE49-F238E27FC236}">
                  <a16:creationId xmlns:a16="http://schemas.microsoft.com/office/drawing/2014/main" id="{E015FD28-389B-4F6D-82AB-CB425A88B37B}"/>
                </a:ext>
              </a:extLst>
            </p:cNvPr>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124">
              <a:extLst>
                <a:ext uri="{FF2B5EF4-FFF2-40B4-BE49-F238E27FC236}">
                  <a16:creationId xmlns:a16="http://schemas.microsoft.com/office/drawing/2014/main" id="{0D5AF24F-386C-4577-901C-5224CD40D72D}"/>
                </a:ext>
              </a:extLst>
            </p:cNvPr>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125">
              <a:extLst>
                <a:ext uri="{FF2B5EF4-FFF2-40B4-BE49-F238E27FC236}">
                  <a16:creationId xmlns:a16="http://schemas.microsoft.com/office/drawing/2014/main" id="{941B7F11-A123-4A2E-9362-985066407250}"/>
                </a:ext>
              </a:extLst>
            </p:cNvPr>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126">
              <a:extLst>
                <a:ext uri="{FF2B5EF4-FFF2-40B4-BE49-F238E27FC236}">
                  <a16:creationId xmlns:a16="http://schemas.microsoft.com/office/drawing/2014/main" id="{233F9DF1-3909-442F-A580-1E25A9F11BBE}"/>
                </a:ext>
              </a:extLst>
            </p:cNvPr>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44" name="Freeform 127">
              <a:extLst>
                <a:ext uri="{FF2B5EF4-FFF2-40B4-BE49-F238E27FC236}">
                  <a16:creationId xmlns:a16="http://schemas.microsoft.com/office/drawing/2014/main" id="{A5E24ADC-3C62-4EDD-BE69-03E235244DB3}"/>
                </a:ext>
              </a:extLst>
            </p:cNvPr>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128">
              <a:extLst>
                <a:ext uri="{FF2B5EF4-FFF2-40B4-BE49-F238E27FC236}">
                  <a16:creationId xmlns:a16="http://schemas.microsoft.com/office/drawing/2014/main" id="{0EC74EA4-4B03-4956-8DB2-C60FC3FF9F46}"/>
                </a:ext>
              </a:extLst>
            </p:cNvPr>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46" name="Freeform 129">
              <a:extLst>
                <a:ext uri="{FF2B5EF4-FFF2-40B4-BE49-F238E27FC236}">
                  <a16:creationId xmlns:a16="http://schemas.microsoft.com/office/drawing/2014/main" id="{65275633-4906-4245-8673-12F7AF850FE7}"/>
                </a:ext>
              </a:extLst>
            </p:cNvPr>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130">
              <a:extLst>
                <a:ext uri="{FF2B5EF4-FFF2-40B4-BE49-F238E27FC236}">
                  <a16:creationId xmlns:a16="http://schemas.microsoft.com/office/drawing/2014/main" id="{4AF8F732-6774-43FC-8CB2-3E8656746DAF}"/>
                </a:ext>
              </a:extLst>
            </p:cNvPr>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131">
              <a:extLst>
                <a:ext uri="{FF2B5EF4-FFF2-40B4-BE49-F238E27FC236}">
                  <a16:creationId xmlns:a16="http://schemas.microsoft.com/office/drawing/2014/main" id="{324C3574-5825-4E3B-9B96-3AC046F06EEC}"/>
                </a:ext>
              </a:extLst>
            </p:cNvPr>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132">
              <a:extLst>
                <a:ext uri="{FF2B5EF4-FFF2-40B4-BE49-F238E27FC236}">
                  <a16:creationId xmlns:a16="http://schemas.microsoft.com/office/drawing/2014/main" id="{8D0ADB1C-86F8-4F35-B591-19972B724314}"/>
                </a:ext>
              </a:extLst>
            </p:cNvPr>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133">
              <a:extLst>
                <a:ext uri="{FF2B5EF4-FFF2-40B4-BE49-F238E27FC236}">
                  <a16:creationId xmlns:a16="http://schemas.microsoft.com/office/drawing/2014/main" id="{AC2AD2BF-922D-47CD-A4D1-EA21CE5600E0}"/>
                </a:ext>
              </a:extLst>
            </p:cNvPr>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134">
              <a:extLst>
                <a:ext uri="{FF2B5EF4-FFF2-40B4-BE49-F238E27FC236}">
                  <a16:creationId xmlns:a16="http://schemas.microsoft.com/office/drawing/2014/main" id="{879126B1-28DA-4159-AB27-68FDC95FF40C}"/>
                </a:ext>
              </a:extLst>
            </p:cNvPr>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135">
              <a:extLst>
                <a:ext uri="{FF2B5EF4-FFF2-40B4-BE49-F238E27FC236}">
                  <a16:creationId xmlns:a16="http://schemas.microsoft.com/office/drawing/2014/main" id="{E06973BA-6D15-4F61-A2BD-EB843D8938F6}"/>
                </a:ext>
              </a:extLst>
            </p:cNvPr>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136">
              <a:extLst>
                <a:ext uri="{FF2B5EF4-FFF2-40B4-BE49-F238E27FC236}">
                  <a16:creationId xmlns:a16="http://schemas.microsoft.com/office/drawing/2014/main" id="{60B6D661-DF07-4FCA-A2D1-DE93053CCE2E}"/>
                </a:ext>
              </a:extLst>
            </p:cNvPr>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137">
              <a:extLst>
                <a:ext uri="{FF2B5EF4-FFF2-40B4-BE49-F238E27FC236}">
                  <a16:creationId xmlns:a16="http://schemas.microsoft.com/office/drawing/2014/main" id="{18B0E525-7A4B-466C-BD31-28FBFB5F9D5C}"/>
                </a:ext>
              </a:extLst>
            </p:cNvPr>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138">
              <a:extLst>
                <a:ext uri="{FF2B5EF4-FFF2-40B4-BE49-F238E27FC236}">
                  <a16:creationId xmlns:a16="http://schemas.microsoft.com/office/drawing/2014/main" id="{F166EC64-074E-45B4-9300-0656B8AC4441}"/>
                </a:ext>
              </a:extLst>
            </p:cNvPr>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139">
              <a:extLst>
                <a:ext uri="{FF2B5EF4-FFF2-40B4-BE49-F238E27FC236}">
                  <a16:creationId xmlns:a16="http://schemas.microsoft.com/office/drawing/2014/main" id="{E4F15625-93BD-4FAF-B796-74C060BB6A58}"/>
                </a:ext>
              </a:extLst>
            </p:cNvPr>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140">
              <a:extLst>
                <a:ext uri="{FF2B5EF4-FFF2-40B4-BE49-F238E27FC236}">
                  <a16:creationId xmlns:a16="http://schemas.microsoft.com/office/drawing/2014/main" id="{FD3F1A33-D1BE-48A8-A78E-84D3BD992E34}"/>
                </a:ext>
              </a:extLst>
            </p:cNvPr>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141">
              <a:extLst>
                <a:ext uri="{FF2B5EF4-FFF2-40B4-BE49-F238E27FC236}">
                  <a16:creationId xmlns:a16="http://schemas.microsoft.com/office/drawing/2014/main" id="{759D7786-FDF1-43BB-9BCB-A85A4DFF2042}"/>
                </a:ext>
              </a:extLst>
            </p:cNvPr>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142">
              <a:extLst>
                <a:ext uri="{FF2B5EF4-FFF2-40B4-BE49-F238E27FC236}">
                  <a16:creationId xmlns:a16="http://schemas.microsoft.com/office/drawing/2014/main" id="{16DD604E-58D7-486D-A249-288D06125238}"/>
                </a:ext>
              </a:extLst>
            </p:cNvPr>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143">
              <a:extLst>
                <a:ext uri="{FF2B5EF4-FFF2-40B4-BE49-F238E27FC236}">
                  <a16:creationId xmlns:a16="http://schemas.microsoft.com/office/drawing/2014/main" id="{23A1EE14-3C22-4C45-8D12-9B2B940FB374}"/>
                </a:ext>
              </a:extLst>
            </p:cNvPr>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144">
              <a:extLst>
                <a:ext uri="{FF2B5EF4-FFF2-40B4-BE49-F238E27FC236}">
                  <a16:creationId xmlns:a16="http://schemas.microsoft.com/office/drawing/2014/main" id="{F3D3903E-82D5-43BA-B467-EA4BD2D09A18}"/>
                </a:ext>
              </a:extLst>
            </p:cNvPr>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145">
              <a:extLst>
                <a:ext uri="{FF2B5EF4-FFF2-40B4-BE49-F238E27FC236}">
                  <a16:creationId xmlns:a16="http://schemas.microsoft.com/office/drawing/2014/main" id="{D1B87110-FCF0-441A-B685-94796D411F74}"/>
                </a:ext>
              </a:extLst>
            </p:cNvPr>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146">
              <a:extLst>
                <a:ext uri="{FF2B5EF4-FFF2-40B4-BE49-F238E27FC236}">
                  <a16:creationId xmlns:a16="http://schemas.microsoft.com/office/drawing/2014/main" id="{4B67655B-BF98-4DEF-84F2-0AC7AB0C7444}"/>
                </a:ext>
              </a:extLst>
            </p:cNvPr>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147">
              <a:extLst>
                <a:ext uri="{FF2B5EF4-FFF2-40B4-BE49-F238E27FC236}">
                  <a16:creationId xmlns:a16="http://schemas.microsoft.com/office/drawing/2014/main" id="{D6830204-A4C6-4DCC-8A65-0E633137CD7D}"/>
                </a:ext>
              </a:extLst>
            </p:cNvPr>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148">
              <a:extLst>
                <a:ext uri="{FF2B5EF4-FFF2-40B4-BE49-F238E27FC236}">
                  <a16:creationId xmlns:a16="http://schemas.microsoft.com/office/drawing/2014/main" id="{ED3F3119-7852-4BA9-A64C-FC1C3DF1D317}"/>
                </a:ext>
              </a:extLst>
            </p:cNvPr>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149">
              <a:extLst>
                <a:ext uri="{FF2B5EF4-FFF2-40B4-BE49-F238E27FC236}">
                  <a16:creationId xmlns:a16="http://schemas.microsoft.com/office/drawing/2014/main" id="{FA652F21-A938-4BAB-A829-7EB6245F5181}"/>
                </a:ext>
              </a:extLst>
            </p:cNvPr>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67" name="Freeform 150">
              <a:extLst>
                <a:ext uri="{FF2B5EF4-FFF2-40B4-BE49-F238E27FC236}">
                  <a16:creationId xmlns:a16="http://schemas.microsoft.com/office/drawing/2014/main" id="{790FDBF3-CA9B-4C17-80B9-BA2770D1F400}"/>
                </a:ext>
              </a:extLst>
            </p:cNvPr>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68" name="Freeform 151">
              <a:extLst>
                <a:ext uri="{FF2B5EF4-FFF2-40B4-BE49-F238E27FC236}">
                  <a16:creationId xmlns:a16="http://schemas.microsoft.com/office/drawing/2014/main" id="{A30FDA85-B363-4F29-B043-BF45122F3184}"/>
                </a:ext>
              </a:extLst>
            </p:cNvPr>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69" name="Freeform 152">
              <a:extLst>
                <a:ext uri="{FF2B5EF4-FFF2-40B4-BE49-F238E27FC236}">
                  <a16:creationId xmlns:a16="http://schemas.microsoft.com/office/drawing/2014/main" id="{D5A3F6B5-EF76-417A-8F70-61818661CE91}"/>
                </a:ext>
              </a:extLst>
            </p:cNvPr>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153">
              <a:extLst>
                <a:ext uri="{FF2B5EF4-FFF2-40B4-BE49-F238E27FC236}">
                  <a16:creationId xmlns:a16="http://schemas.microsoft.com/office/drawing/2014/main" id="{9D79FBCD-507A-440B-8904-3AA5A5620A34}"/>
                </a:ext>
              </a:extLst>
            </p:cNvPr>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71" name="Freeform 154">
              <a:extLst>
                <a:ext uri="{FF2B5EF4-FFF2-40B4-BE49-F238E27FC236}">
                  <a16:creationId xmlns:a16="http://schemas.microsoft.com/office/drawing/2014/main" id="{8EAC942A-7278-475F-A81E-AE3A42D5DE03}"/>
                </a:ext>
              </a:extLst>
            </p:cNvPr>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72" name="Freeform 155">
              <a:extLst>
                <a:ext uri="{FF2B5EF4-FFF2-40B4-BE49-F238E27FC236}">
                  <a16:creationId xmlns:a16="http://schemas.microsoft.com/office/drawing/2014/main" id="{3504E67C-9C5E-4EB6-8BDA-1478D9EDDE3C}"/>
                </a:ext>
              </a:extLst>
            </p:cNvPr>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73" name="Freeform 156">
              <a:extLst>
                <a:ext uri="{FF2B5EF4-FFF2-40B4-BE49-F238E27FC236}">
                  <a16:creationId xmlns:a16="http://schemas.microsoft.com/office/drawing/2014/main" id="{FF9FC094-E25A-46B5-87C2-14F999E9468E}"/>
                </a:ext>
              </a:extLst>
            </p:cNvPr>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74" name="Freeform 157">
              <a:extLst>
                <a:ext uri="{FF2B5EF4-FFF2-40B4-BE49-F238E27FC236}">
                  <a16:creationId xmlns:a16="http://schemas.microsoft.com/office/drawing/2014/main" id="{16272CDD-D141-4BEF-B7D9-A9C3C2FA8647}"/>
                </a:ext>
              </a:extLst>
            </p:cNvPr>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75" name="Freeform 158">
              <a:extLst>
                <a:ext uri="{FF2B5EF4-FFF2-40B4-BE49-F238E27FC236}">
                  <a16:creationId xmlns:a16="http://schemas.microsoft.com/office/drawing/2014/main" id="{C9913E2A-E0E5-4EFE-BA52-07AFBD455A8C}"/>
                </a:ext>
              </a:extLst>
            </p:cNvPr>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76" name="Freeform 159">
              <a:extLst>
                <a:ext uri="{FF2B5EF4-FFF2-40B4-BE49-F238E27FC236}">
                  <a16:creationId xmlns:a16="http://schemas.microsoft.com/office/drawing/2014/main" id="{0A59E705-C99A-4716-89A5-64064ECDD117}"/>
                </a:ext>
              </a:extLst>
            </p:cNvPr>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160">
              <a:extLst>
                <a:ext uri="{FF2B5EF4-FFF2-40B4-BE49-F238E27FC236}">
                  <a16:creationId xmlns:a16="http://schemas.microsoft.com/office/drawing/2014/main" id="{0A617A0D-18BC-4039-91D5-B4F0F5B88790}"/>
                </a:ext>
              </a:extLst>
            </p:cNvPr>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161">
              <a:extLst>
                <a:ext uri="{FF2B5EF4-FFF2-40B4-BE49-F238E27FC236}">
                  <a16:creationId xmlns:a16="http://schemas.microsoft.com/office/drawing/2014/main" id="{E3F941F9-9C27-45E6-AB07-DDC5FE4C9F58}"/>
                </a:ext>
              </a:extLst>
            </p:cNvPr>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162">
              <a:extLst>
                <a:ext uri="{FF2B5EF4-FFF2-40B4-BE49-F238E27FC236}">
                  <a16:creationId xmlns:a16="http://schemas.microsoft.com/office/drawing/2014/main" id="{2AC57FDF-631A-4783-A308-015C26F523CF}"/>
                </a:ext>
              </a:extLst>
            </p:cNvPr>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80" name="Group 179">
            <a:extLst>
              <a:ext uri="{FF2B5EF4-FFF2-40B4-BE49-F238E27FC236}">
                <a16:creationId xmlns:a16="http://schemas.microsoft.com/office/drawing/2014/main" id="{2BECA18A-E6D3-4D31-B66A-5727A2D471D6}"/>
              </a:ext>
            </a:extLst>
          </p:cNvPr>
          <p:cNvGrpSpPr/>
          <p:nvPr/>
        </p:nvGrpSpPr>
        <p:grpSpPr>
          <a:xfrm>
            <a:off x="891913" y="2697417"/>
            <a:ext cx="1076563" cy="423529"/>
            <a:chOff x="2196295" y="4261331"/>
            <a:chExt cx="2044302" cy="1183299"/>
          </a:xfrm>
        </p:grpSpPr>
        <p:cxnSp>
          <p:nvCxnSpPr>
            <p:cNvPr id="181" name="Elbow Connector 169">
              <a:extLst>
                <a:ext uri="{FF2B5EF4-FFF2-40B4-BE49-F238E27FC236}">
                  <a16:creationId xmlns:a16="http://schemas.microsoft.com/office/drawing/2014/main" id="{7D1FE463-2AA3-49DD-BCAB-FDC6FECA2BE0}"/>
                </a:ext>
              </a:extLst>
            </p:cNvPr>
            <p:cNvCxnSpPr>
              <a:cxnSpLocks/>
            </p:cNvCxnSpPr>
            <p:nvPr/>
          </p:nvCxnSpPr>
          <p:spPr>
            <a:xfrm flipV="1">
              <a:off x="2196295" y="4274591"/>
              <a:ext cx="2044302" cy="1170039"/>
            </a:xfrm>
            <a:prstGeom prst="bentConnector3">
              <a:avLst>
                <a:gd name="adj1" fmla="val -190"/>
              </a:avLst>
            </a:prstGeom>
            <a:ln>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AAAD4EF2-F891-421E-A5E1-4575389ECA1C}"/>
                </a:ext>
              </a:extLst>
            </p:cNvPr>
            <p:cNvCxnSpPr>
              <a:cxnSpLocks/>
            </p:cNvCxnSpPr>
            <p:nvPr/>
          </p:nvCxnSpPr>
          <p:spPr>
            <a:xfrm flipV="1">
              <a:off x="3035650" y="4302519"/>
              <a:ext cx="5877" cy="1140270"/>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15B767DA-EA5A-47C1-9D88-536CAE6A194B}"/>
                </a:ext>
              </a:extLst>
            </p:cNvPr>
            <p:cNvCxnSpPr/>
            <p:nvPr/>
          </p:nvCxnSpPr>
          <p:spPr>
            <a:xfrm flipH="1" flipV="1">
              <a:off x="3716890" y="4261331"/>
              <a:ext cx="1" cy="441593"/>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84" name="Freeform 54">
            <a:extLst>
              <a:ext uri="{FF2B5EF4-FFF2-40B4-BE49-F238E27FC236}">
                <a16:creationId xmlns:a16="http://schemas.microsoft.com/office/drawing/2014/main" id="{0E936C73-5481-4AD7-A28F-50C6623FA0EF}"/>
              </a:ext>
            </a:extLst>
          </p:cNvPr>
          <p:cNvSpPr>
            <a:spLocks noChangeAspect="1" noEditPoints="1"/>
          </p:cNvSpPr>
          <p:nvPr/>
        </p:nvSpPr>
        <p:spPr bwMode="black">
          <a:xfrm>
            <a:off x="952930" y="3227607"/>
            <a:ext cx="121280" cy="121280"/>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392081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par>
                                <p:cTn id="27" presetID="10" presetClass="entr" presetSubtype="0" fill="hold"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10" presetClass="entr" presetSubtype="0" fill="hold" nodeType="with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500"/>
                                        <p:tgtEl>
                                          <p:spTgt spid="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par>
                                <p:cTn id="44" presetID="10" presetClass="entr" presetSubtype="0" fill="hold" nodeType="withEffect">
                                  <p:stCondLst>
                                    <p:cond delay="0"/>
                                  </p:stCondLst>
                                  <p:childTnLst>
                                    <p:set>
                                      <p:cBhvr>
                                        <p:cTn id="45" dur="1" fill="hold">
                                          <p:stCondLst>
                                            <p:cond delay="0"/>
                                          </p:stCondLst>
                                        </p:cTn>
                                        <p:tgtEl>
                                          <p:spTgt spid="34"/>
                                        </p:tgtEl>
                                        <p:attrNameLst>
                                          <p:attrName>style.visibility</p:attrName>
                                        </p:attrNameLst>
                                      </p:cBhvr>
                                      <p:to>
                                        <p:strVal val="visible"/>
                                      </p:to>
                                    </p:set>
                                    <p:animEffect transition="in" filter="fade">
                                      <p:cBhvr>
                                        <p:cTn id="46" dur="500"/>
                                        <p:tgtEl>
                                          <p:spTgt spid="34"/>
                                        </p:tgtEl>
                                      </p:cBhvr>
                                    </p:animEffect>
                                  </p:childTnLst>
                                </p:cTn>
                              </p:par>
                              <p:par>
                                <p:cTn id="47" presetID="10" presetClass="entr" presetSubtype="0" fill="hold" nodeType="withEffect">
                                  <p:stCondLst>
                                    <p:cond delay="0"/>
                                  </p:stCondLst>
                                  <p:childTnLst>
                                    <p:set>
                                      <p:cBhvr>
                                        <p:cTn id="48" dur="1" fill="hold">
                                          <p:stCondLst>
                                            <p:cond delay="0"/>
                                          </p:stCondLst>
                                        </p:cTn>
                                        <p:tgtEl>
                                          <p:spTgt spid="82"/>
                                        </p:tgtEl>
                                        <p:attrNameLst>
                                          <p:attrName>style.visibility</p:attrName>
                                        </p:attrNameLst>
                                      </p:cBhvr>
                                      <p:to>
                                        <p:strVal val="visible"/>
                                      </p:to>
                                    </p:set>
                                    <p:animEffect transition="in" filter="fade">
                                      <p:cBhvr>
                                        <p:cTn id="49" dur="500"/>
                                        <p:tgtEl>
                                          <p:spTgt spid="82"/>
                                        </p:tgtEl>
                                      </p:cBhvr>
                                    </p:animEffect>
                                  </p:childTnLst>
                                </p:cTn>
                              </p:par>
                              <p:par>
                                <p:cTn id="50" presetID="10" presetClass="entr" presetSubtype="0" fill="hold" nodeType="withEffect">
                                  <p:stCondLst>
                                    <p:cond delay="0"/>
                                  </p:stCondLst>
                                  <p:childTnLst>
                                    <p:set>
                                      <p:cBhvr>
                                        <p:cTn id="51" dur="1" fill="hold">
                                          <p:stCondLst>
                                            <p:cond delay="0"/>
                                          </p:stCondLst>
                                        </p:cTn>
                                        <p:tgtEl>
                                          <p:spTgt spid="132"/>
                                        </p:tgtEl>
                                        <p:attrNameLst>
                                          <p:attrName>style.visibility</p:attrName>
                                        </p:attrNameLst>
                                      </p:cBhvr>
                                      <p:to>
                                        <p:strVal val="visible"/>
                                      </p:to>
                                    </p:set>
                                    <p:animEffect transition="in" filter="fade">
                                      <p:cBhvr>
                                        <p:cTn id="52" dur="500"/>
                                        <p:tgtEl>
                                          <p:spTgt spid="132"/>
                                        </p:tgtEl>
                                      </p:cBhvr>
                                    </p:animEffect>
                                  </p:childTnLst>
                                </p:cTn>
                              </p:par>
                              <p:par>
                                <p:cTn id="53" presetID="10" presetClass="entr" presetSubtype="0" fill="hold" nodeType="withEffect">
                                  <p:stCondLst>
                                    <p:cond delay="0"/>
                                  </p:stCondLst>
                                  <p:childTnLst>
                                    <p:set>
                                      <p:cBhvr>
                                        <p:cTn id="54" dur="1" fill="hold">
                                          <p:stCondLst>
                                            <p:cond delay="0"/>
                                          </p:stCondLst>
                                        </p:cTn>
                                        <p:tgtEl>
                                          <p:spTgt spid="180"/>
                                        </p:tgtEl>
                                        <p:attrNameLst>
                                          <p:attrName>style.visibility</p:attrName>
                                        </p:attrNameLst>
                                      </p:cBhvr>
                                      <p:to>
                                        <p:strVal val="visible"/>
                                      </p:to>
                                    </p:set>
                                    <p:animEffect transition="in" filter="fade">
                                      <p:cBhvr>
                                        <p:cTn id="55" dur="500"/>
                                        <p:tgtEl>
                                          <p:spTgt spid="18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84"/>
                                        </p:tgtEl>
                                        <p:attrNameLst>
                                          <p:attrName>style.visibility</p:attrName>
                                        </p:attrNameLst>
                                      </p:cBhvr>
                                      <p:to>
                                        <p:strVal val="visible"/>
                                      </p:to>
                                    </p:set>
                                    <p:animEffect transition="in" filter="fade">
                                      <p:cBhvr>
                                        <p:cTn id="58" dur="500"/>
                                        <p:tgtEl>
                                          <p:spTgt spid="18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12"/>
                                        </p:tgtEl>
                                        <p:attrNameLst>
                                          <p:attrName>style.visibility</p:attrName>
                                        </p:attrNameLst>
                                      </p:cBhvr>
                                      <p:to>
                                        <p:strVal val="visible"/>
                                      </p:to>
                                    </p:set>
                                    <p:animEffect transition="in" filter="fade">
                                      <p:cBhvr>
                                        <p:cTn id="66" dur="500"/>
                                        <p:tgtEl>
                                          <p:spTgt spid="12"/>
                                        </p:tgtEl>
                                      </p:cBhvr>
                                    </p:animEffect>
                                  </p:childTnLst>
                                </p:cTn>
                              </p:par>
                              <p:par>
                                <p:cTn id="67" presetID="10" presetClass="entr" presetSubtype="0" fill="hold" nodeType="withEffect">
                                  <p:stCondLst>
                                    <p:cond delay="0"/>
                                  </p:stCondLst>
                                  <p:childTnLst>
                                    <p:set>
                                      <p:cBhvr>
                                        <p:cTn id="68" dur="1" fill="hold">
                                          <p:stCondLst>
                                            <p:cond delay="0"/>
                                          </p:stCondLst>
                                        </p:cTn>
                                        <p:tgtEl>
                                          <p:spTgt spid="30"/>
                                        </p:tgtEl>
                                        <p:attrNameLst>
                                          <p:attrName>style.visibility</p:attrName>
                                        </p:attrNameLst>
                                      </p:cBhvr>
                                      <p:to>
                                        <p:strVal val="visible"/>
                                      </p:to>
                                    </p:set>
                                    <p:animEffect transition="in" filter="fade">
                                      <p:cBhvr>
                                        <p:cTn id="69" dur="500"/>
                                        <p:tgtEl>
                                          <p:spTgt spid="30"/>
                                        </p:tgtEl>
                                      </p:cBhvr>
                                    </p:animEffect>
                                  </p:childTnLst>
                                </p:cTn>
                              </p:par>
                              <p:par>
                                <p:cTn id="70" presetID="10" presetClass="entr" presetSubtype="0" fill="hold" nodeType="withEffect">
                                  <p:stCondLst>
                                    <p:cond delay="0"/>
                                  </p:stCondLst>
                                  <p:childTnLst>
                                    <p:set>
                                      <p:cBhvr>
                                        <p:cTn id="71" dur="1" fill="hold">
                                          <p:stCondLst>
                                            <p:cond delay="0"/>
                                          </p:stCondLst>
                                        </p:cTn>
                                        <p:tgtEl>
                                          <p:spTgt spid="27"/>
                                        </p:tgtEl>
                                        <p:attrNameLst>
                                          <p:attrName>style.visibility</p:attrName>
                                        </p:attrNameLst>
                                      </p:cBhvr>
                                      <p:to>
                                        <p:strVal val="visible"/>
                                      </p:to>
                                    </p:set>
                                    <p:animEffect transition="in" filter="fade">
                                      <p:cBhvr>
                                        <p:cTn id="72" dur="500"/>
                                        <p:tgtEl>
                                          <p:spTgt spid="27"/>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3"/>
                                        </p:tgtEl>
                                        <p:attrNameLst>
                                          <p:attrName>style.visibility</p:attrName>
                                        </p:attrNameLst>
                                      </p:cBhvr>
                                      <p:to>
                                        <p:strVal val="visible"/>
                                      </p:to>
                                    </p:set>
                                    <p:animEffect transition="in" filter="fade">
                                      <p:cBhvr>
                                        <p:cTn id="75" dur="500"/>
                                        <p:tgtEl>
                                          <p:spTgt spid="33"/>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1"/>
                                        </p:tgtEl>
                                        <p:attrNameLst>
                                          <p:attrName>style.visibility</p:attrName>
                                        </p:attrNameLst>
                                      </p:cBhvr>
                                      <p:to>
                                        <p:strVal val="visible"/>
                                      </p:to>
                                    </p:set>
                                    <p:animEffect transition="in" filter="fade">
                                      <p:cBhvr>
                                        <p:cTn id="78" dur="500"/>
                                        <p:tgtEl>
                                          <p:spTgt spid="3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22"/>
                                        </p:tgtEl>
                                        <p:attrNameLst>
                                          <p:attrName>style.visibility</p:attrName>
                                        </p:attrNameLst>
                                      </p:cBhvr>
                                      <p:to>
                                        <p:strVal val="visible"/>
                                      </p:to>
                                    </p:set>
                                    <p:animEffect transition="in" filter="fade">
                                      <p:cBhvr>
                                        <p:cTn id="83" dur="500"/>
                                        <p:tgtEl>
                                          <p:spTgt spid="22"/>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32"/>
                                        </p:tgtEl>
                                        <p:attrNameLst>
                                          <p:attrName>style.visibility</p:attrName>
                                        </p:attrNameLst>
                                      </p:cBhvr>
                                      <p:to>
                                        <p:strVal val="visible"/>
                                      </p:to>
                                    </p:set>
                                    <p:animEffect transition="in" filter="fade">
                                      <p:cBhvr>
                                        <p:cTn id="86" dur="500"/>
                                        <p:tgtEl>
                                          <p:spTgt spid="32"/>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p:bldP spid="14" grpId="0"/>
      <p:bldP spid="15" grpId="0"/>
      <p:bldP spid="16" grpId="0"/>
      <p:bldP spid="17" grpId="0"/>
      <p:bldP spid="26" grpId="0"/>
      <p:bldP spid="29" grpId="0" animBg="1"/>
      <p:bldP spid="31" grpId="0" animBg="1"/>
      <p:bldP spid="32" grpId="0" animBg="1"/>
      <p:bldP spid="33" grpId="0"/>
      <p:bldP spid="184"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5251" y="1287461"/>
            <a:ext cx="12399637" cy="57070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p:cNvSpPr>
            <a:spLocks noGrp="1"/>
          </p:cNvSpPr>
          <p:nvPr>
            <p:ph type="title"/>
          </p:nvPr>
        </p:nvSpPr>
        <p:spPr/>
        <p:txBody>
          <a:bodyPr/>
          <a:lstStyle/>
          <a:p>
            <a:r>
              <a:rPr lang="en-US" dirty="0"/>
              <a:t>Managed domains in Azure</a:t>
            </a:r>
          </a:p>
        </p:txBody>
      </p:sp>
      <p:sp>
        <p:nvSpPr>
          <p:cNvPr id="10" name="TextBox 9"/>
          <p:cNvSpPr txBox="1"/>
          <p:nvPr/>
        </p:nvSpPr>
        <p:spPr>
          <a:xfrm>
            <a:off x="1184736" y="6146078"/>
            <a:ext cx="6252726" cy="627784"/>
          </a:xfrm>
          <a:prstGeom prst="rect">
            <a:avLst/>
          </a:prstGeom>
          <a:noFill/>
        </p:spPr>
        <p:txBody>
          <a:bodyPr wrap="square" lIns="182857" tIns="146285" rIns="182857" bIns="146285" rtlCol="0">
            <a:spAutoFit/>
          </a:bodyPr>
          <a:lstStyle/>
          <a:p>
            <a:pPr defTabSz="914309">
              <a:lnSpc>
                <a:spcPct val="90000"/>
              </a:lnSpc>
              <a:spcAft>
                <a:spcPts val="600"/>
              </a:spcAft>
              <a:defRPr/>
            </a:pPr>
            <a:r>
              <a:rPr lang="en-US" sz="2400" kern="0" dirty="0">
                <a:solidFill>
                  <a:schemeClr val="bg1"/>
                </a:solidFill>
                <a:latin typeface="+mj-lt"/>
              </a:rPr>
              <a:t>Highly available domain</a:t>
            </a:r>
          </a:p>
        </p:txBody>
      </p:sp>
      <p:sp>
        <p:nvSpPr>
          <p:cNvPr id="11" name="Freeform 10"/>
          <p:cNvSpPr>
            <a:spLocks noEditPoints="1"/>
          </p:cNvSpPr>
          <p:nvPr/>
        </p:nvSpPr>
        <p:spPr bwMode="auto">
          <a:xfrm>
            <a:off x="557139" y="4745671"/>
            <a:ext cx="403174" cy="487301"/>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chemeClr val="bg1"/>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12" name="TextBox 11"/>
          <p:cNvSpPr txBox="1"/>
          <p:nvPr/>
        </p:nvSpPr>
        <p:spPr>
          <a:xfrm>
            <a:off x="1186324" y="1578947"/>
            <a:ext cx="6252726" cy="627784"/>
          </a:xfrm>
          <a:prstGeom prst="rect">
            <a:avLst/>
          </a:prstGeom>
          <a:noFill/>
        </p:spPr>
        <p:txBody>
          <a:bodyPr wrap="square" lIns="182857" tIns="146285" rIns="182857" bIns="146285" rtlCol="0">
            <a:spAutoFit/>
          </a:bodyPr>
          <a:lstStyle/>
          <a:p>
            <a:pPr defTabSz="914309">
              <a:lnSpc>
                <a:spcPct val="90000"/>
              </a:lnSpc>
              <a:spcAft>
                <a:spcPts val="600"/>
              </a:spcAft>
              <a:defRPr/>
            </a:pPr>
            <a:r>
              <a:rPr lang="en-US" sz="2400" kern="0" dirty="0">
                <a:solidFill>
                  <a:schemeClr val="bg1"/>
                </a:solidFill>
                <a:latin typeface="+mj-lt"/>
              </a:rPr>
              <a:t>Domain controllers are patched automatically</a:t>
            </a:r>
          </a:p>
        </p:txBody>
      </p:sp>
      <p:sp>
        <p:nvSpPr>
          <p:cNvPr id="13" name="Freeform 12"/>
          <p:cNvSpPr>
            <a:spLocks noEditPoints="1"/>
          </p:cNvSpPr>
          <p:nvPr/>
        </p:nvSpPr>
        <p:spPr bwMode="auto">
          <a:xfrm>
            <a:off x="576188" y="1693633"/>
            <a:ext cx="365078" cy="398412"/>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chemeClr val="bg1"/>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14" name="Freeform 13"/>
          <p:cNvSpPr>
            <a:spLocks noEditPoints="1"/>
          </p:cNvSpPr>
          <p:nvPr/>
        </p:nvSpPr>
        <p:spPr bwMode="auto">
          <a:xfrm>
            <a:off x="608728" y="2486908"/>
            <a:ext cx="300000" cy="420634"/>
          </a:xfrm>
          <a:custGeom>
            <a:avLst/>
            <a:gdLst>
              <a:gd name="T0" fmla="*/ 72 w 80"/>
              <a:gd name="T1" fmla="*/ 48 h 112"/>
              <a:gd name="T2" fmla="*/ 72 w 80"/>
              <a:gd name="T3" fmla="*/ 48 h 112"/>
              <a:gd name="T4" fmla="*/ 72 w 80"/>
              <a:gd name="T5" fmla="*/ 32 h 112"/>
              <a:gd name="T6" fmla="*/ 40 w 80"/>
              <a:gd name="T7" fmla="*/ 0 h 112"/>
              <a:gd name="T8" fmla="*/ 8 w 80"/>
              <a:gd name="T9" fmla="*/ 32 h 112"/>
              <a:gd name="T10" fmla="*/ 8 w 80"/>
              <a:gd name="T11" fmla="*/ 48 h 112"/>
              <a:gd name="T12" fmla="*/ 8 w 80"/>
              <a:gd name="T13" fmla="*/ 48 h 112"/>
              <a:gd name="T14" fmla="*/ 0 w 80"/>
              <a:gd name="T15" fmla="*/ 72 h 112"/>
              <a:gd name="T16" fmla="*/ 40 w 80"/>
              <a:gd name="T17" fmla="*/ 112 h 112"/>
              <a:gd name="T18" fmla="*/ 80 w 80"/>
              <a:gd name="T19" fmla="*/ 72 h 112"/>
              <a:gd name="T20" fmla="*/ 72 w 80"/>
              <a:gd name="T21" fmla="*/ 48 h 112"/>
              <a:gd name="T22" fmla="*/ 16 w 80"/>
              <a:gd name="T23" fmla="*/ 32 h 112"/>
              <a:gd name="T24" fmla="*/ 40 w 80"/>
              <a:gd name="T25" fmla="*/ 8 h 112"/>
              <a:gd name="T26" fmla="*/ 64 w 80"/>
              <a:gd name="T27" fmla="*/ 32 h 112"/>
              <a:gd name="T28" fmla="*/ 64 w 80"/>
              <a:gd name="T29" fmla="*/ 40 h 112"/>
              <a:gd name="T30" fmla="*/ 40 w 80"/>
              <a:gd name="T31" fmla="*/ 32 h 112"/>
              <a:gd name="T32" fmla="*/ 16 w 80"/>
              <a:gd name="T33" fmla="*/ 40 h 112"/>
              <a:gd name="T34" fmla="*/ 16 w 80"/>
              <a:gd name="T35" fmla="*/ 32 h 112"/>
              <a:gd name="T36" fmla="*/ 40 w 80"/>
              <a:gd name="T37" fmla="*/ 104 h 112"/>
              <a:gd name="T38" fmla="*/ 8 w 80"/>
              <a:gd name="T39" fmla="*/ 72 h 112"/>
              <a:gd name="T40" fmla="*/ 40 w 80"/>
              <a:gd name="T41" fmla="*/ 40 h 112"/>
              <a:gd name="T42" fmla="*/ 72 w 80"/>
              <a:gd name="T43" fmla="*/ 72 h 112"/>
              <a:gd name="T44" fmla="*/ 40 w 80"/>
              <a:gd name="T45" fmla="*/ 104 h 112"/>
              <a:gd name="T46" fmla="*/ 48 w 80"/>
              <a:gd name="T47" fmla="*/ 68 h 112"/>
              <a:gd name="T48" fmla="*/ 44 w 80"/>
              <a:gd name="T49" fmla="*/ 75 h 112"/>
              <a:gd name="T50" fmla="*/ 44 w 80"/>
              <a:gd name="T51" fmla="*/ 88 h 112"/>
              <a:gd name="T52" fmla="*/ 36 w 80"/>
              <a:gd name="T53" fmla="*/ 88 h 112"/>
              <a:gd name="T54" fmla="*/ 36 w 80"/>
              <a:gd name="T55" fmla="*/ 75 h 112"/>
              <a:gd name="T56" fmla="*/ 32 w 80"/>
              <a:gd name="T57" fmla="*/ 68 h 112"/>
              <a:gd name="T58" fmla="*/ 40 w 80"/>
              <a:gd name="T59" fmla="*/ 60 h 112"/>
              <a:gd name="T60" fmla="*/ 48 w 80"/>
              <a:gd name="T6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112">
                <a:moveTo>
                  <a:pt x="72" y="48"/>
                </a:moveTo>
                <a:cubicBezTo>
                  <a:pt x="72" y="48"/>
                  <a:pt x="72" y="48"/>
                  <a:pt x="72" y="48"/>
                </a:cubicBezTo>
                <a:cubicBezTo>
                  <a:pt x="72" y="32"/>
                  <a:pt x="72" y="32"/>
                  <a:pt x="72" y="32"/>
                </a:cubicBezTo>
                <a:cubicBezTo>
                  <a:pt x="72" y="14"/>
                  <a:pt x="58" y="0"/>
                  <a:pt x="40" y="0"/>
                </a:cubicBezTo>
                <a:cubicBezTo>
                  <a:pt x="22" y="0"/>
                  <a:pt x="8" y="14"/>
                  <a:pt x="8" y="32"/>
                </a:cubicBezTo>
                <a:cubicBezTo>
                  <a:pt x="8" y="48"/>
                  <a:pt x="8" y="48"/>
                  <a:pt x="8" y="48"/>
                </a:cubicBezTo>
                <a:cubicBezTo>
                  <a:pt x="8" y="48"/>
                  <a:pt x="8" y="48"/>
                  <a:pt x="8" y="48"/>
                </a:cubicBezTo>
                <a:cubicBezTo>
                  <a:pt x="3" y="54"/>
                  <a:pt x="0" y="63"/>
                  <a:pt x="0" y="72"/>
                </a:cubicBezTo>
                <a:cubicBezTo>
                  <a:pt x="0" y="94"/>
                  <a:pt x="18" y="112"/>
                  <a:pt x="40" y="112"/>
                </a:cubicBezTo>
                <a:cubicBezTo>
                  <a:pt x="62" y="112"/>
                  <a:pt x="80" y="94"/>
                  <a:pt x="80" y="72"/>
                </a:cubicBezTo>
                <a:cubicBezTo>
                  <a:pt x="80" y="63"/>
                  <a:pt x="77" y="54"/>
                  <a:pt x="72" y="48"/>
                </a:cubicBezTo>
                <a:close/>
                <a:moveTo>
                  <a:pt x="16" y="32"/>
                </a:moveTo>
                <a:cubicBezTo>
                  <a:pt x="16" y="18"/>
                  <a:pt x="27" y="8"/>
                  <a:pt x="40" y="8"/>
                </a:cubicBezTo>
                <a:cubicBezTo>
                  <a:pt x="53" y="8"/>
                  <a:pt x="64" y="18"/>
                  <a:pt x="64" y="32"/>
                </a:cubicBezTo>
                <a:cubicBezTo>
                  <a:pt x="64" y="40"/>
                  <a:pt x="64" y="40"/>
                  <a:pt x="64" y="40"/>
                </a:cubicBezTo>
                <a:cubicBezTo>
                  <a:pt x="57" y="35"/>
                  <a:pt x="49" y="32"/>
                  <a:pt x="40" y="32"/>
                </a:cubicBezTo>
                <a:cubicBezTo>
                  <a:pt x="31" y="32"/>
                  <a:pt x="23" y="35"/>
                  <a:pt x="16" y="40"/>
                </a:cubicBezTo>
                <a:lnTo>
                  <a:pt x="16" y="32"/>
                </a:lnTo>
                <a:close/>
                <a:moveTo>
                  <a:pt x="40" y="104"/>
                </a:moveTo>
                <a:cubicBezTo>
                  <a:pt x="22" y="104"/>
                  <a:pt x="8" y="89"/>
                  <a:pt x="8" y="72"/>
                </a:cubicBezTo>
                <a:cubicBezTo>
                  <a:pt x="8" y="54"/>
                  <a:pt x="22" y="40"/>
                  <a:pt x="40" y="40"/>
                </a:cubicBezTo>
                <a:cubicBezTo>
                  <a:pt x="58" y="40"/>
                  <a:pt x="72" y="54"/>
                  <a:pt x="72" y="72"/>
                </a:cubicBezTo>
                <a:cubicBezTo>
                  <a:pt x="72" y="89"/>
                  <a:pt x="58" y="104"/>
                  <a:pt x="40" y="104"/>
                </a:cubicBezTo>
                <a:close/>
                <a:moveTo>
                  <a:pt x="48" y="68"/>
                </a:moveTo>
                <a:cubicBezTo>
                  <a:pt x="48" y="71"/>
                  <a:pt x="46" y="73"/>
                  <a:pt x="44" y="75"/>
                </a:cubicBezTo>
                <a:cubicBezTo>
                  <a:pt x="44" y="88"/>
                  <a:pt x="44" y="88"/>
                  <a:pt x="44" y="88"/>
                </a:cubicBezTo>
                <a:cubicBezTo>
                  <a:pt x="36" y="88"/>
                  <a:pt x="36" y="88"/>
                  <a:pt x="36" y="88"/>
                </a:cubicBezTo>
                <a:cubicBezTo>
                  <a:pt x="36" y="75"/>
                  <a:pt x="36" y="75"/>
                  <a:pt x="36" y="75"/>
                </a:cubicBezTo>
                <a:cubicBezTo>
                  <a:pt x="34" y="73"/>
                  <a:pt x="32" y="71"/>
                  <a:pt x="32" y="68"/>
                </a:cubicBezTo>
                <a:cubicBezTo>
                  <a:pt x="32" y="63"/>
                  <a:pt x="36" y="60"/>
                  <a:pt x="40" y="60"/>
                </a:cubicBezTo>
                <a:cubicBezTo>
                  <a:pt x="45" y="60"/>
                  <a:pt x="48" y="63"/>
                  <a:pt x="48" y="68"/>
                </a:cubicBezTo>
                <a:close/>
              </a:path>
            </a:pathLst>
          </a:custGeom>
          <a:solidFill>
            <a:schemeClr val="bg1"/>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15" name="TextBox 14"/>
          <p:cNvSpPr txBox="1"/>
          <p:nvPr/>
        </p:nvSpPr>
        <p:spPr>
          <a:xfrm>
            <a:off x="1186324" y="2236523"/>
            <a:ext cx="6252726" cy="960140"/>
          </a:xfrm>
          <a:prstGeom prst="rect">
            <a:avLst/>
          </a:prstGeom>
          <a:noFill/>
        </p:spPr>
        <p:txBody>
          <a:bodyPr wrap="square" lIns="182857" tIns="146285" rIns="182857" bIns="146285" rtlCol="0">
            <a:spAutoFit/>
          </a:bodyPr>
          <a:lstStyle/>
          <a:p>
            <a:pPr defTabSz="914309">
              <a:lnSpc>
                <a:spcPct val="90000"/>
              </a:lnSpc>
              <a:spcAft>
                <a:spcPts val="600"/>
              </a:spcAft>
              <a:defRPr/>
            </a:pPr>
            <a:r>
              <a:rPr lang="en-US" sz="2400" kern="0" dirty="0">
                <a:solidFill>
                  <a:schemeClr val="bg1"/>
                </a:solidFill>
                <a:latin typeface="Segoe UI Light"/>
              </a:rPr>
              <a:t>Secure locked down domain – compliant with AD deployment best-practices</a:t>
            </a:r>
          </a:p>
        </p:txBody>
      </p:sp>
      <p:sp>
        <p:nvSpPr>
          <p:cNvPr id="16" name="Freeform 15"/>
          <p:cNvSpPr>
            <a:spLocks noEditPoints="1"/>
          </p:cNvSpPr>
          <p:nvPr/>
        </p:nvSpPr>
        <p:spPr bwMode="auto">
          <a:xfrm>
            <a:off x="618252" y="3304366"/>
            <a:ext cx="280952" cy="477777"/>
          </a:xfrm>
          <a:custGeom>
            <a:avLst/>
            <a:gdLst>
              <a:gd name="T0" fmla="*/ 177 w 177"/>
              <a:gd name="T1" fmla="*/ 93 h 301"/>
              <a:gd name="T2" fmla="*/ 116 w 177"/>
              <a:gd name="T3" fmla="*/ 93 h 301"/>
              <a:gd name="T4" fmla="*/ 166 w 177"/>
              <a:gd name="T5" fmla="*/ 0 h 301"/>
              <a:gd name="T6" fmla="*/ 45 w 177"/>
              <a:gd name="T7" fmla="*/ 0 h 301"/>
              <a:gd name="T8" fmla="*/ 0 w 177"/>
              <a:gd name="T9" fmla="*/ 157 h 301"/>
              <a:gd name="T10" fmla="*/ 62 w 177"/>
              <a:gd name="T11" fmla="*/ 157 h 301"/>
              <a:gd name="T12" fmla="*/ 31 w 177"/>
              <a:gd name="T13" fmla="*/ 301 h 301"/>
              <a:gd name="T14" fmla="*/ 177 w 177"/>
              <a:gd name="T15" fmla="*/ 93 h 301"/>
              <a:gd name="T16" fmla="*/ 26 w 177"/>
              <a:gd name="T17" fmla="*/ 138 h 301"/>
              <a:gd name="T18" fmla="*/ 59 w 177"/>
              <a:gd name="T19" fmla="*/ 19 h 301"/>
              <a:gd name="T20" fmla="*/ 132 w 177"/>
              <a:gd name="T21" fmla="*/ 19 h 301"/>
              <a:gd name="T22" fmla="*/ 85 w 177"/>
              <a:gd name="T23" fmla="*/ 112 h 301"/>
              <a:gd name="T24" fmla="*/ 140 w 177"/>
              <a:gd name="T25" fmla="*/ 112 h 301"/>
              <a:gd name="T26" fmla="*/ 69 w 177"/>
              <a:gd name="T27" fmla="*/ 216 h 301"/>
              <a:gd name="T28" fmla="*/ 83 w 177"/>
              <a:gd name="T29" fmla="*/ 138 h 301"/>
              <a:gd name="T30" fmla="*/ 26 w 177"/>
              <a:gd name="T31" fmla="*/ 13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7" h="301">
                <a:moveTo>
                  <a:pt x="177" y="93"/>
                </a:moveTo>
                <a:lnTo>
                  <a:pt x="116" y="93"/>
                </a:lnTo>
                <a:lnTo>
                  <a:pt x="166" y="0"/>
                </a:lnTo>
                <a:lnTo>
                  <a:pt x="45" y="0"/>
                </a:lnTo>
                <a:lnTo>
                  <a:pt x="0" y="157"/>
                </a:lnTo>
                <a:lnTo>
                  <a:pt x="62" y="157"/>
                </a:lnTo>
                <a:lnTo>
                  <a:pt x="31" y="301"/>
                </a:lnTo>
                <a:lnTo>
                  <a:pt x="177" y="93"/>
                </a:lnTo>
                <a:close/>
                <a:moveTo>
                  <a:pt x="26" y="138"/>
                </a:moveTo>
                <a:lnTo>
                  <a:pt x="59" y="19"/>
                </a:lnTo>
                <a:lnTo>
                  <a:pt x="132" y="19"/>
                </a:lnTo>
                <a:lnTo>
                  <a:pt x="85" y="112"/>
                </a:lnTo>
                <a:lnTo>
                  <a:pt x="140" y="112"/>
                </a:lnTo>
                <a:lnTo>
                  <a:pt x="69" y="216"/>
                </a:lnTo>
                <a:lnTo>
                  <a:pt x="83" y="138"/>
                </a:lnTo>
                <a:lnTo>
                  <a:pt x="26" y="138"/>
                </a:lnTo>
                <a:close/>
              </a:path>
            </a:pathLst>
          </a:custGeom>
          <a:solidFill>
            <a:schemeClr val="bg1"/>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18" name="TextBox 17"/>
          <p:cNvSpPr txBox="1"/>
          <p:nvPr/>
        </p:nvSpPr>
        <p:spPr>
          <a:xfrm>
            <a:off x="1184736" y="3226454"/>
            <a:ext cx="6252726" cy="627784"/>
          </a:xfrm>
          <a:prstGeom prst="rect">
            <a:avLst/>
          </a:prstGeom>
          <a:noFill/>
        </p:spPr>
        <p:txBody>
          <a:bodyPr wrap="square" lIns="182857" tIns="146285" rIns="182857" bIns="146285" rtlCol="0">
            <a:spAutoFit/>
          </a:bodyPr>
          <a:lstStyle/>
          <a:p>
            <a:pPr defTabSz="914309">
              <a:lnSpc>
                <a:spcPct val="90000"/>
              </a:lnSpc>
              <a:spcAft>
                <a:spcPts val="600"/>
              </a:spcAft>
              <a:defRPr/>
            </a:pPr>
            <a:r>
              <a:rPr lang="en-US" sz="2400" kern="0" dirty="0">
                <a:solidFill>
                  <a:schemeClr val="bg1"/>
                </a:solidFill>
                <a:latin typeface="Segoe UI Light"/>
              </a:rPr>
              <a:t>Fault resilience of Azure</a:t>
            </a:r>
          </a:p>
        </p:txBody>
      </p:sp>
      <p:sp>
        <p:nvSpPr>
          <p:cNvPr id="19" name="TextBox 18"/>
          <p:cNvSpPr txBox="1"/>
          <p:nvPr/>
        </p:nvSpPr>
        <p:spPr>
          <a:xfrm>
            <a:off x="1184736" y="3962100"/>
            <a:ext cx="6252726" cy="627784"/>
          </a:xfrm>
          <a:prstGeom prst="rect">
            <a:avLst/>
          </a:prstGeom>
          <a:noFill/>
        </p:spPr>
        <p:txBody>
          <a:bodyPr wrap="square" lIns="182857" tIns="146285" rIns="182857" bIns="146285" rtlCol="0">
            <a:spAutoFit/>
          </a:bodyPr>
          <a:lstStyle/>
          <a:p>
            <a:pPr defTabSz="914309">
              <a:lnSpc>
                <a:spcPct val="90000"/>
              </a:lnSpc>
              <a:spcAft>
                <a:spcPts val="600"/>
              </a:spcAft>
              <a:defRPr/>
            </a:pPr>
            <a:r>
              <a:rPr lang="en-US" sz="2400" kern="0" dirty="0">
                <a:solidFill>
                  <a:schemeClr val="bg1"/>
                </a:solidFill>
                <a:latin typeface="Segoe UI Light"/>
              </a:rPr>
              <a:t>Automatic health detection and remediation</a:t>
            </a:r>
          </a:p>
        </p:txBody>
      </p:sp>
      <p:sp>
        <p:nvSpPr>
          <p:cNvPr id="20" name="Freeform 19"/>
          <p:cNvSpPr>
            <a:spLocks noChangeAspect="1" noEditPoints="1"/>
          </p:cNvSpPr>
          <p:nvPr/>
        </p:nvSpPr>
        <p:spPr bwMode="auto">
          <a:xfrm>
            <a:off x="511107" y="4140278"/>
            <a:ext cx="495237" cy="271428"/>
          </a:xfrm>
          <a:custGeom>
            <a:avLst/>
            <a:gdLst>
              <a:gd name="T0" fmla="*/ 312 w 312"/>
              <a:gd name="T1" fmla="*/ 0 h 171"/>
              <a:gd name="T2" fmla="*/ 312 w 312"/>
              <a:gd name="T3" fmla="*/ 19 h 171"/>
              <a:gd name="T4" fmla="*/ 66 w 312"/>
              <a:gd name="T5" fmla="*/ 19 h 171"/>
              <a:gd name="T6" fmla="*/ 66 w 312"/>
              <a:gd name="T7" fmla="*/ 0 h 171"/>
              <a:gd name="T8" fmla="*/ 312 w 312"/>
              <a:gd name="T9" fmla="*/ 0 h 171"/>
              <a:gd name="T10" fmla="*/ 9 w 312"/>
              <a:gd name="T11" fmla="*/ 95 h 171"/>
              <a:gd name="T12" fmla="*/ 28 w 312"/>
              <a:gd name="T13" fmla="*/ 95 h 171"/>
              <a:gd name="T14" fmla="*/ 28 w 312"/>
              <a:gd name="T15" fmla="*/ 76 h 171"/>
              <a:gd name="T16" fmla="*/ 9 w 312"/>
              <a:gd name="T17" fmla="*/ 76 h 171"/>
              <a:gd name="T18" fmla="*/ 9 w 312"/>
              <a:gd name="T19" fmla="*/ 95 h 171"/>
              <a:gd name="T20" fmla="*/ 9 w 312"/>
              <a:gd name="T21" fmla="*/ 19 h 171"/>
              <a:gd name="T22" fmla="*/ 28 w 312"/>
              <a:gd name="T23" fmla="*/ 19 h 171"/>
              <a:gd name="T24" fmla="*/ 28 w 312"/>
              <a:gd name="T25" fmla="*/ 0 h 171"/>
              <a:gd name="T26" fmla="*/ 9 w 312"/>
              <a:gd name="T27" fmla="*/ 0 h 171"/>
              <a:gd name="T28" fmla="*/ 9 w 312"/>
              <a:gd name="T29" fmla="*/ 19 h 171"/>
              <a:gd name="T30" fmla="*/ 66 w 312"/>
              <a:gd name="T31" fmla="*/ 95 h 171"/>
              <a:gd name="T32" fmla="*/ 312 w 312"/>
              <a:gd name="T33" fmla="*/ 95 h 171"/>
              <a:gd name="T34" fmla="*/ 312 w 312"/>
              <a:gd name="T35" fmla="*/ 76 h 171"/>
              <a:gd name="T36" fmla="*/ 66 w 312"/>
              <a:gd name="T37" fmla="*/ 76 h 171"/>
              <a:gd name="T38" fmla="*/ 66 w 312"/>
              <a:gd name="T39" fmla="*/ 95 h 171"/>
              <a:gd name="T40" fmla="*/ 66 w 312"/>
              <a:gd name="T41" fmla="*/ 171 h 171"/>
              <a:gd name="T42" fmla="*/ 312 w 312"/>
              <a:gd name="T43" fmla="*/ 171 h 171"/>
              <a:gd name="T44" fmla="*/ 312 w 312"/>
              <a:gd name="T45" fmla="*/ 152 h 171"/>
              <a:gd name="T46" fmla="*/ 66 w 312"/>
              <a:gd name="T47" fmla="*/ 152 h 171"/>
              <a:gd name="T48" fmla="*/ 66 w 312"/>
              <a:gd name="T49" fmla="*/ 171 h 171"/>
              <a:gd name="T50" fmla="*/ 54 w 312"/>
              <a:gd name="T51" fmla="*/ 137 h 171"/>
              <a:gd name="T52" fmla="*/ 42 w 312"/>
              <a:gd name="T53" fmla="*/ 126 h 171"/>
              <a:gd name="T54" fmla="*/ 19 w 312"/>
              <a:gd name="T55" fmla="*/ 149 h 171"/>
              <a:gd name="T56" fmla="*/ 9 w 312"/>
              <a:gd name="T57" fmla="*/ 140 h 171"/>
              <a:gd name="T58" fmla="*/ 0 w 312"/>
              <a:gd name="T59" fmla="*/ 152 h 171"/>
              <a:gd name="T60" fmla="*/ 19 w 312"/>
              <a:gd name="T61" fmla="*/ 171 h 171"/>
              <a:gd name="T62" fmla="*/ 54 w 312"/>
              <a:gd name="T63" fmla="*/ 13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2" h="171">
                <a:moveTo>
                  <a:pt x="312" y="0"/>
                </a:moveTo>
                <a:lnTo>
                  <a:pt x="312" y="19"/>
                </a:lnTo>
                <a:lnTo>
                  <a:pt x="66" y="19"/>
                </a:lnTo>
                <a:lnTo>
                  <a:pt x="66" y="0"/>
                </a:lnTo>
                <a:lnTo>
                  <a:pt x="312" y="0"/>
                </a:lnTo>
                <a:close/>
                <a:moveTo>
                  <a:pt x="9" y="95"/>
                </a:moveTo>
                <a:lnTo>
                  <a:pt x="28" y="95"/>
                </a:lnTo>
                <a:lnTo>
                  <a:pt x="28" y="76"/>
                </a:lnTo>
                <a:lnTo>
                  <a:pt x="9" y="76"/>
                </a:lnTo>
                <a:lnTo>
                  <a:pt x="9" y="95"/>
                </a:lnTo>
                <a:close/>
                <a:moveTo>
                  <a:pt x="9" y="19"/>
                </a:moveTo>
                <a:lnTo>
                  <a:pt x="28" y="19"/>
                </a:lnTo>
                <a:lnTo>
                  <a:pt x="28" y="0"/>
                </a:lnTo>
                <a:lnTo>
                  <a:pt x="9" y="0"/>
                </a:lnTo>
                <a:lnTo>
                  <a:pt x="9" y="19"/>
                </a:lnTo>
                <a:close/>
                <a:moveTo>
                  <a:pt x="66" y="95"/>
                </a:moveTo>
                <a:lnTo>
                  <a:pt x="312" y="95"/>
                </a:lnTo>
                <a:lnTo>
                  <a:pt x="312" y="76"/>
                </a:lnTo>
                <a:lnTo>
                  <a:pt x="66" y="76"/>
                </a:lnTo>
                <a:lnTo>
                  <a:pt x="66" y="95"/>
                </a:lnTo>
                <a:close/>
                <a:moveTo>
                  <a:pt x="66" y="171"/>
                </a:moveTo>
                <a:lnTo>
                  <a:pt x="312" y="171"/>
                </a:lnTo>
                <a:lnTo>
                  <a:pt x="312" y="152"/>
                </a:lnTo>
                <a:lnTo>
                  <a:pt x="66" y="152"/>
                </a:lnTo>
                <a:lnTo>
                  <a:pt x="66" y="171"/>
                </a:lnTo>
                <a:close/>
                <a:moveTo>
                  <a:pt x="54" y="137"/>
                </a:moveTo>
                <a:lnTo>
                  <a:pt x="42" y="126"/>
                </a:lnTo>
                <a:lnTo>
                  <a:pt x="19" y="149"/>
                </a:lnTo>
                <a:lnTo>
                  <a:pt x="9" y="140"/>
                </a:lnTo>
                <a:lnTo>
                  <a:pt x="0" y="152"/>
                </a:lnTo>
                <a:lnTo>
                  <a:pt x="19" y="171"/>
                </a:lnTo>
                <a:lnTo>
                  <a:pt x="54" y="137"/>
                </a:lnTo>
                <a:close/>
              </a:path>
            </a:pathLst>
          </a:custGeom>
          <a:solidFill>
            <a:schemeClr val="bg1"/>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21" name="TextBox 20"/>
          <p:cNvSpPr txBox="1"/>
          <p:nvPr/>
        </p:nvSpPr>
        <p:spPr>
          <a:xfrm>
            <a:off x="1184736" y="4675430"/>
            <a:ext cx="6252726" cy="627784"/>
          </a:xfrm>
          <a:prstGeom prst="rect">
            <a:avLst/>
          </a:prstGeom>
          <a:noFill/>
        </p:spPr>
        <p:txBody>
          <a:bodyPr wrap="square" lIns="182857" tIns="146285" rIns="182857" bIns="146285" rtlCol="0">
            <a:spAutoFit/>
          </a:bodyPr>
          <a:lstStyle/>
          <a:p>
            <a:pPr defTabSz="914309">
              <a:lnSpc>
                <a:spcPct val="90000"/>
              </a:lnSpc>
              <a:spcAft>
                <a:spcPts val="600"/>
              </a:spcAft>
              <a:defRPr/>
            </a:pPr>
            <a:r>
              <a:rPr lang="en-US" sz="2400" kern="0" dirty="0">
                <a:solidFill>
                  <a:schemeClr val="bg1"/>
                </a:solidFill>
                <a:latin typeface="Segoe UI Light"/>
              </a:rPr>
              <a:t>Automatic backups for disaster recovery</a:t>
            </a:r>
          </a:p>
        </p:txBody>
      </p:sp>
      <p:sp>
        <p:nvSpPr>
          <p:cNvPr id="22" name="Freeform 21"/>
          <p:cNvSpPr>
            <a:spLocks noChangeAspect="1"/>
          </p:cNvSpPr>
          <p:nvPr/>
        </p:nvSpPr>
        <p:spPr bwMode="auto">
          <a:xfrm>
            <a:off x="593647" y="5566937"/>
            <a:ext cx="360317" cy="423809"/>
          </a:xfrm>
          <a:custGeom>
            <a:avLst/>
            <a:gdLst>
              <a:gd name="T0" fmla="*/ 227 w 227"/>
              <a:gd name="T1" fmla="*/ 168 h 267"/>
              <a:gd name="T2" fmla="*/ 97 w 227"/>
              <a:gd name="T3" fmla="*/ 168 h 267"/>
              <a:gd name="T4" fmla="*/ 173 w 227"/>
              <a:gd name="T5" fmla="*/ 92 h 267"/>
              <a:gd name="T6" fmla="*/ 83 w 227"/>
              <a:gd name="T7" fmla="*/ 0 h 267"/>
              <a:gd name="T8" fmla="*/ 69 w 227"/>
              <a:gd name="T9" fmla="*/ 12 h 267"/>
              <a:gd name="T10" fmla="*/ 137 w 227"/>
              <a:gd name="T11" fmla="*/ 83 h 267"/>
              <a:gd name="T12" fmla="*/ 0 w 227"/>
              <a:gd name="T13" fmla="*/ 83 h 267"/>
              <a:gd name="T14" fmla="*/ 0 w 227"/>
              <a:gd name="T15" fmla="*/ 101 h 267"/>
              <a:gd name="T16" fmla="*/ 137 w 227"/>
              <a:gd name="T17" fmla="*/ 101 h 267"/>
              <a:gd name="T18" fmla="*/ 62 w 227"/>
              <a:gd name="T19" fmla="*/ 177 h 267"/>
              <a:gd name="T20" fmla="*/ 154 w 227"/>
              <a:gd name="T21" fmla="*/ 267 h 267"/>
              <a:gd name="T22" fmla="*/ 168 w 227"/>
              <a:gd name="T23" fmla="*/ 255 h 267"/>
              <a:gd name="T24" fmla="*/ 97 w 227"/>
              <a:gd name="T25" fmla="*/ 187 h 267"/>
              <a:gd name="T26" fmla="*/ 227 w 227"/>
              <a:gd name="T27" fmla="*/ 187 h 267"/>
              <a:gd name="T28" fmla="*/ 227 w 227"/>
              <a:gd name="T29" fmla="*/ 168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7" h="267">
                <a:moveTo>
                  <a:pt x="227" y="168"/>
                </a:moveTo>
                <a:lnTo>
                  <a:pt x="97" y="168"/>
                </a:lnTo>
                <a:lnTo>
                  <a:pt x="173" y="92"/>
                </a:lnTo>
                <a:lnTo>
                  <a:pt x="83" y="0"/>
                </a:lnTo>
                <a:lnTo>
                  <a:pt x="69" y="12"/>
                </a:lnTo>
                <a:lnTo>
                  <a:pt x="137" y="83"/>
                </a:lnTo>
                <a:lnTo>
                  <a:pt x="0" y="83"/>
                </a:lnTo>
                <a:lnTo>
                  <a:pt x="0" y="101"/>
                </a:lnTo>
                <a:lnTo>
                  <a:pt x="137" y="101"/>
                </a:lnTo>
                <a:lnTo>
                  <a:pt x="62" y="177"/>
                </a:lnTo>
                <a:lnTo>
                  <a:pt x="154" y="267"/>
                </a:lnTo>
                <a:lnTo>
                  <a:pt x="168" y="255"/>
                </a:lnTo>
                <a:lnTo>
                  <a:pt x="97" y="187"/>
                </a:lnTo>
                <a:lnTo>
                  <a:pt x="227" y="187"/>
                </a:lnTo>
                <a:lnTo>
                  <a:pt x="227" y="168"/>
                </a:lnTo>
                <a:close/>
              </a:path>
            </a:pathLst>
          </a:custGeom>
          <a:solidFill>
            <a:schemeClr val="bg1"/>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23" name="TextBox 22"/>
          <p:cNvSpPr txBox="1"/>
          <p:nvPr/>
        </p:nvSpPr>
        <p:spPr>
          <a:xfrm>
            <a:off x="1184736" y="5410754"/>
            <a:ext cx="6252726" cy="627784"/>
          </a:xfrm>
          <a:prstGeom prst="rect">
            <a:avLst/>
          </a:prstGeom>
          <a:noFill/>
        </p:spPr>
        <p:txBody>
          <a:bodyPr wrap="square" lIns="182857" tIns="146285" rIns="182857" bIns="146285" rtlCol="0">
            <a:spAutoFit/>
          </a:bodyPr>
          <a:lstStyle/>
          <a:p>
            <a:pPr defTabSz="914309">
              <a:lnSpc>
                <a:spcPct val="90000"/>
              </a:lnSpc>
              <a:spcAft>
                <a:spcPts val="600"/>
              </a:spcAft>
              <a:defRPr/>
            </a:pPr>
            <a:r>
              <a:rPr lang="en-US" sz="2400" kern="0" dirty="0">
                <a:solidFill>
                  <a:schemeClr val="bg1"/>
                </a:solidFill>
                <a:latin typeface="Segoe UI Light"/>
              </a:rPr>
              <a:t>No need to monitor replication to DCs</a:t>
            </a:r>
          </a:p>
        </p:txBody>
      </p:sp>
      <p:sp>
        <p:nvSpPr>
          <p:cNvPr id="24" name="Freeform 23"/>
          <p:cNvSpPr>
            <a:spLocks noEditPoints="1"/>
          </p:cNvSpPr>
          <p:nvPr/>
        </p:nvSpPr>
        <p:spPr bwMode="auto">
          <a:xfrm>
            <a:off x="521422" y="6324711"/>
            <a:ext cx="468253" cy="349205"/>
          </a:xfrm>
          <a:custGeom>
            <a:avLst/>
            <a:gdLst>
              <a:gd name="T0" fmla="*/ 0 w 125"/>
              <a:gd name="T1" fmla="*/ 71 h 93"/>
              <a:gd name="T2" fmla="*/ 53 w 125"/>
              <a:gd name="T3" fmla="*/ 44 h 93"/>
              <a:gd name="T4" fmla="*/ 110 w 125"/>
              <a:gd name="T5" fmla="*/ 15 h 93"/>
              <a:gd name="T6" fmla="*/ 101 w 125"/>
              <a:gd name="T7" fmla="*/ 5 h 93"/>
              <a:gd name="T8" fmla="*/ 106 w 125"/>
              <a:gd name="T9" fmla="*/ 0 h 93"/>
              <a:gd name="T10" fmla="*/ 125 w 125"/>
              <a:gd name="T11" fmla="*/ 19 h 93"/>
              <a:gd name="T12" fmla="*/ 106 w 125"/>
              <a:gd name="T13" fmla="*/ 37 h 93"/>
              <a:gd name="T14" fmla="*/ 101 w 125"/>
              <a:gd name="T15" fmla="*/ 32 h 93"/>
              <a:gd name="T16" fmla="*/ 110 w 125"/>
              <a:gd name="T17" fmla="*/ 23 h 93"/>
              <a:gd name="T18" fmla="*/ 59 w 125"/>
              <a:gd name="T19" fmla="*/ 49 h 93"/>
              <a:gd name="T20" fmla="*/ 0 w 125"/>
              <a:gd name="T21" fmla="*/ 79 h 93"/>
              <a:gd name="T22" fmla="*/ 0 w 125"/>
              <a:gd name="T23" fmla="*/ 71 h 93"/>
              <a:gd name="T24" fmla="*/ 50 w 125"/>
              <a:gd name="T25" fmla="*/ 35 h 93"/>
              <a:gd name="T26" fmla="*/ 0 w 125"/>
              <a:gd name="T27" fmla="*/ 15 h 93"/>
              <a:gd name="T28" fmla="*/ 0 w 125"/>
              <a:gd name="T29" fmla="*/ 23 h 93"/>
              <a:gd name="T30" fmla="*/ 45 w 125"/>
              <a:gd name="T31" fmla="*/ 41 h 93"/>
              <a:gd name="T32" fmla="*/ 46 w 125"/>
              <a:gd name="T33" fmla="*/ 39 h 93"/>
              <a:gd name="T34" fmla="*/ 50 w 125"/>
              <a:gd name="T35" fmla="*/ 35 h 93"/>
              <a:gd name="T36" fmla="*/ 106 w 125"/>
              <a:gd name="T37" fmla="*/ 93 h 93"/>
              <a:gd name="T38" fmla="*/ 125 w 125"/>
              <a:gd name="T39" fmla="*/ 75 h 93"/>
              <a:gd name="T40" fmla="*/ 106 w 125"/>
              <a:gd name="T41" fmla="*/ 56 h 93"/>
              <a:gd name="T42" fmla="*/ 101 w 125"/>
              <a:gd name="T43" fmla="*/ 61 h 93"/>
              <a:gd name="T44" fmla="*/ 110 w 125"/>
              <a:gd name="T45" fmla="*/ 71 h 93"/>
              <a:gd name="T46" fmla="*/ 67 w 125"/>
              <a:gd name="T47" fmla="*/ 52 h 93"/>
              <a:gd name="T48" fmla="*/ 65 w 125"/>
              <a:gd name="T49" fmla="*/ 54 h 93"/>
              <a:gd name="T50" fmla="*/ 61 w 125"/>
              <a:gd name="T51" fmla="*/ 58 h 93"/>
              <a:gd name="T52" fmla="*/ 110 w 125"/>
              <a:gd name="T53" fmla="*/ 79 h 93"/>
              <a:gd name="T54" fmla="*/ 101 w 125"/>
              <a:gd name="T55" fmla="*/ 88 h 93"/>
              <a:gd name="T56" fmla="*/ 106 w 125"/>
              <a:gd name="T5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5" h="93">
                <a:moveTo>
                  <a:pt x="0" y="71"/>
                </a:moveTo>
                <a:cubicBezTo>
                  <a:pt x="20" y="71"/>
                  <a:pt x="38" y="61"/>
                  <a:pt x="53" y="44"/>
                </a:cubicBezTo>
                <a:cubicBezTo>
                  <a:pt x="68" y="26"/>
                  <a:pt x="88" y="15"/>
                  <a:pt x="110" y="15"/>
                </a:cubicBezTo>
                <a:cubicBezTo>
                  <a:pt x="101" y="5"/>
                  <a:pt x="101" y="5"/>
                  <a:pt x="101" y="5"/>
                </a:cubicBezTo>
                <a:cubicBezTo>
                  <a:pt x="106" y="0"/>
                  <a:pt x="106" y="0"/>
                  <a:pt x="106" y="0"/>
                </a:cubicBezTo>
                <a:cubicBezTo>
                  <a:pt x="125" y="19"/>
                  <a:pt x="125" y="19"/>
                  <a:pt x="125" y="19"/>
                </a:cubicBezTo>
                <a:cubicBezTo>
                  <a:pt x="106" y="37"/>
                  <a:pt x="106" y="37"/>
                  <a:pt x="106" y="37"/>
                </a:cubicBezTo>
                <a:cubicBezTo>
                  <a:pt x="101" y="32"/>
                  <a:pt x="101" y="32"/>
                  <a:pt x="101" y="32"/>
                </a:cubicBezTo>
                <a:cubicBezTo>
                  <a:pt x="110" y="23"/>
                  <a:pt x="110" y="23"/>
                  <a:pt x="110" y="23"/>
                </a:cubicBezTo>
                <a:cubicBezTo>
                  <a:pt x="91" y="23"/>
                  <a:pt x="72" y="33"/>
                  <a:pt x="59" y="49"/>
                </a:cubicBezTo>
                <a:cubicBezTo>
                  <a:pt x="43" y="68"/>
                  <a:pt x="22" y="79"/>
                  <a:pt x="0" y="79"/>
                </a:cubicBezTo>
                <a:lnTo>
                  <a:pt x="0" y="71"/>
                </a:lnTo>
                <a:close/>
                <a:moveTo>
                  <a:pt x="50" y="35"/>
                </a:moveTo>
                <a:cubicBezTo>
                  <a:pt x="36" y="22"/>
                  <a:pt x="18" y="15"/>
                  <a:pt x="0" y="15"/>
                </a:cubicBezTo>
                <a:cubicBezTo>
                  <a:pt x="0" y="23"/>
                  <a:pt x="0" y="23"/>
                  <a:pt x="0" y="23"/>
                </a:cubicBezTo>
                <a:cubicBezTo>
                  <a:pt x="16" y="23"/>
                  <a:pt x="32" y="29"/>
                  <a:pt x="45" y="41"/>
                </a:cubicBezTo>
                <a:cubicBezTo>
                  <a:pt x="45" y="40"/>
                  <a:pt x="46" y="40"/>
                  <a:pt x="46" y="39"/>
                </a:cubicBezTo>
                <a:cubicBezTo>
                  <a:pt x="48" y="38"/>
                  <a:pt x="49" y="36"/>
                  <a:pt x="50" y="35"/>
                </a:cubicBezTo>
                <a:close/>
                <a:moveTo>
                  <a:pt x="106" y="93"/>
                </a:moveTo>
                <a:cubicBezTo>
                  <a:pt x="125" y="75"/>
                  <a:pt x="125" y="75"/>
                  <a:pt x="125" y="75"/>
                </a:cubicBezTo>
                <a:cubicBezTo>
                  <a:pt x="106" y="56"/>
                  <a:pt x="106" y="56"/>
                  <a:pt x="106" y="56"/>
                </a:cubicBezTo>
                <a:cubicBezTo>
                  <a:pt x="101" y="61"/>
                  <a:pt x="101" y="61"/>
                  <a:pt x="101" y="61"/>
                </a:cubicBezTo>
                <a:cubicBezTo>
                  <a:pt x="110" y="71"/>
                  <a:pt x="110" y="71"/>
                  <a:pt x="110" y="71"/>
                </a:cubicBezTo>
                <a:cubicBezTo>
                  <a:pt x="94" y="70"/>
                  <a:pt x="79" y="64"/>
                  <a:pt x="67" y="52"/>
                </a:cubicBezTo>
                <a:cubicBezTo>
                  <a:pt x="66" y="53"/>
                  <a:pt x="65" y="54"/>
                  <a:pt x="65" y="54"/>
                </a:cubicBezTo>
                <a:cubicBezTo>
                  <a:pt x="64" y="56"/>
                  <a:pt x="63" y="57"/>
                  <a:pt x="61" y="58"/>
                </a:cubicBezTo>
                <a:cubicBezTo>
                  <a:pt x="75" y="71"/>
                  <a:pt x="92" y="78"/>
                  <a:pt x="110" y="79"/>
                </a:cubicBezTo>
                <a:cubicBezTo>
                  <a:pt x="101" y="88"/>
                  <a:pt x="101" y="88"/>
                  <a:pt x="101" y="88"/>
                </a:cubicBezTo>
                <a:lnTo>
                  <a:pt x="106" y="93"/>
                </a:lnTo>
                <a:close/>
              </a:path>
            </a:pathLst>
          </a:custGeom>
          <a:solidFill>
            <a:schemeClr val="bg1"/>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26" name="Freeform 25"/>
          <p:cNvSpPr>
            <a:spLocks noEditPoints="1"/>
          </p:cNvSpPr>
          <p:nvPr/>
        </p:nvSpPr>
        <p:spPr bwMode="auto">
          <a:xfrm>
            <a:off x="7668234" y="5748971"/>
            <a:ext cx="685800" cy="765354"/>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chemeClr val="bg1"/>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46244" y="1698690"/>
            <a:ext cx="4147762" cy="4166906"/>
          </a:xfrm>
          <a:prstGeom prst="rect">
            <a:avLst/>
          </a:prstGeom>
        </p:spPr>
      </p:pic>
    </p:spTree>
    <p:extLst>
      <p:ext uri="{BB962C8B-B14F-4D97-AF65-F5344CB8AC3E}">
        <p14:creationId xmlns:p14="http://schemas.microsoft.com/office/powerpoint/2010/main" val="303726705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Features</a:t>
            </a:r>
          </a:p>
        </p:txBody>
      </p:sp>
      <p:sp>
        <p:nvSpPr>
          <p:cNvPr id="12" name="TextBox 11"/>
          <p:cNvSpPr txBox="1"/>
          <p:nvPr/>
        </p:nvSpPr>
        <p:spPr>
          <a:xfrm>
            <a:off x="1567276" y="1397687"/>
            <a:ext cx="10440629" cy="4995175"/>
          </a:xfrm>
          <a:prstGeom prst="rect">
            <a:avLst/>
          </a:prstGeom>
          <a:noFill/>
        </p:spPr>
        <p:txBody>
          <a:bodyPr wrap="square" lIns="182857" tIns="146285" rIns="182857" bIns="146285" rtlCol="0">
            <a:spAutoFit/>
          </a:bodyPr>
          <a:lstStyle/>
          <a:p>
            <a:pPr marL="342866" indent="-342866" defTabSz="914309">
              <a:lnSpc>
                <a:spcPct val="90000"/>
              </a:lnSpc>
              <a:spcAft>
                <a:spcPts val="600"/>
              </a:spcAft>
              <a:buFont typeface="Arial" panose="020B0604020202020204" pitchFamily="34" charset="0"/>
              <a:buChar char="•"/>
              <a:defRPr/>
            </a:pPr>
            <a:r>
              <a:rPr lang="en-US" sz="1600" kern="0" dirty="0">
                <a:latin typeface="+mj-lt"/>
              </a:rPr>
              <a:t>Simple deployment</a:t>
            </a:r>
          </a:p>
          <a:p>
            <a:pPr marL="342866" indent="-342866" defTabSz="914309">
              <a:lnSpc>
                <a:spcPct val="90000"/>
              </a:lnSpc>
              <a:spcAft>
                <a:spcPts val="600"/>
              </a:spcAft>
              <a:buFont typeface="Arial" panose="020B0604020202020204" pitchFamily="34" charset="0"/>
              <a:buChar char="•"/>
              <a:defRPr/>
            </a:pPr>
            <a:r>
              <a:rPr lang="en-US" sz="1600" kern="0" dirty="0">
                <a:latin typeface="+mj-lt"/>
              </a:rPr>
              <a:t>Single managed domain per Azure AD directory</a:t>
            </a:r>
          </a:p>
          <a:p>
            <a:pPr marL="342866" indent="-342866" defTabSz="914309">
              <a:lnSpc>
                <a:spcPct val="90000"/>
              </a:lnSpc>
              <a:spcAft>
                <a:spcPts val="600"/>
              </a:spcAft>
              <a:buFont typeface="Arial" panose="020B0604020202020204" pitchFamily="34" charset="0"/>
              <a:buChar char="•"/>
              <a:defRPr/>
            </a:pPr>
            <a:r>
              <a:rPr lang="en-US" sz="1600" kern="0" dirty="0">
                <a:latin typeface="+mj-lt"/>
              </a:rPr>
              <a:t>High availability with fault tolerance</a:t>
            </a:r>
          </a:p>
          <a:p>
            <a:pPr marL="342866" indent="-342866" defTabSz="914309">
              <a:lnSpc>
                <a:spcPct val="90000"/>
              </a:lnSpc>
              <a:spcAft>
                <a:spcPts val="600"/>
              </a:spcAft>
              <a:buFont typeface="Arial" panose="020B0604020202020204" pitchFamily="34" charset="0"/>
              <a:buChar char="•"/>
              <a:defRPr/>
            </a:pPr>
            <a:r>
              <a:rPr lang="en-US" sz="1600" kern="0" dirty="0">
                <a:latin typeface="+mj-lt"/>
              </a:rPr>
              <a:t>Automatic health detection and remediation</a:t>
            </a:r>
          </a:p>
          <a:p>
            <a:pPr marL="342866" indent="-342866" defTabSz="914309">
              <a:lnSpc>
                <a:spcPct val="90000"/>
              </a:lnSpc>
              <a:spcAft>
                <a:spcPts val="600"/>
              </a:spcAft>
              <a:buFont typeface="Arial" panose="020B0604020202020204" pitchFamily="34" charset="0"/>
              <a:buChar char="•"/>
              <a:defRPr/>
            </a:pPr>
            <a:endParaRPr lang="en-US" sz="1600" kern="0" dirty="0">
              <a:latin typeface="+mj-lt"/>
            </a:endParaRPr>
          </a:p>
          <a:p>
            <a:pPr marL="342866" indent="-342866" defTabSz="914309">
              <a:lnSpc>
                <a:spcPct val="90000"/>
              </a:lnSpc>
              <a:spcAft>
                <a:spcPts val="600"/>
              </a:spcAft>
              <a:buFont typeface="Arial" panose="020B0604020202020204" pitchFamily="34" charset="0"/>
              <a:buChar char="•"/>
              <a:defRPr/>
            </a:pPr>
            <a:r>
              <a:rPr lang="en-US" sz="1600" kern="0" dirty="0">
                <a:latin typeface="Segoe UI Light"/>
              </a:rPr>
              <a:t>Auto-sync from Azure AD – use same users, groups, &amp; passwords</a:t>
            </a:r>
          </a:p>
          <a:p>
            <a:pPr marL="342866" indent="-342866" defTabSz="914309">
              <a:lnSpc>
                <a:spcPct val="90000"/>
              </a:lnSpc>
              <a:spcAft>
                <a:spcPts val="600"/>
              </a:spcAft>
              <a:buFont typeface="Arial" panose="020B0604020202020204" pitchFamily="34" charset="0"/>
              <a:buChar char="•"/>
              <a:defRPr/>
            </a:pPr>
            <a:r>
              <a:rPr lang="en-US" sz="1600" kern="0" dirty="0">
                <a:latin typeface="Segoe UI Light"/>
              </a:rPr>
              <a:t>On-premises SIDs are synced to </a:t>
            </a:r>
            <a:r>
              <a:rPr lang="en-US" sz="1600" kern="0" dirty="0" err="1">
                <a:latin typeface="Segoe UI Light"/>
              </a:rPr>
              <a:t>SIDHistory</a:t>
            </a:r>
            <a:r>
              <a:rPr lang="en-US" sz="1600" kern="0" dirty="0">
                <a:latin typeface="Segoe UI Light"/>
              </a:rPr>
              <a:t> in your managed domain</a:t>
            </a:r>
          </a:p>
          <a:p>
            <a:pPr marL="342866" indent="-342866" defTabSz="914309">
              <a:lnSpc>
                <a:spcPct val="90000"/>
              </a:lnSpc>
              <a:spcAft>
                <a:spcPts val="600"/>
              </a:spcAft>
              <a:buFont typeface="Arial" panose="020B0604020202020204" pitchFamily="34" charset="0"/>
              <a:buChar char="•"/>
              <a:defRPr/>
            </a:pPr>
            <a:endParaRPr lang="en-US" sz="1600" kern="0" dirty="0">
              <a:latin typeface="+mj-lt"/>
            </a:endParaRPr>
          </a:p>
          <a:p>
            <a:pPr marL="342866" indent="-342866" defTabSz="914309">
              <a:lnSpc>
                <a:spcPct val="90000"/>
              </a:lnSpc>
              <a:spcAft>
                <a:spcPts val="600"/>
              </a:spcAft>
              <a:buFont typeface="Arial" panose="020B0604020202020204" pitchFamily="34" charset="0"/>
              <a:buChar char="•"/>
              <a:defRPr/>
            </a:pPr>
            <a:r>
              <a:rPr lang="en-US" sz="1600" kern="0" dirty="0">
                <a:latin typeface="+mj-lt"/>
              </a:rPr>
              <a:t>Domain join</a:t>
            </a:r>
          </a:p>
          <a:p>
            <a:pPr marL="342866" indent="-342866" defTabSz="914309">
              <a:lnSpc>
                <a:spcPct val="90000"/>
              </a:lnSpc>
              <a:spcAft>
                <a:spcPts val="600"/>
              </a:spcAft>
              <a:buFont typeface="Arial" panose="020B0604020202020204" pitchFamily="34" charset="0"/>
              <a:buChar char="•"/>
              <a:defRPr/>
            </a:pPr>
            <a:r>
              <a:rPr lang="en-US" sz="1600" kern="0" dirty="0">
                <a:latin typeface="+mj-lt"/>
              </a:rPr>
              <a:t>Windows Integrated Authentication (Kerberos, NTLM)</a:t>
            </a:r>
          </a:p>
          <a:p>
            <a:pPr marL="342866" indent="-342866" defTabSz="914309">
              <a:lnSpc>
                <a:spcPct val="90000"/>
              </a:lnSpc>
              <a:spcAft>
                <a:spcPts val="600"/>
              </a:spcAft>
              <a:buFont typeface="Arial" panose="020B0604020202020204" pitchFamily="34" charset="0"/>
              <a:buChar char="•"/>
              <a:defRPr/>
            </a:pPr>
            <a:r>
              <a:rPr lang="en-US" sz="1600" kern="0" dirty="0">
                <a:latin typeface="+mj-lt"/>
              </a:rPr>
              <a:t>LDAP bind and LDAP read</a:t>
            </a:r>
          </a:p>
          <a:p>
            <a:pPr marL="342866" indent="-342866" defTabSz="914309">
              <a:lnSpc>
                <a:spcPct val="90000"/>
              </a:lnSpc>
              <a:spcAft>
                <a:spcPts val="600"/>
              </a:spcAft>
              <a:buFont typeface="Arial" panose="020B0604020202020204" pitchFamily="34" charset="0"/>
              <a:buChar char="•"/>
              <a:defRPr/>
            </a:pPr>
            <a:r>
              <a:rPr lang="en-US" sz="1600" kern="0" dirty="0">
                <a:latin typeface="+mj-lt"/>
              </a:rPr>
              <a:t>Secure LDAP (including over internet)</a:t>
            </a:r>
          </a:p>
          <a:p>
            <a:pPr marL="342866" indent="-342866" defTabSz="914309">
              <a:lnSpc>
                <a:spcPct val="90000"/>
              </a:lnSpc>
              <a:spcAft>
                <a:spcPts val="600"/>
              </a:spcAft>
              <a:buFont typeface="Arial" panose="020B0604020202020204" pitchFamily="34" charset="0"/>
              <a:buChar char="•"/>
              <a:defRPr/>
            </a:pPr>
            <a:endParaRPr lang="en-US" sz="1600" kern="0" dirty="0">
              <a:latin typeface="+mj-lt"/>
            </a:endParaRPr>
          </a:p>
          <a:p>
            <a:pPr marL="342866" indent="-342866" defTabSz="914309">
              <a:lnSpc>
                <a:spcPct val="90000"/>
              </a:lnSpc>
              <a:spcAft>
                <a:spcPts val="600"/>
              </a:spcAft>
              <a:buFont typeface="Arial" panose="020B0604020202020204" pitchFamily="34" charset="0"/>
              <a:buChar char="•"/>
              <a:defRPr/>
            </a:pPr>
            <a:r>
              <a:rPr lang="en-US" sz="1600" kern="0" dirty="0">
                <a:latin typeface="+mj-lt"/>
              </a:rPr>
              <a:t>Create custom Organizational Units (OUs)</a:t>
            </a:r>
          </a:p>
          <a:p>
            <a:pPr marL="342866" indent="-342866" defTabSz="914309">
              <a:lnSpc>
                <a:spcPct val="90000"/>
              </a:lnSpc>
              <a:spcAft>
                <a:spcPts val="600"/>
              </a:spcAft>
              <a:buFont typeface="Arial" panose="020B0604020202020204" pitchFamily="34" charset="0"/>
              <a:buChar char="•"/>
              <a:defRPr/>
            </a:pPr>
            <a:r>
              <a:rPr lang="en-US" sz="1600" kern="0" dirty="0">
                <a:latin typeface="+mj-lt"/>
              </a:rPr>
              <a:t>Administer DNS</a:t>
            </a:r>
          </a:p>
          <a:p>
            <a:pPr marL="342866" indent="-342866" defTabSz="914309">
              <a:lnSpc>
                <a:spcPct val="90000"/>
              </a:lnSpc>
              <a:spcAft>
                <a:spcPts val="600"/>
              </a:spcAft>
              <a:buFont typeface="Arial" panose="020B0604020202020204" pitchFamily="34" charset="0"/>
              <a:buChar char="•"/>
              <a:defRPr/>
            </a:pPr>
            <a:r>
              <a:rPr lang="en-US" sz="1600" kern="0" dirty="0">
                <a:latin typeface="+mj-lt"/>
              </a:rPr>
              <a:t>Basic Group Policy – single built-in GPO each for users &amp; computers containers</a:t>
            </a:r>
            <a:endParaRPr lang="en-US" kern="0" dirty="0">
              <a:latin typeface="+mj-lt"/>
            </a:endParaRPr>
          </a:p>
        </p:txBody>
      </p:sp>
      <p:sp>
        <p:nvSpPr>
          <p:cNvPr id="27" name="Freeform 26"/>
          <p:cNvSpPr>
            <a:spLocks noEditPoints="1"/>
          </p:cNvSpPr>
          <p:nvPr/>
        </p:nvSpPr>
        <p:spPr bwMode="auto">
          <a:xfrm>
            <a:off x="719197" y="5653143"/>
            <a:ext cx="442856" cy="434919"/>
          </a:xfrm>
          <a:custGeom>
            <a:avLst/>
            <a:gdLst>
              <a:gd name="T0" fmla="*/ 111 w 118"/>
              <a:gd name="T1" fmla="*/ 11 h 116"/>
              <a:gd name="T2" fmla="*/ 95 w 118"/>
              <a:gd name="T3" fmla="*/ 27 h 116"/>
              <a:gd name="T4" fmla="*/ 89 w 118"/>
              <a:gd name="T5" fmla="*/ 27 h 116"/>
              <a:gd name="T6" fmla="*/ 89 w 118"/>
              <a:gd name="T7" fmla="*/ 22 h 116"/>
              <a:gd name="T8" fmla="*/ 105 w 118"/>
              <a:gd name="T9" fmla="*/ 6 h 116"/>
              <a:gd name="T10" fmla="*/ 100 w 118"/>
              <a:gd name="T11" fmla="*/ 3 h 116"/>
              <a:gd name="T12" fmla="*/ 88 w 118"/>
              <a:gd name="T13" fmla="*/ 0 h 116"/>
              <a:gd name="T14" fmla="*/ 68 w 118"/>
              <a:gd name="T15" fmla="*/ 9 h 116"/>
              <a:gd name="T16" fmla="*/ 61 w 118"/>
              <a:gd name="T17" fmla="*/ 33 h 116"/>
              <a:gd name="T18" fmla="*/ 5 w 118"/>
              <a:gd name="T19" fmla="*/ 89 h 116"/>
              <a:gd name="T20" fmla="*/ 0 w 118"/>
              <a:gd name="T21" fmla="*/ 100 h 116"/>
              <a:gd name="T22" fmla="*/ 5 w 118"/>
              <a:gd name="T23" fmla="*/ 112 h 116"/>
              <a:gd name="T24" fmla="*/ 16 w 118"/>
              <a:gd name="T25" fmla="*/ 116 h 116"/>
              <a:gd name="T26" fmla="*/ 27 w 118"/>
              <a:gd name="T27" fmla="*/ 112 h 116"/>
              <a:gd name="T28" fmla="*/ 83 w 118"/>
              <a:gd name="T29" fmla="*/ 56 h 116"/>
              <a:gd name="T30" fmla="*/ 88 w 118"/>
              <a:gd name="T31" fmla="*/ 56 h 116"/>
              <a:gd name="T32" fmla="*/ 88 w 118"/>
              <a:gd name="T33" fmla="*/ 56 h 116"/>
              <a:gd name="T34" fmla="*/ 108 w 118"/>
              <a:gd name="T35" fmla="*/ 48 h 116"/>
              <a:gd name="T36" fmla="*/ 113 w 118"/>
              <a:gd name="T37" fmla="*/ 16 h 116"/>
              <a:gd name="T38" fmla="*/ 111 w 118"/>
              <a:gd name="T39" fmla="*/ 11 h 116"/>
              <a:gd name="T40" fmla="*/ 102 w 118"/>
              <a:gd name="T41" fmla="*/ 43 h 116"/>
              <a:gd name="T42" fmla="*/ 83 w 118"/>
              <a:gd name="T43" fmla="*/ 48 h 116"/>
              <a:gd name="T44" fmla="*/ 81 w 118"/>
              <a:gd name="T45" fmla="*/ 47 h 116"/>
              <a:gd name="T46" fmla="*/ 22 w 118"/>
              <a:gd name="T47" fmla="*/ 106 h 116"/>
              <a:gd name="T48" fmla="*/ 10 w 118"/>
              <a:gd name="T49" fmla="*/ 106 h 116"/>
              <a:gd name="T50" fmla="*/ 8 w 118"/>
              <a:gd name="T51" fmla="*/ 100 h 116"/>
              <a:gd name="T52" fmla="*/ 10 w 118"/>
              <a:gd name="T53" fmla="*/ 95 h 116"/>
              <a:gd name="T54" fmla="*/ 69 w 118"/>
              <a:gd name="T55" fmla="*/ 36 h 116"/>
              <a:gd name="T56" fmla="*/ 69 w 118"/>
              <a:gd name="T57" fmla="*/ 34 h 116"/>
              <a:gd name="T58" fmla="*/ 74 w 118"/>
              <a:gd name="T59" fmla="*/ 14 h 116"/>
              <a:gd name="T60" fmla="*/ 88 w 118"/>
              <a:gd name="T61" fmla="*/ 8 h 116"/>
              <a:gd name="T62" fmla="*/ 91 w 118"/>
              <a:gd name="T63" fmla="*/ 9 h 116"/>
              <a:gd name="T64" fmla="*/ 84 w 118"/>
              <a:gd name="T65" fmla="*/ 16 h 116"/>
              <a:gd name="T66" fmla="*/ 84 w 118"/>
              <a:gd name="T67" fmla="*/ 33 h 116"/>
              <a:gd name="T68" fmla="*/ 101 w 118"/>
              <a:gd name="T69" fmla="*/ 33 h 116"/>
              <a:gd name="T70" fmla="*/ 108 w 118"/>
              <a:gd name="T71" fmla="*/ 26 h 116"/>
              <a:gd name="T72" fmla="*/ 102 w 118"/>
              <a:gd name="T73" fmla="*/ 4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11" y="11"/>
                </a:moveTo>
                <a:cubicBezTo>
                  <a:pt x="95" y="27"/>
                  <a:pt x="95" y="27"/>
                  <a:pt x="95" y="27"/>
                </a:cubicBezTo>
                <a:cubicBezTo>
                  <a:pt x="93" y="29"/>
                  <a:pt x="91" y="29"/>
                  <a:pt x="89" y="27"/>
                </a:cubicBezTo>
                <a:cubicBezTo>
                  <a:pt x="88" y="26"/>
                  <a:pt x="88" y="23"/>
                  <a:pt x="89" y="22"/>
                </a:cubicBezTo>
                <a:cubicBezTo>
                  <a:pt x="105" y="6"/>
                  <a:pt x="105" y="6"/>
                  <a:pt x="105" y="6"/>
                </a:cubicBezTo>
                <a:cubicBezTo>
                  <a:pt x="100" y="3"/>
                  <a:pt x="100" y="3"/>
                  <a:pt x="100" y="3"/>
                </a:cubicBezTo>
                <a:cubicBezTo>
                  <a:pt x="96" y="1"/>
                  <a:pt x="92" y="0"/>
                  <a:pt x="88" y="0"/>
                </a:cubicBezTo>
                <a:cubicBezTo>
                  <a:pt x="81" y="0"/>
                  <a:pt x="74" y="3"/>
                  <a:pt x="68" y="9"/>
                </a:cubicBezTo>
                <a:cubicBezTo>
                  <a:pt x="62" y="15"/>
                  <a:pt x="59" y="24"/>
                  <a:pt x="61" y="33"/>
                </a:cubicBezTo>
                <a:cubicBezTo>
                  <a:pt x="5" y="89"/>
                  <a:pt x="5" y="89"/>
                  <a:pt x="5" y="89"/>
                </a:cubicBezTo>
                <a:cubicBezTo>
                  <a:pt x="2" y="92"/>
                  <a:pt x="0" y="96"/>
                  <a:pt x="0" y="100"/>
                </a:cubicBezTo>
                <a:cubicBezTo>
                  <a:pt x="0" y="105"/>
                  <a:pt x="2" y="109"/>
                  <a:pt x="5" y="112"/>
                </a:cubicBezTo>
                <a:cubicBezTo>
                  <a:pt x="8" y="115"/>
                  <a:pt x="12" y="116"/>
                  <a:pt x="16" y="116"/>
                </a:cubicBezTo>
                <a:cubicBezTo>
                  <a:pt x="20" y="116"/>
                  <a:pt x="24" y="115"/>
                  <a:pt x="27" y="112"/>
                </a:cubicBezTo>
                <a:cubicBezTo>
                  <a:pt x="83" y="56"/>
                  <a:pt x="83" y="56"/>
                  <a:pt x="83" y="56"/>
                </a:cubicBezTo>
                <a:cubicBezTo>
                  <a:pt x="85" y="56"/>
                  <a:pt x="87" y="56"/>
                  <a:pt x="88" y="56"/>
                </a:cubicBezTo>
                <a:cubicBezTo>
                  <a:pt x="88" y="56"/>
                  <a:pt x="88" y="56"/>
                  <a:pt x="88" y="56"/>
                </a:cubicBezTo>
                <a:cubicBezTo>
                  <a:pt x="96" y="56"/>
                  <a:pt x="103" y="53"/>
                  <a:pt x="108" y="48"/>
                </a:cubicBezTo>
                <a:cubicBezTo>
                  <a:pt x="116" y="40"/>
                  <a:pt x="118" y="27"/>
                  <a:pt x="113" y="16"/>
                </a:cubicBezTo>
                <a:lnTo>
                  <a:pt x="111" y="11"/>
                </a:lnTo>
                <a:close/>
                <a:moveTo>
                  <a:pt x="102" y="43"/>
                </a:moveTo>
                <a:cubicBezTo>
                  <a:pt x="97" y="48"/>
                  <a:pt x="90" y="50"/>
                  <a:pt x="83" y="48"/>
                </a:cubicBezTo>
                <a:cubicBezTo>
                  <a:pt x="81" y="47"/>
                  <a:pt x="81" y="47"/>
                  <a:pt x="81" y="47"/>
                </a:cubicBezTo>
                <a:cubicBezTo>
                  <a:pt x="22" y="106"/>
                  <a:pt x="22" y="106"/>
                  <a:pt x="22" y="106"/>
                </a:cubicBezTo>
                <a:cubicBezTo>
                  <a:pt x="19" y="109"/>
                  <a:pt x="13" y="109"/>
                  <a:pt x="10" y="106"/>
                </a:cubicBezTo>
                <a:cubicBezTo>
                  <a:pt x="9" y="105"/>
                  <a:pt x="8" y="103"/>
                  <a:pt x="8" y="100"/>
                </a:cubicBezTo>
                <a:cubicBezTo>
                  <a:pt x="8" y="98"/>
                  <a:pt x="9" y="96"/>
                  <a:pt x="10" y="95"/>
                </a:cubicBezTo>
                <a:cubicBezTo>
                  <a:pt x="69" y="36"/>
                  <a:pt x="69" y="36"/>
                  <a:pt x="69" y="36"/>
                </a:cubicBezTo>
                <a:cubicBezTo>
                  <a:pt x="69" y="34"/>
                  <a:pt x="69" y="34"/>
                  <a:pt x="69" y="34"/>
                </a:cubicBezTo>
                <a:cubicBezTo>
                  <a:pt x="67" y="27"/>
                  <a:pt x="69" y="19"/>
                  <a:pt x="74" y="14"/>
                </a:cubicBezTo>
                <a:cubicBezTo>
                  <a:pt x="78" y="11"/>
                  <a:pt x="83" y="8"/>
                  <a:pt x="88" y="8"/>
                </a:cubicBezTo>
                <a:cubicBezTo>
                  <a:pt x="89" y="8"/>
                  <a:pt x="90" y="9"/>
                  <a:pt x="91" y="9"/>
                </a:cubicBezTo>
                <a:cubicBezTo>
                  <a:pt x="84" y="16"/>
                  <a:pt x="84" y="16"/>
                  <a:pt x="84" y="16"/>
                </a:cubicBezTo>
                <a:cubicBezTo>
                  <a:pt x="79" y="21"/>
                  <a:pt x="79" y="28"/>
                  <a:pt x="84" y="33"/>
                </a:cubicBezTo>
                <a:cubicBezTo>
                  <a:pt x="88" y="37"/>
                  <a:pt x="96" y="37"/>
                  <a:pt x="101" y="33"/>
                </a:cubicBezTo>
                <a:cubicBezTo>
                  <a:pt x="108" y="26"/>
                  <a:pt x="108" y="26"/>
                  <a:pt x="108" y="26"/>
                </a:cubicBezTo>
                <a:cubicBezTo>
                  <a:pt x="109" y="32"/>
                  <a:pt x="107" y="38"/>
                  <a:pt x="102" y="43"/>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28" name="Freeform 27"/>
          <p:cNvSpPr>
            <a:spLocks noEditPoints="1"/>
          </p:cNvSpPr>
          <p:nvPr/>
        </p:nvSpPr>
        <p:spPr bwMode="auto">
          <a:xfrm>
            <a:off x="739038" y="3086161"/>
            <a:ext cx="403174" cy="487301"/>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29" name="Freeform 28"/>
          <p:cNvSpPr>
            <a:spLocks noChangeAspect="1" noEditPoints="1"/>
          </p:cNvSpPr>
          <p:nvPr/>
        </p:nvSpPr>
        <p:spPr bwMode="auto">
          <a:xfrm>
            <a:off x="722634" y="4210041"/>
            <a:ext cx="435983" cy="430221"/>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
        <p:nvSpPr>
          <p:cNvPr id="30" name="Freeform 29"/>
          <p:cNvSpPr>
            <a:spLocks noChangeAspect="1" noEditPoints="1"/>
          </p:cNvSpPr>
          <p:nvPr/>
        </p:nvSpPr>
        <p:spPr bwMode="auto">
          <a:xfrm>
            <a:off x="693007" y="2006634"/>
            <a:ext cx="495237" cy="271428"/>
          </a:xfrm>
          <a:custGeom>
            <a:avLst/>
            <a:gdLst>
              <a:gd name="T0" fmla="*/ 312 w 312"/>
              <a:gd name="T1" fmla="*/ 0 h 171"/>
              <a:gd name="T2" fmla="*/ 312 w 312"/>
              <a:gd name="T3" fmla="*/ 19 h 171"/>
              <a:gd name="T4" fmla="*/ 66 w 312"/>
              <a:gd name="T5" fmla="*/ 19 h 171"/>
              <a:gd name="T6" fmla="*/ 66 w 312"/>
              <a:gd name="T7" fmla="*/ 0 h 171"/>
              <a:gd name="T8" fmla="*/ 312 w 312"/>
              <a:gd name="T9" fmla="*/ 0 h 171"/>
              <a:gd name="T10" fmla="*/ 9 w 312"/>
              <a:gd name="T11" fmla="*/ 95 h 171"/>
              <a:gd name="T12" fmla="*/ 28 w 312"/>
              <a:gd name="T13" fmla="*/ 95 h 171"/>
              <a:gd name="T14" fmla="*/ 28 w 312"/>
              <a:gd name="T15" fmla="*/ 76 h 171"/>
              <a:gd name="T16" fmla="*/ 9 w 312"/>
              <a:gd name="T17" fmla="*/ 76 h 171"/>
              <a:gd name="T18" fmla="*/ 9 w 312"/>
              <a:gd name="T19" fmla="*/ 95 h 171"/>
              <a:gd name="T20" fmla="*/ 9 w 312"/>
              <a:gd name="T21" fmla="*/ 19 h 171"/>
              <a:gd name="T22" fmla="*/ 28 w 312"/>
              <a:gd name="T23" fmla="*/ 19 h 171"/>
              <a:gd name="T24" fmla="*/ 28 w 312"/>
              <a:gd name="T25" fmla="*/ 0 h 171"/>
              <a:gd name="T26" fmla="*/ 9 w 312"/>
              <a:gd name="T27" fmla="*/ 0 h 171"/>
              <a:gd name="T28" fmla="*/ 9 w 312"/>
              <a:gd name="T29" fmla="*/ 19 h 171"/>
              <a:gd name="T30" fmla="*/ 66 w 312"/>
              <a:gd name="T31" fmla="*/ 95 h 171"/>
              <a:gd name="T32" fmla="*/ 312 w 312"/>
              <a:gd name="T33" fmla="*/ 95 h 171"/>
              <a:gd name="T34" fmla="*/ 312 w 312"/>
              <a:gd name="T35" fmla="*/ 76 h 171"/>
              <a:gd name="T36" fmla="*/ 66 w 312"/>
              <a:gd name="T37" fmla="*/ 76 h 171"/>
              <a:gd name="T38" fmla="*/ 66 w 312"/>
              <a:gd name="T39" fmla="*/ 95 h 171"/>
              <a:gd name="T40" fmla="*/ 66 w 312"/>
              <a:gd name="T41" fmla="*/ 171 h 171"/>
              <a:gd name="T42" fmla="*/ 312 w 312"/>
              <a:gd name="T43" fmla="*/ 171 h 171"/>
              <a:gd name="T44" fmla="*/ 312 w 312"/>
              <a:gd name="T45" fmla="*/ 152 h 171"/>
              <a:gd name="T46" fmla="*/ 66 w 312"/>
              <a:gd name="T47" fmla="*/ 152 h 171"/>
              <a:gd name="T48" fmla="*/ 66 w 312"/>
              <a:gd name="T49" fmla="*/ 171 h 171"/>
              <a:gd name="T50" fmla="*/ 54 w 312"/>
              <a:gd name="T51" fmla="*/ 137 h 171"/>
              <a:gd name="T52" fmla="*/ 42 w 312"/>
              <a:gd name="T53" fmla="*/ 126 h 171"/>
              <a:gd name="T54" fmla="*/ 19 w 312"/>
              <a:gd name="T55" fmla="*/ 149 h 171"/>
              <a:gd name="T56" fmla="*/ 9 w 312"/>
              <a:gd name="T57" fmla="*/ 140 h 171"/>
              <a:gd name="T58" fmla="*/ 0 w 312"/>
              <a:gd name="T59" fmla="*/ 152 h 171"/>
              <a:gd name="T60" fmla="*/ 19 w 312"/>
              <a:gd name="T61" fmla="*/ 171 h 171"/>
              <a:gd name="T62" fmla="*/ 54 w 312"/>
              <a:gd name="T63" fmla="*/ 13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2" h="171">
                <a:moveTo>
                  <a:pt x="312" y="0"/>
                </a:moveTo>
                <a:lnTo>
                  <a:pt x="312" y="19"/>
                </a:lnTo>
                <a:lnTo>
                  <a:pt x="66" y="19"/>
                </a:lnTo>
                <a:lnTo>
                  <a:pt x="66" y="0"/>
                </a:lnTo>
                <a:lnTo>
                  <a:pt x="312" y="0"/>
                </a:lnTo>
                <a:close/>
                <a:moveTo>
                  <a:pt x="9" y="95"/>
                </a:moveTo>
                <a:lnTo>
                  <a:pt x="28" y="95"/>
                </a:lnTo>
                <a:lnTo>
                  <a:pt x="28" y="76"/>
                </a:lnTo>
                <a:lnTo>
                  <a:pt x="9" y="76"/>
                </a:lnTo>
                <a:lnTo>
                  <a:pt x="9" y="95"/>
                </a:lnTo>
                <a:close/>
                <a:moveTo>
                  <a:pt x="9" y="19"/>
                </a:moveTo>
                <a:lnTo>
                  <a:pt x="28" y="19"/>
                </a:lnTo>
                <a:lnTo>
                  <a:pt x="28" y="0"/>
                </a:lnTo>
                <a:lnTo>
                  <a:pt x="9" y="0"/>
                </a:lnTo>
                <a:lnTo>
                  <a:pt x="9" y="19"/>
                </a:lnTo>
                <a:close/>
                <a:moveTo>
                  <a:pt x="66" y="95"/>
                </a:moveTo>
                <a:lnTo>
                  <a:pt x="312" y="95"/>
                </a:lnTo>
                <a:lnTo>
                  <a:pt x="312" y="76"/>
                </a:lnTo>
                <a:lnTo>
                  <a:pt x="66" y="76"/>
                </a:lnTo>
                <a:lnTo>
                  <a:pt x="66" y="95"/>
                </a:lnTo>
                <a:close/>
                <a:moveTo>
                  <a:pt x="66" y="171"/>
                </a:moveTo>
                <a:lnTo>
                  <a:pt x="312" y="171"/>
                </a:lnTo>
                <a:lnTo>
                  <a:pt x="312" y="152"/>
                </a:lnTo>
                <a:lnTo>
                  <a:pt x="66" y="152"/>
                </a:lnTo>
                <a:lnTo>
                  <a:pt x="66" y="171"/>
                </a:lnTo>
                <a:close/>
                <a:moveTo>
                  <a:pt x="54" y="137"/>
                </a:moveTo>
                <a:lnTo>
                  <a:pt x="42" y="126"/>
                </a:lnTo>
                <a:lnTo>
                  <a:pt x="19" y="149"/>
                </a:lnTo>
                <a:lnTo>
                  <a:pt x="9" y="140"/>
                </a:lnTo>
                <a:lnTo>
                  <a:pt x="0" y="152"/>
                </a:lnTo>
                <a:lnTo>
                  <a:pt x="19" y="171"/>
                </a:lnTo>
                <a:lnTo>
                  <a:pt x="54" y="137"/>
                </a:lnTo>
                <a:close/>
              </a:path>
            </a:pathLst>
          </a:custGeom>
          <a:solidFill>
            <a:schemeClr val="tx2"/>
          </a:solidFill>
          <a:ln>
            <a:noFill/>
          </a:ln>
        </p:spPr>
        <p:txBody>
          <a:bodyPr vert="horz" wrap="square" lIns="91428" tIns="45714" rIns="91428"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endParaRPr lang="en-US"/>
          </a:p>
        </p:txBody>
      </p:sp>
    </p:spTree>
    <p:extLst>
      <p:ext uri="{BB962C8B-B14F-4D97-AF65-F5344CB8AC3E}">
        <p14:creationId xmlns:p14="http://schemas.microsoft.com/office/powerpoint/2010/main" val="231610146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66169" y="295278"/>
            <a:ext cx="12068719" cy="917575"/>
          </a:xfrm>
        </p:spPr>
        <p:txBody>
          <a:bodyPr/>
          <a:lstStyle/>
          <a:p>
            <a:r>
              <a:rPr lang="en-US" dirty="0"/>
              <a:t>Deciding when not to ‘DIY’ your AD deployment</a:t>
            </a:r>
            <a:br>
              <a:rPr lang="en-US" b="1" dirty="0">
                <a:solidFill>
                  <a:srgbClr val="FF0000"/>
                </a:solidFill>
              </a:rPr>
            </a:b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246697414"/>
              </p:ext>
            </p:extLst>
          </p:nvPr>
        </p:nvGraphicFramePr>
        <p:xfrm>
          <a:off x="274603" y="1211262"/>
          <a:ext cx="11961872" cy="5252771"/>
        </p:xfrm>
        <a:graphic>
          <a:graphicData uri="http://schemas.openxmlformats.org/drawingml/2006/table">
            <a:tbl>
              <a:tblPr>
                <a:tableStyleId>{775DCB02-9BB8-47FD-8907-85C794F793BA}</a:tableStyleId>
              </a:tblPr>
              <a:tblGrid>
                <a:gridCol w="5150250">
                  <a:extLst>
                    <a:ext uri="{9D8B030D-6E8A-4147-A177-3AD203B41FA5}">
                      <a16:colId xmlns:a16="http://schemas.microsoft.com/office/drawing/2014/main" val="812840867"/>
                    </a:ext>
                  </a:extLst>
                </a:gridCol>
                <a:gridCol w="3002109">
                  <a:extLst>
                    <a:ext uri="{9D8B030D-6E8A-4147-A177-3AD203B41FA5}">
                      <a16:colId xmlns:a16="http://schemas.microsoft.com/office/drawing/2014/main" val="2973971094"/>
                    </a:ext>
                  </a:extLst>
                </a:gridCol>
                <a:gridCol w="3809513">
                  <a:extLst>
                    <a:ext uri="{9D8B030D-6E8A-4147-A177-3AD203B41FA5}">
                      <a16:colId xmlns:a16="http://schemas.microsoft.com/office/drawing/2014/main" val="2304726372"/>
                    </a:ext>
                  </a:extLst>
                </a:gridCol>
              </a:tblGrid>
              <a:tr h="347961">
                <a:tc>
                  <a:txBody>
                    <a:bodyPr/>
                    <a:lstStyle/>
                    <a:p>
                      <a:pPr marL="0" algn="l" defTabSz="932742" rtl="0" eaLnBrk="1" latinLnBrk="0" hangingPunct="1"/>
                      <a:r>
                        <a:rPr lang="en-US" sz="1400" b="0" i="0" kern="1200" dirty="0">
                          <a:solidFill>
                            <a:schemeClr val="bg1"/>
                          </a:solidFill>
                          <a:latin typeface="Segoe UI Semibold" panose="020B0702040204020203" pitchFamily="34" charset="0"/>
                          <a:cs typeface="Segoe UI Semibold" panose="020B0702040204020203" pitchFamily="34" charset="0"/>
                        </a:rPr>
                        <a:t>Feature</a:t>
                      </a:r>
                      <a:endParaRPr lang="en-US" sz="1400" b="0" i="0" kern="1200" dirty="0">
                        <a:solidFill>
                          <a:schemeClr val="bg1"/>
                        </a:solidFill>
                        <a:latin typeface="Segoe UI Semibold" panose="020B0702040204020203" pitchFamily="34" charset="0"/>
                        <a:ea typeface="+mn-ea"/>
                        <a:cs typeface="Segoe UI Semibold" panose="020B0702040204020203" pitchFamily="34" charset="0"/>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defTabSz="932742" rtl="0" eaLnBrk="1" latinLnBrk="0" hangingPunct="1"/>
                      <a:r>
                        <a:rPr lang="en-US" sz="1400" b="0" i="0" kern="1200" dirty="0">
                          <a:solidFill>
                            <a:schemeClr val="bg1"/>
                          </a:solidFill>
                          <a:latin typeface="Segoe UI Semibold" panose="020B0702040204020203" pitchFamily="34" charset="0"/>
                          <a:cs typeface="Segoe UI Semibold" panose="020B0702040204020203" pitchFamily="34" charset="0"/>
                        </a:rPr>
                        <a:t>Azure AD Domain Services</a:t>
                      </a:r>
                      <a:endParaRPr lang="en-US" sz="1400" b="0" i="0" kern="1200" dirty="0">
                        <a:solidFill>
                          <a:schemeClr val="bg1"/>
                        </a:solidFill>
                        <a:latin typeface="Segoe UI Semibold" panose="020B0702040204020203" pitchFamily="34" charset="0"/>
                        <a:ea typeface="+mn-ea"/>
                        <a:cs typeface="Segoe UI Semibold" panose="020B0702040204020203" pitchFamily="34" charset="0"/>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defTabSz="932742" rtl="0" eaLnBrk="1" latinLnBrk="0" hangingPunct="1"/>
                      <a:r>
                        <a:rPr lang="en-US" sz="1400" b="0" i="0" kern="1200" dirty="0">
                          <a:solidFill>
                            <a:schemeClr val="bg1"/>
                          </a:solidFill>
                          <a:latin typeface="Segoe UI Semibold" panose="020B0702040204020203" pitchFamily="34" charset="0"/>
                          <a:cs typeface="Segoe UI Semibold" panose="020B0702040204020203" pitchFamily="34" charset="0"/>
                        </a:rPr>
                        <a:t>'Do-it-yourself' AD in Azure VMs</a:t>
                      </a:r>
                      <a:endParaRPr lang="en-US" sz="1400" b="0" i="0" kern="1200" dirty="0">
                        <a:solidFill>
                          <a:schemeClr val="bg1"/>
                        </a:solidFill>
                        <a:latin typeface="Segoe UI Semibold" panose="020B0702040204020203" pitchFamily="34" charset="0"/>
                        <a:ea typeface="+mn-ea"/>
                        <a:cs typeface="Segoe UI Semibold" panose="020B0702040204020203" pitchFamily="34" charset="0"/>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72477480"/>
                  </a:ext>
                </a:extLst>
              </a:tr>
              <a:tr h="347961">
                <a:tc>
                  <a:txBody>
                    <a:bodyPr/>
                    <a:lstStyle/>
                    <a:p>
                      <a:pPr marL="0" algn="l" defTabSz="932742" rtl="0" eaLnBrk="1" latinLnBrk="0" hangingPunct="1"/>
                      <a:r>
                        <a:rPr lang="en-US" sz="1300" kern="1200" dirty="0"/>
                        <a:t>Managed service</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300" kern="1200" dirty="0"/>
                        <a:t>No</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95345644"/>
                  </a:ext>
                </a:extLst>
              </a:tr>
              <a:tr h="381317">
                <a:tc>
                  <a:txBody>
                    <a:bodyPr/>
                    <a:lstStyle/>
                    <a:p>
                      <a:pPr marL="0" algn="l" defTabSz="932742" rtl="0" eaLnBrk="1" latinLnBrk="0" hangingPunct="1"/>
                      <a:r>
                        <a:rPr lang="en-US" sz="1300" kern="1200" dirty="0"/>
                        <a:t>Secured and locked-down deployment</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300" b="0" kern="1200" dirty="0">
                          <a:solidFill>
                            <a:schemeClr val="dk1"/>
                          </a:solidFill>
                          <a:latin typeface="+mn-lt"/>
                          <a:ea typeface="+mn-ea"/>
                          <a:cs typeface="+mn-cs"/>
                        </a:rPr>
                        <a:t>Needs</a:t>
                      </a:r>
                      <a:r>
                        <a:rPr lang="en-US" sz="1300" b="0" kern="1200" baseline="0" dirty="0">
                          <a:solidFill>
                            <a:schemeClr val="dk1"/>
                          </a:solidFill>
                          <a:latin typeface="+mn-lt"/>
                          <a:ea typeface="+mn-ea"/>
                          <a:cs typeface="+mn-cs"/>
                        </a:rPr>
                        <a:t> to be secured</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86928567"/>
                  </a:ext>
                </a:extLst>
              </a:tr>
              <a:tr h="347961">
                <a:tc>
                  <a:txBody>
                    <a:bodyPr/>
                    <a:lstStyle/>
                    <a:p>
                      <a:pPr marL="0" algn="l" defTabSz="932742" rtl="0" eaLnBrk="1" latinLnBrk="0" hangingPunct="1"/>
                      <a:r>
                        <a:rPr lang="en-US" sz="1300" kern="1200" dirty="0"/>
                        <a:t>DNS server</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 (managed service)</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0615525"/>
                  </a:ext>
                </a:extLst>
              </a:tr>
              <a:tr h="347961">
                <a:tc>
                  <a:txBody>
                    <a:bodyPr/>
                    <a:lstStyle/>
                    <a:p>
                      <a:pPr marL="0" algn="l" defTabSz="932742" rtl="0" eaLnBrk="1" latinLnBrk="0" hangingPunct="1"/>
                      <a:r>
                        <a:rPr lang="en-US" sz="1300" kern="1200" dirty="0"/>
                        <a:t>Domain or Enterprise administrator privileg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No</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47044465"/>
                  </a:ext>
                </a:extLst>
              </a:tr>
              <a:tr h="347961">
                <a:tc>
                  <a:txBody>
                    <a:bodyPr/>
                    <a:lstStyle/>
                    <a:p>
                      <a:pPr marL="0" algn="l" defTabSz="932742" rtl="0" eaLnBrk="1" latinLnBrk="0" hangingPunct="1"/>
                      <a:r>
                        <a:rPr lang="en-US" sz="1300" kern="1200" dirty="0"/>
                        <a:t>Domain join</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 </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43034840"/>
                  </a:ext>
                </a:extLst>
              </a:tr>
              <a:tr h="347961">
                <a:tc>
                  <a:txBody>
                    <a:bodyPr/>
                    <a:lstStyle/>
                    <a:p>
                      <a:pPr marL="0" algn="l" defTabSz="932742" rtl="0" eaLnBrk="1" latinLnBrk="0" hangingPunct="1"/>
                      <a:r>
                        <a:rPr lang="en-US" sz="1300" kern="1200" dirty="0"/>
                        <a:t>Domain authentication using NTLM and Kerbero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23485469"/>
                  </a:ext>
                </a:extLst>
              </a:tr>
              <a:tr h="347961">
                <a:tc>
                  <a:txBody>
                    <a:bodyPr/>
                    <a:lstStyle/>
                    <a:p>
                      <a:pPr marL="0" algn="l" defTabSz="932742" rtl="0" eaLnBrk="1" latinLnBrk="0" hangingPunct="1"/>
                      <a:r>
                        <a:rPr lang="en-US" sz="1300" kern="1200" dirty="0"/>
                        <a:t>Custom OU structure</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30156719"/>
                  </a:ext>
                </a:extLst>
              </a:tr>
              <a:tr h="347961">
                <a:tc>
                  <a:txBody>
                    <a:bodyPr/>
                    <a:lstStyle/>
                    <a:p>
                      <a:pPr marL="0" algn="l" defTabSz="932742" rtl="0" eaLnBrk="1" latinLnBrk="0" hangingPunct="1"/>
                      <a:r>
                        <a:rPr lang="en-US" sz="1300" kern="1200" dirty="0"/>
                        <a:t>Schema extension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No</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22352733"/>
                  </a:ext>
                </a:extLst>
              </a:tr>
              <a:tr h="347961">
                <a:tc>
                  <a:txBody>
                    <a:bodyPr/>
                    <a:lstStyle/>
                    <a:p>
                      <a:pPr marL="0" algn="l" defTabSz="932742" rtl="0" eaLnBrk="1" latinLnBrk="0" hangingPunct="1"/>
                      <a:r>
                        <a:rPr lang="en-US" sz="1300" kern="1200" dirty="0"/>
                        <a:t>AD domain/forest trust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No</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76416554"/>
                  </a:ext>
                </a:extLst>
              </a:tr>
              <a:tr h="347961">
                <a:tc>
                  <a:txBody>
                    <a:bodyPr/>
                    <a:lstStyle/>
                    <a:p>
                      <a:pPr marL="0" algn="l" defTabSz="932742" rtl="0" eaLnBrk="1" latinLnBrk="0" hangingPunct="1"/>
                      <a:r>
                        <a:rPr lang="en-US" sz="1300" kern="1200" dirty="0"/>
                        <a:t>LDAP read</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01776681"/>
                  </a:ext>
                </a:extLst>
              </a:tr>
              <a:tr h="347961">
                <a:tc>
                  <a:txBody>
                    <a:bodyPr/>
                    <a:lstStyle/>
                    <a:p>
                      <a:pPr marL="0" algn="l" defTabSz="932742" rtl="0" eaLnBrk="1" latinLnBrk="0" hangingPunct="1"/>
                      <a:r>
                        <a:rPr lang="en-US" sz="1300" kern="1200" dirty="0"/>
                        <a:t>Secure LDAP (LDAP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45585873"/>
                  </a:ext>
                </a:extLst>
              </a:tr>
              <a:tr h="347961">
                <a:tc>
                  <a:txBody>
                    <a:bodyPr/>
                    <a:lstStyle/>
                    <a:p>
                      <a:pPr marL="0" algn="l" defTabSz="932742" rtl="0" eaLnBrk="1" latinLnBrk="0" hangingPunct="1"/>
                      <a:r>
                        <a:rPr lang="en-US" sz="1300" kern="1200" dirty="0"/>
                        <a:t>LDAP write</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No</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02099673"/>
                  </a:ext>
                </a:extLst>
              </a:tr>
              <a:tr h="347961">
                <a:tc>
                  <a:txBody>
                    <a:bodyPr/>
                    <a:lstStyle/>
                    <a:p>
                      <a:pPr marL="0" algn="l" defTabSz="932742" rtl="0" eaLnBrk="1" latinLnBrk="0" hangingPunct="1"/>
                      <a:r>
                        <a:rPr lang="en-US" sz="1300" kern="1200" dirty="0"/>
                        <a:t>Group Policy</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Simple</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en-US" sz="1300" kern="1200" dirty="0"/>
                        <a:t>Full</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22883037"/>
                  </a:ext>
                </a:extLst>
              </a:tr>
              <a:tr h="347961">
                <a:tc>
                  <a:txBody>
                    <a:bodyPr/>
                    <a:lstStyle/>
                    <a:p>
                      <a:pPr marL="0" algn="l" defTabSz="932742" rtl="0" eaLnBrk="1" latinLnBrk="0" hangingPunct="1"/>
                      <a:r>
                        <a:rPr lang="en-US" sz="1300" kern="1200" dirty="0"/>
                        <a:t>Geo-dispersed deployment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No</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algn="l" defTabSz="932742" rtl="0" eaLnBrk="1" latinLnBrk="0" hangingPunct="1"/>
                      <a:r>
                        <a:rPr lang="en-US" sz="1300" kern="1200" dirty="0"/>
                        <a:t>Yes</a:t>
                      </a:r>
                      <a:endParaRPr lang="en-US" sz="1300" b="0" kern="1200" dirty="0">
                        <a:solidFill>
                          <a:schemeClr val="tx1"/>
                        </a:solidFill>
                        <a:latin typeface="+mn-lt"/>
                        <a:ea typeface="+mn-ea"/>
                        <a:cs typeface="+mn-cs"/>
                      </a:endParaRPr>
                    </a:p>
                  </a:txBody>
                  <a:tcPr marL="32186" marR="32186" marT="16093" marB="160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62435052"/>
                  </a:ext>
                </a:extLst>
              </a:tr>
            </a:tbl>
          </a:graphicData>
        </a:graphic>
      </p:graphicFrame>
      <p:sp>
        <p:nvSpPr>
          <p:cNvPr id="4" name="TextBox 3"/>
          <p:cNvSpPr txBox="1"/>
          <p:nvPr/>
        </p:nvSpPr>
        <p:spPr>
          <a:xfrm>
            <a:off x="122222" y="6513136"/>
            <a:ext cx="12190444" cy="489326"/>
          </a:xfrm>
          <a:prstGeom prst="rect">
            <a:avLst/>
          </a:prstGeom>
          <a:noFill/>
        </p:spPr>
        <p:txBody>
          <a:bodyPr wrap="square" lIns="182857" tIns="146285" rIns="182857" bIns="146285" rtlCol="0">
            <a:spAutoFit/>
          </a:bodyPr>
          <a:lstStyle/>
          <a:p>
            <a:pPr defTabSz="914309">
              <a:lnSpc>
                <a:spcPct val="90000"/>
              </a:lnSpc>
              <a:spcAft>
                <a:spcPts val="600"/>
              </a:spcAft>
              <a:defRPr/>
            </a:pPr>
            <a:r>
              <a:rPr lang="en-US" sz="1400" kern="0" dirty="0">
                <a:latin typeface="Segoe UI Light"/>
              </a:rPr>
              <a:t>More information</a:t>
            </a:r>
            <a:r>
              <a:rPr lang="en-US" sz="1400" kern="0" dirty="0">
                <a:gradFill>
                  <a:gsLst>
                    <a:gs pos="2917">
                      <a:srgbClr val="505050"/>
                    </a:gs>
                    <a:gs pos="30000">
                      <a:srgbClr val="505050"/>
                    </a:gs>
                  </a:gsLst>
                  <a:lin ang="5400000" scaled="0"/>
                </a:gradFill>
                <a:latin typeface="Segoe UI Light"/>
              </a:rPr>
              <a:t>: </a:t>
            </a:r>
            <a:r>
              <a:rPr lang="en-US" sz="1400" kern="0" dirty="0">
                <a:gradFill>
                  <a:gsLst>
                    <a:gs pos="2917">
                      <a:srgbClr val="505050"/>
                    </a:gs>
                    <a:gs pos="30000">
                      <a:srgbClr val="505050"/>
                    </a:gs>
                  </a:gsLst>
                  <a:lin ang="5400000" scaled="0"/>
                </a:gradFill>
                <a:latin typeface="Segoe UI Light"/>
                <a:hlinkClick r:id="rId3"/>
              </a:rPr>
              <a:t>https://azure.microsoft.com/en-us/documentation/articles/active-directory-ds-comparison</a:t>
            </a:r>
            <a:r>
              <a:rPr lang="en-US" sz="1400" kern="0" dirty="0">
                <a:gradFill>
                  <a:gsLst>
                    <a:gs pos="2917">
                      <a:srgbClr val="505050"/>
                    </a:gs>
                    <a:gs pos="30000">
                      <a:srgbClr val="505050"/>
                    </a:gs>
                  </a:gsLst>
                  <a:lin ang="5400000" scaled="0"/>
                </a:gradFill>
                <a:latin typeface="Segoe UI Light"/>
              </a:rPr>
              <a:t> </a:t>
            </a:r>
            <a:endParaRPr lang="en-US" sz="1400" kern="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92282682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e Discussion</a:t>
            </a:r>
          </a:p>
        </p:txBody>
      </p:sp>
      <p:pic>
        <p:nvPicPr>
          <p:cNvPr id="3" name="Picture 2" descr="A picture containing furniture&#10;&#10;Description generated with very high confidence">
            <a:extLst>
              <a:ext uri="{FF2B5EF4-FFF2-40B4-BE49-F238E27FC236}">
                <a16:creationId xmlns:a16="http://schemas.microsoft.com/office/drawing/2014/main" id="{DC1A39CC-1A10-4BF4-8F59-9E6AEF8BF95A}"/>
              </a:ext>
            </a:extLst>
          </p:cNvPr>
          <p:cNvPicPr>
            <a:picLocks noChangeAspect="1"/>
          </p:cNvPicPr>
          <p:nvPr/>
        </p:nvPicPr>
        <p:blipFill>
          <a:blip r:embed="rId3"/>
          <a:stretch>
            <a:fillRect/>
          </a:stretch>
        </p:blipFill>
        <p:spPr>
          <a:xfrm>
            <a:off x="3855244" y="3140185"/>
            <a:ext cx="4572000" cy="3502059"/>
          </a:xfrm>
          <a:prstGeom prst="rect">
            <a:avLst/>
          </a:prstGeom>
        </p:spPr>
      </p:pic>
    </p:spTree>
    <p:extLst>
      <p:ext uri="{BB962C8B-B14F-4D97-AF65-F5344CB8AC3E}">
        <p14:creationId xmlns:p14="http://schemas.microsoft.com/office/powerpoint/2010/main" val="119494684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683264"/>
          </a:xfrm>
        </p:spPr>
        <p:txBody>
          <a:bodyPr/>
          <a:lstStyle/>
          <a:p>
            <a:pPr marL="0" indent="0">
              <a:buNone/>
            </a:pPr>
            <a:r>
              <a:rPr lang="en-US" dirty="0">
                <a:solidFill>
                  <a:srgbClr val="0078D7"/>
                </a:solidFill>
              </a:rPr>
              <a:t>If not done already let’s do this now. 2 sides to this!</a:t>
            </a:r>
          </a:p>
        </p:txBody>
      </p:sp>
      <p:sp>
        <p:nvSpPr>
          <p:cNvPr id="3" name="Title 2"/>
          <p:cNvSpPr>
            <a:spLocks noGrp="1"/>
          </p:cNvSpPr>
          <p:nvPr>
            <p:ph type="title"/>
          </p:nvPr>
        </p:nvSpPr>
        <p:spPr/>
        <p:txBody>
          <a:bodyPr/>
          <a:lstStyle/>
          <a:p>
            <a:r>
              <a:rPr lang="en-US" dirty="0">
                <a:solidFill>
                  <a:schemeClr val="bg1"/>
                </a:solidFill>
              </a:rPr>
              <a:t>Whiteboard Identity Architecture</a:t>
            </a:r>
          </a:p>
        </p:txBody>
      </p:sp>
      <p:pic>
        <p:nvPicPr>
          <p:cNvPr id="10" name="Picture 9" descr="A picture containing furniture&#10;&#10;Description generated with very high confidence">
            <a:extLst>
              <a:ext uri="{FF2B5EF4-FFF2-40B4-BE49-F238E27FC236}">
                <a16:creationId xmlns:a16="http://schemas.microsoft.com/office/drawing/2014/main" id="{CCA8E2F7-3409-4039-A113-95EDF3507992}"/>
              </a:ext>
            </a:extLst>
          </p:cNvPr>
          <p:cNvPicPr>
            <a:picLocks noChangeAspect="1"/>
          </p:cNvPicPr>
          <p:nvPr/>
        </p:nvPicPr>
        <p:blipFill>
          <a:blip r:embed="rId3"/>
          <a:stretch>
            <a:fillRect/>
          </a:stretch>
        </p:blipFill>
        <p:spPr>
          <a:xfrm>
            <a:off x="2940844" y="1896114"/>
            <a:ext cx="6248400" cy="4786147"/>
          </a:xfrm>
          <a:prstGeom prst="rect">
            <a:avLst/>
          </a:prstGeom>
        </p:spPr>
      </p:pic>
    </p:spTree>
    <p:extLst>
      <p:ext uri="{BB962C8B-B14F-4D97-AF65-F5344CB8AC3E}">
        <p14:creationId xmlns:p14="http://schemas.microsoft.com/office/powerpoint/2010/main" val="230273585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683264"/>
          </a:xfrm>
        </p:spPr>
        <p:txBody>
          <a:bodyPr/>
          <a:lstStyle/>
          <a:p>
            <a:pPr marL="0" indent="0">
              <a:buNone/>
            </a:pPr>
            <a:r>
              <a:rPr lang="en-US" dirty="0">
                <a:solidFill>
                  <a:srgbClr val="0078D7"/>
                </a:solidFill>
              </a:rPr>
              <a:t>Confirm and Validate Current State –desired future state</a:t>
            </a:r>
          </a:p>
        </p:txBody>
      </p:sp>
      <p:sp>
        <p:nvSpPr>
          <p:cNvPr id="3" name="Title 2"/>
          <p:cNvSpPr>
            <a:spLocks noGrp="1"/>
          </p:cNvSpPr>
          <p:nvPr>
            <p:ph type="title"/>
          </p:nvPr>
        </p:nvSpPr>
        <p:spPr/>
        <p:txBody>
          <a:bodyPr/>
          <a:lstStyle/>
          <a:p>
            <a:r>
              <a:rPr lang="en-US" dirty="0">
                <a:solidFill>
                  <a:schemeClr val="bg1"/>
                </a:solidFill>
              </a:rPr>
              <a:t>Identity Management Architectures</a:t>
            </a:r>
          </a:p>
        </p:txBody>
      </p:sp>
      <p:pic>
        <p:nvPicPr>
          <p:cNvPr id="4" name="Picture 3">
            <a:extLst>
              <a:ext uri="{FF2B5EF4-FFF2-40B4-BE49-F238E27FC236}">
                <a16:creationId xmlns:a16="http://schemas.microsoft.com/office/drawing/2014/main" id="{016B63B4-B497-47A9-B76A-07D832AE5D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88444" y="1922509"/>
            <a:ext cx="6686599" cy="5029237"/>
          </a:xfrm>
          <a:prstGeom prst="rect">
            <a:avLst/>
          </a:prstGeom>
        </p:spPr>
      </p:pic>
      <p:sp>
        <p:nvSpPr>
          <p:cNvPr id="5" name="Rectangle 4">
            <a:extLst>
              <a:ext uri="{FF2B5EF4-FFF2-40B4-BE49-F238E27FC236}">
                <a16:creationId xmlns:a16="http://schemas.microsoft.com/office/drawing/2014/main" id="{4EFD52F5-E0BB-4D34-A06D-8933F1AE0C0A}"/>
              </a:ext>
            </a:extLst>
          </p:cNvPr>
          <p:cNvSpPr/>
          <p:nvPr/>
        </p:nvSpPr>
        <p:spPr>
          <a:xfrm>
            <a:off x="0" y="6545262"/>
            <a:ext cx="2849883" cy="338554"/>
          </a:xfrm>
          <a:prstGeom prst="rect">
            <a:avLst/>
          </a:prstGeom>
        </p:spPr>
        <p:txBody>
          <a:bodyPr wrap="none">
            <a:spAutoFit/>
          </a:bodyPr>
          <a:lstStyle/>
          <a:p>
            <a:r>
              <a:rPr lang="en-US" sz="1600" dirty="0">
                <a:hlinkClick r:id="rId4"/>
              </a:rPr>
              <a:t>aka.ms/identity/architectures</a:t>
            </a:r>
            <a:r>
              <a:rPr lang="en-US" sz="1600" dirty="0"/>
              <a:t> </a:t>
            </a:r>
          </a:p>
        </p:txBody>
      </p:sp>
    </p:spTree>
    <p:extLst>
      <p:ext uri="{BB962C8B-B14F-4D97-AF65-F5344CB8AC3E}">
        <p14:creationId xmlns:p14="http://schemas.microsoft.com/office/powerpoint/2010/main" val="154433480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2C | B2B</a:t>
            </a:r>
          </a:p>
        </p:txBody>
      </p:sp>
      <p:grpSp>
        <p:nvGrpSpPr>
          <p:cNvPr id="3" name="Group 2">
            <a:extLst>
              <a:ext uri="{FF2B5EF4-FFF2-40B4-BE49-F238E27FC236}">
                <a16:creationId xmlns:a16="http://schemas.microsoft.com/office/drawing/2014/main" id="{F9970E5D-0B9E-43BE-BDBB-CDE94D390812}"/>
              </a:ext>
            </a:extLst>
          </p:cNvPr>
          <p:cNvGrpSpPr/>
          <p:nvPr/>
        </p:nvGrpSpPr>
        <p:grpSpPr>
          <a:xfrm>
            <a:off x="4915594" y="3690223"/>
            <a:ext cx="2725144" cy="1504077"/>
            <a:chOff x="4733428" y="2676962"/>
            <a:chExt cx="2725144" cy="1504077"/>
          </a:xfrm>
          <a:solidFill>
            <a:schemeClr val="tx1"/>
          </a:solidFill>
        </p:grpSpPr>
        <p:sp>
          <p:nvSpPr>
            <p:cNvPr id="4" name="Freeform: Shape 3">
              <a:extLst>
                <a:ext uri="{FF2B5EF4-FFF2-40B4-BE49-F238E27FC236}">
                  <a16:creationId xmlns:a16="http://schemas.microsoft.com/office/drawing/2014/main" id="{03D95A5F-2374-4620-8656-618D3DA27DEB}"/>
                </a:ext>
              </a:extLst>
            </p:cNvPr>
            <p:cNvSpPr/>
            <p:nvPr/>
          </p:nvSpPr>
          <p:spPr bwMode="auto">
            <a:xfrm>
              <a:off x="4733428" y="2676962"/>
              <a:ext cx="2725144" cy="150407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grp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MS cloud text">
              <a:extLst>
                <a:ext uri="{FF2B5EF4-FFF2-40B4-BE49-F238E27FC236}">
                  <a16:creationId xmlns:a16="http://schemas.microsoft.com/office/drawing/2014/main" id="{961A73DA-B77E-4FA4-84B4-431B388FC8A1}"/>
                </a:ext>
              </a:extLst>
            </p:cNvPr>
            <p:cNvSpPr txBox="1">
              <a:spLocks/>
            </p:cNvSpPr>
            <p:nvPr/>
          </p:nvSpPr>
          <p:spPr>
            <a:xfrm>
              <a:off x="5019924" y="3233713"/>
              <a:ext cx="2391863" cy="407826"/>
            </a:xfrm>
            <a:prstGeom prst="rect">
              <a:avLst/>
            </a:prstGeom>
            <a:grpFill/>
          </p:spPr>
          <p:txBody>
            <a:bodyPr vert="horz" wrap="square" lIns="146304" tIns="91440" rIns="146304" bIns="9144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lvl="0">
                <a:defRPr/>
              </a:pPr>
              <a:r>
                <a:rPr lang="en-US" sz="2000" kern="0" spc="0" dirty="0">
                  <a:solidFill>
                    <a:srgbClr val="002050"/>
                  </a:solidFill>
                  <a:latin typeface="Segoe UI Semilight"/>
                  <a:cs typeface="Segoe UI Semilight" panose="020B0402040204020203" pitchFamily="34" charset="0"/>
                </a:rPr>
                <a:t>Microsoft Azure </a:t>
              </a:r>
              <a:br>
                <a:rPr lang="en-US" sz="2000" kern="0" spc="0" dirty="0">
                  <a:solidFill>
                    <a:srgbClr val="002050"/>
                  </a:solidFill>
                  <a:latin typeface="Segoe UI Semilight"/>
                  <a:cs typeface="Segoe UI Semilight" panose="020B0402040204020203" pitchFamily="34" charset="0"/>
                </a:rPr>
              </a:br>
              <a:r>
                <a:rPr lang="en-US" sz="2000" kern="0" spc="0" dirty="0">
                  <a:solidFill>
                    <a:srgbClr val="002050"/>
                  </a:solidFill>
                  <a:latin typeface="Segoe UI Semilight"/>
                  <a:cs typeface="Segoe UI Semilight" panose="020B0402040204020203" pitchFamily="34" charset="0"/>
                </a:rPr>
                <a:t>Active Directory B2X</a:t>
              </a:r>
            </a:p>
          </p:txBody>
        </p:sp>
      </p:grpSp>
    </p:spTree>
    <p:extLst>
      <p:ext uri="{BB962C8B-B14F-4D97-AF65-F5344CB8AC3E}">
        <p14:creationId xmlns:p14="http://schemas.microsoft.com/office/powerpoint/2010/main" val="21439611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Oval 179">
            <a:extLst>
              <a:ext uri="{FF2B5EF4-FFF2-40B4-BE49-F238E27FC236}">
                <a16:creationId xmlns:a16="http://schemas.microsoft.com/office/drawing/2014/main" id="{EB09D653-AE91-4EA4-857B-98D50E897D30}"/>
              </a:ext>
            </a:extLst>
          </p:cNvPr>
          <p:cNvSpPr/>
          <p:nvPr/>
        </p:nvSpPr>
        <p:spPr bwMode="auto">
          <a:xfrm>
            <a:off x="3779355" y="1159581"/>
            <a:ext cx="6704744" cy="5834498"/>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3" name="Oval 172">
            <a:extLst>
              <a:ext uri="{FF2B5EF4-FFF2-40B4-BE49-F238E27FC236}">
                <a16:creationId xmlns:a16="http://schemas.microsoft.com/office/drawing/2014/main" id="{BF6416F8-77EF-4AF7-B0CC-5107BE9854E9}"/>
              </a:ext>
            </a:extLst>
          </p:cNvPr>
          <p:cNvSpPr/>
          <p:nvPr/>
        </p:nvSpPr>
        <p:spPr bwMode="auto">
          <a:xfrm>
            <a:off x="4998400" y="1461166"/>
            <a:ext cx="5409509" cy="5231326"/>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Oval 159">
            <a:extLst>
              <a:ext uri="{FF2B5EF4-FFF2-40B4-BE49-F238E27FC236}">
                <a16:creationId xmlns:a16="http://schemas.microsoft.com/office/drawing/2014/main" id="{6CE24BBE-0023-4F3C-88DE-64396BCAA539}"/>
              </a:ext>
            </a:extLst>
          </p:cNvPr>
          <p:cNvSpPr/>
          <p:nvPr/>
        </p:nvSpPr>
        <p:spPr bwMode="auto">
          <a:xfrm>
            <a:off x="6344302" y="1905032"/>
            <a:ext cx="3972155" cy="434359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9" name="Oval 158">
            <a:extLst>
              <a:ext uri="{FF2B5EF4-FFF2-40B4-BE49-F238E27FC236}">
                <a16:creationId xmlns:a16="http://schemas.microsoft.com/office/drawing/2014/main" id="{FCCB7FE9-055A-4124-9E33-1A550E6F1A78}"/>
              </a:ext>
            </a:extLst>
          </p:cNvPr>
          <p:cNvSpPr/>
          <p:nvPr/>
        </p:nvSpPr>
        <p:spPr bwMode="auto">
          <a:xfrm>
            <a:off x="7270802" y="2254040"/>
            <a:ext cx="2893273" cy="364558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8" name="Oval 157">
            <a:extLst>
              <a:ext uri="{FF2B5EF4-FFF2-40B4-BE49-F238E27FC236}">
                <a16:creationId xmlns:a16="http://schemas.microsoft.com/office/drawing/2014/main" id="{43132B73-0652-4D15-B5E0-8BCF6938A37C}"/>
              </a:ext>
            </a:extLst>
          </p:cNvPr>
          <p:cNvSpPr/>
          <p:nvPr/>
        </p:nvSpPr>
        <p:spPr bwMode="auto">
          <a:xfrm>
            <a:off x="8106938" y="2736047"/>
            <a:ext cx="1904757" cy="2681567"/>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Title 6">
            <a:extLst>
              <a:ext uri="{FF2B5EF4-FFF2-40B4-BE49-F238E27FC236}">
                <a16:creationId xmlns:a16="http://schemas.microsoft.com/office/drawing/2014/main" id="{0955155F-3C3C-4808-AB5B-D91FFBEB76DC}"/>
              </a:ext>
            </a:extLst>
          </p:cNvPr>
          <p:cNvSpPr>
            <a:spLocks noGrp="1"/>
          </p:cNvSpPr>
          <p:nvPr>
            <p:ph type="title"/>
          </p:nvPr>
        </p:nvSpPr>
        <p:spPr/>
        <p:txBody>
          <a:bodyPr/>
          <a:lstStyle/>
          <a:p>
            <a:r>
              <a:rPr lang="en-US" dirty="0"/>
              <a:t>How Microsoft Guards Azure AD</a:t>
            </a:r>
          </a:p>
        </p:txBody>
      </p:sp>
      <p:sp>
        <p:nvSpPr>
          <p:cNvPr id="380" name="TextBox 379">
            <a:extLst>
              <a:ext uri="{FF2B5EF4-FFF2-40B4-BE49-F238E27FC236}">
                <a16:creationId xmlns:a16="http://schemas.microsoft.com/office/drawing/2014/main" id="{38DD3382-BD15-4D82-B18E-6FEBD78B19DC}"/>
              </a:ext>
            </a:extLst>
          </p:cNvPr>
          <p:cNvSpPr txBox="1"/>
          <p:nvPr/>
        </p:nvSpPr>
        <p:spPr>
          <a:xfrm>
            <a:off x="10011695" y="5422903"/>
            <a:ext cx="2285708" cy="1292497"/>
          </a:xfrm>
          <a:prstGeom prst="rect">
            <a:avLst/>
          </a:prstGeom>
          <a:noFill/>
        </p:spPr>
        <p:txBody>
          <a:bodyPr wrap="square" lIns="182857" tIns="146285" rIns="182857" bIns="146285" rtlCol="0">
            <a:spAutoFit/>
          </a:bodyPr>
          <a:lstStyle/>
          <a:p>
            <a:pPr marL="0" marR="0" lvl="0" indent="0" algn="l" defTabSz="932649"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1. Controlled datacenter access</a:t>
            </a:r>
          </a:p>
        </p:txBody>
      </p:sp>
      <p:sp>
        <p:nvSpPr>
          <p:cNvPr id="383" name="TextBox 382">
            <a:extLst>
              <a:ext uri="{FF2B5EF4-FFF2-40B4-BE49-F238E27FC236}">
                <a16:creationId xmlns:a16="http://schemas.microsoft.com/office/drawing/2014/main" id="{B0DA306D-8740-46A5-AD0E-4540824E9C87}"/>
              </a:ext>
            </a:extLst>
          </p:cNvPr>
          <p:cNvSpPr txBox="1"/>
          <p:nvPr/>
        </p:nvSpPr>
        <p:spPr>
          <a:xfrm>
            <a:off x="10500290" y="2810522"/>
            <a:ext cx="2014356" cy="1624853"/>
          </a:xfrm>
          <a:prstGeom prst="rect">
            <a:avLst/>
          </a:prstGeom>
          <a:noFill/>
        </p:spPr>
        <p:txBody>
          <a:bodyPr wrap="square" lIns="182857" tIns="146285" rIns="182857" bIns="146285" rtlCol="0">
            <a:spAutoFit/>
          </a:bodyPr>
          <a:lstStyle/>
          <a:p>
            <a:pPr marL="0" marR="0" lvl="0" indent="0" algn="l" defTabSz="932649"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2. Locked cage with 24/7 camera monitoring</a:t>
            </a:r>
          </a:p>
        </p:txBody>
      </p:sp>
      <p:cxnSp>
        <p:nvCxnSpPr>
          <p:cNvPr id="389" name="Straight Arrow Connector 388">
            <a:extLst>
              <a:ext uri="{FF2B5EF4-FFF2-40B4-BE49-F238E27FC236}">
                <a16:creationId xmlns:a16="http://schemas.microsoft.com/office/drawing/2014/main" id="{495CDC5B-5EE8-4E7B-91BA-80913FBA1A5D}"/>
              </a:ext>
            </a:extLst>
          </p:cNvPr>
          <p:cNvCxnSpPr>
            <a:cxnSpLocks/>
            <a:stCxn id="383" idx="1"/>
          </p:cNvCxnSpPr>
          <p:nvPr/>
        </p:nvCxnSpPr>
        <p:spPr>
          <a:xfrm flipH="1">
            <a:off x="9831328" y="3622949"/>
            <a:ext cx="668961" cy="1663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5417FD22-566B-4DFA-A572-5D9E1781A0E9}"/>
              </a:ext>
            </a:extLst>
          </p:cNvPr>
          <p:cNvSpPr txBox="1"/>
          <p:nvPr/>
        </p:nvSpPr>
        <p:spPr>
          <a:xfrm>
            <a:off x="2" y="2261508"/>
            <a:ext cx="3928560" cy="1292497"/>
          </a:xfrm>
          <a:prstGeom prst="rect">
            <a:avLst/>
          </a:prstGeom>
          <a:noFill/>
        </p:spPr>
        <p:txBody>
          <a:bodyPr wrap="square" lIns="182857" tIns="146285" rIns="182857" bIns="146285" rtlCol="0">
            <a:spAutoFit/>
          </a:bodyPr>
          <a:lstStyle/>
          <a:p>
            <a:pPr marL="0" marR="0" lvl="0" indent="0" algn="r" defTabSz="932649"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5. Operators must use Privileged Access Workstation and smartcard</a:t>
            </a:r>
          </a:p>
        </p:txBody>
      </p:sp>
      <p:cxnSp>
        <p:nvCxnSpPr>
          <p:cNvPr id="373" name="Connector: Elbow 372">
            <a:extLst>
              <a:ext uri="{FF2B5EF4-FFF2-40B4-BE49-F238E27FC236}">
                <a16:creationId xmlns:a16="http://schemas.microsoft.com/office/drawing/2014/main" id="{2D384A3F-C2F4-4CC0-BA40-3A1957157F22}"/>
              </a:ext>
            </a:extLst>
          </p:cNvPr>
          <p:cNvCxnSpPr>
            <a:cxnSpLocks/>
            <a:stCxn id="182" idx="3"/>
            <a:endCxn id="195" idx="0"/>
          </p:cNvCxnSpPr>
          <p:nvPr/>
        </p:nvCxnSpPr>
        <p:spPr>
          <a:xfrm>
            <a:off x="3928563" y="2907757"/>
            <a:ext cx="1813675" cy="827149"/>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5E187CED-3ED0-4470-9ACF-93B8BE9D41BE}"/>
              </a:ext>
            </a:extLst>
          </p:cNvPr>
          <p:cNvSpPr txBox="1"/>
          <p:nvPr/>
        </p:nvSpPr>
        <p:spPr>
          <a:xfrm>
            <a:off x="9936247" y="1002541"/>
            <a:ext cx="2401767" cy="1292497"/>
          </a:xfrm>
          <a:prstGeom prst="rect">
            <a:avLst/>
          </a:prstGeom>
          <a:noFill/>
        </p:spPr>
        <p:txBody>
          <a:bodyPr wrap="square" lIns="182857" tIns="146285" rIns="182857" bIns="146285" rtlCol="0">
            <a:spAutoFit/>
          </a:bodyPr>
          <a:lstStyle/>
          <a:p>
            <a:pPr marL="0" marR="0" lvl="0" indent="0" algn="l" defTabSz="932649"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3.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Bitl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encrypted servers</a:t>
            </a:r>
          </a:p>
        </p:txBody>
      </p:sp>
      <p:cxnSp>
        <p:nvCxnSpPr>
          <p:cNvPr id="169" name="Straight Arrow Connector 168">
            <a:extLst>
              <a:ext uri="{FF2B5EF4-FFF2-40B4-BE49-F238E27FC236}">
                <a16:creationId xmlns:a16="http://schemas.microsoft.com/office/drawing/2014/main" id="{35F3D85F-FD53-475C-97FF-B714EBCE5E42}"/>
              </a:ext>
            </a:extLst>
          </p:cNvPr>
          <p:cNvCxnSpPr>
            <a:cxnSpLocks/>
            <a:stCxn id="167" idx="1"/>
          </p:cNvCxnSpPr>
          <p:nvPr/>
        </p:nvCxnSpPr>
        <p:spPr>
          <a:xfrm flipH="1">
            <a:off x="8805281" y="1648790"/>
            <a:ext cx="1130967" cy="165603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C67412D7-FCE9-417A-9DFA-38BFD8B9A29B}"/>
              </a:ext>
            </a:extLst>
          </p:cNvPr>
          <p:cNvSpPr txBox="1"/>
          <p:nvPr/>
        </p:nvSpPr>
        <p:spPr>
          <a:xfrm>
            <a:off x="2184981" y="1200136"/>
            <a:ext cx="2434249" cy="960140"/>
          </a:xfrm>
          <a:prstGeom prst="rect">
            <a:avLst/>
          </a:prstGeom>
          <a:noFill/>
        </p:spPr>
        <p:txBody>
          <a:bodyPr wrap="square" lIns="182857" tIns="146285" rIns="182857" bIns="146285" rtlCol="0">
            <a:spAutoFit/>
          </a:bodyPr>
          <a:lstStyle/>
          <a:p>
            <a:pPr marL="0" marR="0" lvl="0" indent="0" algn="r" defTabSz="932649"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4. Just In Time operator access</a:t>
            </a:r>
          </a:p>
        </p:txBody>
      </p:sp>
      <p:cxnSp>
        <p:nvCxnSpPr>
          <p:cNvPr id="172" name="Straight Arrow Connector 171">
            <a:extLst>
              <a:ext uri="{FF2B5EF4-FFF2-40B4-BE49-F238E27FC236}">
                <a16:creationId xmlns:a16="http://schemas.microsoft.com/office/drawing/2014/main" id="{1E1A3683-CA41-4D0A-8895-E867F4BB0ADC}"/>
              </a:ext>
            </a:extLst>
          </p:cNvPr>
          <p:cNvCxnSpPr>
            <a:cxnSpLocks/>
            <a:stCxn id="170" idx="3"/>
          </p:cNvCxnSpPr>
          <p:nvPr/>
        </p:nvCxnSpPr>
        <p:spPr>
          <a:xfrm>
            <a:off x="4619230" y="1680206"/>
            <a:ext cx="2259695" cy="20290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630C6DC9-8733-4982-BA51-D5324041899E}"/>
              </a:ext>
            </a:extLst>
          </p:cNvPr>
          <p:cNvSpPr txBox="1"/>
          <p:nvPr/>
        </p:nvSpPr>
        <p:spPr>
          <a:xfrm>
            <a:off x="1651478" y="5652191"/>
            <a:ext cx="2508410" cy="960140"/>
          </a:xfrm>
          <a:prstGeom prst="rect">
            <a:avLst/>
          </a:prstGeom>
          <a:noFill/>
        </p:spPr>
        <p:txBody>
          <a:bodyPr wrap="square" lIns="182857" tIns="146285" rIns="182857" bIns="146285" rtlCol="0">
            <a:spAutoFit/>
          </a:bodyPr>
          <a:lstStyle/>
          <a:p>
            <a:pPr marL="0" marR="0" lvl="0" indent="0" algn="r" defTabSz="932649"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6. Active threat monitoring</a:t>
            </a:r>
          </a:p>
        </p:txBody>
      </p:sp>
      <p:cxnSp>
        <p:nvCxnSpPr>
          <p:cNvPr id="375" name="Connector: Elbow 374">
            <a:extLst>
              <a:ext uri="{FF2B5EF4-FFF2-40B4-BE49-F238E27FC236}">
                <a16:creationId xmlns:a16="http://schemas.microsoft.com/office/drawing/2014/main" id="{4494A59D-AD8A-4D03-8DDB-876A73D86722}"/>
              </a:ext>
            </a:extLst>
          </p:cNvPr>
          <p:cNvCxnSpPr>
            <a:cxnSpLocks/>
            <a:stCxn id="183" idx="3"/>
          </p:cNvCxnSpPr>
          <p:nvPr/>
        </p:nvCxnSpPr>
        <p:spPr>
          <a:xfrm flipV="1">
            <a:off x="4159887" y="4679310"/>
            <a:ext cx="317090" cy="145295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96" name="Arrow: Right 395">
            <a:extLst>
              <a:ext uri="{FF2B5EF4-FFF2-40B4-BE49-F238E27FC236}">
                <a16:creationId xmlns:a16="http://schemas.microsoft.com/office/drawing/2014/main" id="{E16BBA00-B078-4654-A8C6-5B9E4ED03A44}"/>
              </a:ext>
            </a:extLst>
          </p:cNvPr>
          <p:cNvSpPr/>
          <p:nvPr/>
        </p:nvSpPr>
        <p:spPr bwMode="auto">
          <a:xfrm>
            <a:off x="2407930" y="3844289"/>
            <a:ext cx="5942841" cy="37142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9" name="TextBox 398">
            <a:extLst>
              <a:ext uri="{FF2B5EF4-FFF2-40B4-BE49-F238E27FC236}">
                <a16:creationId xmlns:a16="http://schemas.microsoft.com/office/drawing/2014/main" id="{FD785A14-347F-4077-9694-D65A2FBBA267}"/>
              </a:ext>
            </a:extLst>
          </p:cNvPr>
          <p:cNvSpPr txBox="1"/>
          <p:nvPr/>
        </p:nvSpPr>
        <p:spPr>
          <a:xfrm>
            <a:off x="248314" y="4147464"/>
            <a:ext cx="3698402" cy="1292497"/>
          </a:xfrm>
          <a:prstGeom prst="rect">
            <a:avLst/>
          </a:prstGeom>
          <a:noFill/>
        </p:spPr>
        <p:txBody>
          <a:bodyPr wrap="square" lIns="182857" tIns="146285" rIns="182857" bIns="146285" rtlCol="0">
            <a:spAutoFit/>
          </a:bodyPr>
          <a:lstStyle/>
          <a:p>
            <a:pPr marL="0" marR="0" lvl="0" indent="0" algn="l" defTabSz="932649"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7. TLS protected channel and token-based authentication required</a:t>
            </a:r>
          </a:p>
        </p:txBody>
      </p:sp>
      <p:cxnSp>
        <p:nvCxnSpPr>
          <p:cNvPr id="401" name="Connector: Elbow 400">
            <a:extLst>
              <a:ext uri="{FF2B5EF4-FFF2-40B4-BE49-F238E27FC236}">
                <a16:creationId xmlns:a16="http://schemas.microsoft.com/office/drawing/2014/main" id="{197ABF03-95E1-455B-978A-4C652E369ABB}"/>
              </a:ext>
            </a:extLst>
          </p:cNvPr>
          <p:cNvCxnSpPr>
            <a:cxnSpLocks/>
            <a:stCxn id="399" idx="0"/>
            <a:endCxn id="396" idx="1"/>
          </p:cNvCxnSpPr>
          <p:nvPr/>
        </p:nvCxnSpPr>
        <p:spPr>
          <a:xfrm rot="5400000" flipH="1" flipV="1">
            <a:off x="2193993" y="3933528"/>
            <a:ext cx="117460" cy="31041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2" name="Rectangle 401">
            <a:extLst>
              <a:ext uri="{FF2B5EF4-FFF2-40B4-BE49-F238E27FC236}">
                <a16:creationId xmlns:a16="http://schemas.microsoft.com/office/drawing/2014/main" id="{48ED0681-ACC5-4703-8515-40DED02D5276}"/>
              </a:ext>
            </a:extLst>
          </p:cNvPr>
          <p:cNvSpPr/>
          <p:nvPr/>
        </p:nvSpPr>
        <p:spPr>
          <a:xfrm>
            <a:off x="8258538" y="38853"/>
            <a:ext cx="4182528" cy="923212"/>
          </a:xfrm>
          <a:prstGeom prst="rect">
            <a:avLst/>
          </a:prstGeom>
        </p:spPr>
        <p:txBody>
          <a:bodyPr wrap="square">
            <a:spAutoFit/>
          </a:bodyPr>
          <a:lstStyle/>
          <a:p>
            <a:pPr marL="0" marR="0" lvl="0" indent="0" algn="ctr" defTabSz="93264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light"/>
                <a:ea typeface="+mn-ea"/>
                <a:cs typeface="+mn-cs"/>
                <a:hlinkClick r:id="rId3"/>
              </a:rPr>
              <a:t>https://blogs.technet.microsoft.com/enterprisemobility/2017/09/05/how-we-secure-your-data-in-azure-ad/</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156" name="Group 155">
            <a:extLst>
              <a:ext uri="{FF2B5EF4-FFF2-40B4-BE49-F238E27FC236}">
                <a16:creationId xmlns:a16="http://schemas.microsoft.com/office/drawing/2014/main" id="{FF5D5D99-1F98-4BB1-97D4-40E0F9AD609F}"/>
              </a:ext>
            </a:extLst>
          </p:cNvPr>
          <p:cNvGrpSpPr/>
          <p:nvPr/>
        </p:nvGrpSpPr>
        <p:grpSpPr>
          <a:xfrm>
            <a:off x="8402109" y="3361751"/>
            <a:ext cx="798407" cy="1442857"/>
            <a:chOff x="5385787" y="2612237"/>
            <a:chExt cx="798509" cy="1443041"/>
          </a:xfrm>
        </p:grpSpPr>
        <p:sp>
          <p:nvSpPr>
            <p:cNvPr id="18" name="Freeform 12">
              <a:extLst>
                <a:ext uri="{FF2B5EF4-FFF2-40B4-BE49-F238E27FC236}">
                  <a16:creationId xmlns:a16="http://schemas.microsoft.com/office/drawing/2014/main" id="{FEC46CA9-DA94-489B-83A5-FDE82BC58E6A}"/>
                </a:ext>
              </a:extLst>
            </p:cNvPr>
            <p:cNvSpPr>
              <a:spLocks/>
            </p:cNvSpPr>
            <p:nvPr/>
          </p:nvSpPr>
          <p:spPr bwMode="auto">
            <a:xfrm>
              <a:off x="5909660" y="2612237"/>
              <a:ext cx="274636" cy="1443041"/>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13">
              <a:extLst>
                <a:ext uri="{FF2B5EF4-FFF2-40B4-BE49-F238E27FC236}">
                  <a16:creationId xmlns:a16="http://schemas.microsoft.com/office/drawing/2014/main" id="{7594ED38-C274-471C-A992-222F4E6BC85D}"/>
                </a:ext>
              </a:extLst>
            </p:cNvPr>
            <p:cNvSpPr>
              <a:spLocks/>
            </p:cNvSpPr>
            <p:nvPr/>
          </p:nvSpPr>
          <p:spPr bwMode="auto">
            <a:xfrm>
              <a:off x="5909660" y="2612237"/>
              <a:ext cx="274636" cy="1443041"/>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14">
              <a:extLst>
                <a:ext uri="{FF2B5EF4-FFF2-40B4-BE49-F238E27FC236}">
                  <a16:creationId xmlns:a16="http://schemas.microsoft.com/office/drawing/2014/main" id="{8DD4EADA-D77F-4AB0-A596-94AF6A05A085}"/>
                </a:ext>
              </a:extLst>
            </p:cNvPr>
            <p:cNvSpPr>
              <a:spLocks/>
            </p:cNvSpPr>
            <p:nvPr/>
          </p:nvSpPr>
          <p:spPr bwMode="auto">
            <a:xfrm>
              <a:off x="5385787" y="2612237"/>
              <a:ext cx="611185" cy="1443041"/>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15">
              <a:extLst>
                <a:ext uri="{FF2B5EF4-FFF2-40B4-BE49-F238E27FC236}">
                  <a16:creationId xmlns:a16="http://schemas.microsoft.com/office/drawing/2014/main" id="{2396D6BA-2BEC-439C-8350-11E7632E72C2}"/>
                </a:ext>
              </a:extLst>
            </p:cNvPr>
            <p:cNvSpPr>
              <a:spLocks/>
            </p:cNvSpPr>
            <p:nvPr/>
          </p:nvSpPr>
          <p:spPr bwMode="auto">
            <a:xfrm>
              <a:off x="5442937" y="2691612"/>
              <a:ext cx="484186"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Oval 16">
              <a:extLst>
                <a:ext uri="{FF2B5EF4-FFF2-40B4-BE49-F238E27FC236}">
                  <a16:creationId xmlns:a16="http://schemas.microsoft.com/office/drawing/2014/main" id="{DB072245-006E-4E5F-82BD-005D37844340}"/>
                </a:ext>
              </a:extLst>
            </p:cNvPr>
            <p:cNvSpPr>
              <a:spLocks noChangeArrowheads="1"/>
            </p:cNvSpPr>
            <p:nvPr/>
          </p:nvSpPr>
          <p:spPr bwMode="auto">
            <a:xfrm>
              <a:off x="5789011" y="2729712"/>
              <a:ext cx="36512"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 name="Freeform 17">
              <a:extLst>
                <a:ext uri="{FF2B5EF4-FFF2-40B4-BE49-F238E27FC236}">
                  <a16:creationId xmlns:a16="http://schemas.microsoft.com/office/drawing/2014/main" id="{D5E31669-59E7-4059-B459-0AC5034DF131}"/>
                </a:ext>
              </a:extLst>
            </p:cNvPr>
            <p:cNvSpPr>
              <a:spLocks/>
            </p:cNvSpPr>
            <p:nvPr/>
          </p:nvSpPr>
          <p:spPr bwMode="auto">
            <a:xfrm>
              <a:off x="5442937" y="2858300"/>
              <a:ext cx="484186"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 name="Oval 18">
              <a:extLst>
                <a:ext uri="{FF2B5EF4-FFF2-40B4-BE49-F238E27FC236}">
                  <a16:creationId xmlns:a16="http://schemas.microsoft.com/office/drawing/2014/main" id="{E0C4D709-6B62-4B4A-B140-15D4218B86F9}"/>
                </a:ext>
              </a:extLst>
            </p:cNvPr>
            <p:cNvSpPr>
              <a:spLocks noChangeArrowheads="1"/>
            </p:cNvSpPr>
            <p:nvPr/>
          </p:nvSpPr>
          <p:spPr bwMode="auto">
            <a:xfrm>
              <a:off x="5789011" y="2897987"/>
              <a:ext cx="36512"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 name="Freeform 19">
              <a:extLst>
                <a:ext uri="{FF2B5EF4-FFF2-40B4-BE49-F238E27FC236}">
                  <a16:creationId xmlns:a16="http://schemas.microsoft.com/office/drawing/2014/main" id="{1A566F96-8060-4053-9C73-5ADD2AF95099}"/>
                </a:ext>
              </a:extLst>
            </p:cNvPr>
            <p:cNvSpPr>
              <a:spLocks/>
            </p:cNvSpPr>
            <p:nvPr/>
          </p:nvSpPr>
          <p:spPr bwMode="auto">
            <a:xfrm>
              <a:off x="5442937" y="3024988"/>
              <a:ext cx="484186"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 name="Oval 20">
              <a:extLst>
                <a:ext uri="{FF2B5EF4-FFF2-40B4-BE49-F238E27FC236}">
                  <a16:creationId xmlns:a16="http://schemas.microsoft.com/office/drawing/2014/main" id="{FEB6313F-B6BC-4DBF-9FB3-42C94D2D2BFF}"/>
                </a:ext>
              </a:extLst>
            </p:cNvPr>
            <p:cNvSpPr>
              <a:spLocks noChangeArrowheads="1"/>
            </p:cNvSpPr>
            <p:nvPr/>
          </p:nvSpPr>
          <p:spPr bwMode="auto">
            <a:xfrm>
              <a:off x="5789011" y="3064675"/>
              <a:ext cx="36512"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 name="Freeform 21">
              <a:extLst>
                <a:ext uri="{FF2B5EF4-FFF2-40B4-BE49-F238E27FC236}">
                  <a16:creationId xmlns:a16="http://schemas.microsoft.com/office/drawing/2014/main" id="{0770DF15-FFCC-4867-8EC7-89A1EF20A264}"/>
                </a:ext>
              </a:extLst>
            </p:cNvPr>
            <p:cNvSpPr>
              <a:spLocks/>
            </p:cNvSpPr>
            <p:nvPr/>
          </p:nvSpPr>
          <p:spPr bwMode="auto">
            <a:xfrm>
              <a:off x="5442937" y="3191676"/>
              <a:ext cx="484186"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 name="Oval 22">
              <a:extLst>
                <a:ext uri="{FF2B5EF4-FFF2-40B4-BE49-F238E27FC236}">
                  <a16:creationId xmlns:a16="http://schemas.microsoft.com/office/drawing/2014/main" id="{0E839A61-0DDE-44DF-BE5A-EE859EC1F2EE}"/>
                </a:ext>
              </a:extLst>
            </p:cNvPr>
            <p:cNvSpPr>
              <a:spLocks noChangeArrowheads="1"/>
            </p:cNvSpPr>
            <p:nvPr/>
          </p:nvSpPr>
          <p:spPr bwMode="auto">
            <a:xfrm>
              <a:off x="5789011" y="3231363"/>
              <a:ext cx="36512"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9" name="Freeform 23">
              <a:extLst>
                <a:ext uri="{FF2B5EF4-FFF2-40B4-BE49-F238E27FC236}">
                  <a16:creationId xmlns:a16="http://schemas.microsoft.com/office/drawing/2014/main" id="{28904A74-6329-464B-B79C-93D2C720D1F4}"/>
                </a:ext>
              </a:extLst>
            </p:cNvPr>
            <p:cNvSpPr>
              <a:spLocks/>
            </p:cNvSpPr>
            <p:nvPr/>
          </p:nvSpPr>
          <p:spPr bwMode="auto">
            <a:xfrm>
              <a:off x="5442937" y="3359951"/>
              <a:ext cx="484186"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0" name="Oval 24">
              <a:extLst>
                <a:ext uri="{FF2B5EF4-FFF2-40B4-BE49-F238E27FC236}">
                  <a16:creationId xmlns:a16="http://schemas.microsoft.com/office/drawing/2014/main" id="{A6BFBAF9-54FF-45EF-BD49-0B0D7CEDC881}"/>
                </a:ext>
              </a:extLst>
            </p:cNvPr>
            <p:cNvSpPr>
              <a:spLocks noChangeArrowheads="1"/>
            </p:cNvSpPr>
            <p:nvPr/>
          </p:nvSpPr>
          <p:spPr bwMode="auto">
            <a:xfrm>
              <a:off x="5789011" y="3398051"/>
              <a:ext cx="36512"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1" name="Freeform 25">
              <a:extLst>
                <a:ext uri="{FF2B5EF4-FFF2-40B4-BE49-F238E27FC236}">
                  <a16:creationId xmlns:a16="http://schemas.microsoft.com/office/drawing/2014/main" id="{8D9A5DBB-474D-4E70-AA5A-43887E1EC988}"/>
                </a:ext>
              </a:extLst>
            </p:cNvPr>
            <p:cNvSpPr>
              <a:spLocks/>
            </p:cNvSpPr>
            <p:nvPr/>
          </p:nvSpPr>
          <p:spPr bwMode="auto">
            <a:xfrm>
              <a:off x="5442937" y="3526639"/>
              <a:ext cx="484186"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 name="Oval 26">
              <a:extLst>
                <a:ext uri="{FF2B5EF4-FFF2-40B4-BE49-F238E27FC236}">
                  <a16:creationId xmlns:a16="http://schemas.microsoft.com/office/drawing/2014/main" id="{A2F0336E-65D9-439C-BD5A-8318DE549650}"/>
                </a:ext>
              </a:extLst>
            </p:cNvPr>
            <p:cNvSpPr>
              <a:spLocks noChangeArrowheads="1"/>
            </p:cNvSpPr>
            <p:nvPr/>
          </p:nvSpPr>
          <p:spPr bwMode="auto">
            <a:xfrm>
              <a:off x="5789011" y="3564739"/>
              <a:ext cx="36512"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 name="Freeform 27">
              <a:extLst>
                <a:ext uri="{FF2B5EF4-FFF2-40B4-BE49-F238E27FC236}">
                  <a16:creationId xmlns:a16="http://schemas.microsoft.com/office/drawing/2014/main" id="{3672914C-B829-40B4-9CA0-9130B8D696DE}"/>
                </a:ext>
              </a:extLst>
            </p:cNvPr>
            <p:cNvSpPr>
              <a:spLocks/>
            </p:cNvSpPr>
            <p:nvPr/>
          </p:nvSpPr>
          <p:spPr bwMode="auto">
            <a:xfrm>
              <a:off x="5442937" y="3693327"/>
              <a:ext cx="484186"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 name="Oval 28">
              <a:extLst>
                <a:ext uri="{FF2B5EF4-FFF2-40B4-BE49-F238E27FC236}">
                  <a16:creationId xmlns:a16="http://schemas.microsoft.com/office/drawing/2014/main" id="{5DA80E92-971E-46AB-B968-088CB425A022}"/>
                </a:ext>
              </a:extLst>
            </p:cNvPr>
            <p:cNvSpPr>
              <a:spLocks noChangeArrowheads="1"/>
            </p:cNvSpPr>
            <p:nvPr/>
          </p:nvSpPr>
          <p:spPr bwMode="auto">
            <a:xfrm>
              <a:off x="5789011" y="3731427"/>
              <a:ext cx="36512"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Freeform 29">
              <a:extLst>
                <a:ext uri="{FF2B5EF4-FFF2-40B4-BE49-F238E27FC236}">
                  <a16:creationId xmlns:a16="http://schemas.microsoft.com/office/drawing/2014/main" id="{ED0C3CEA-29B9-4B88-A461-9366D8F5BBF5}"/>
                </a:ext>
              </a:extLst>
            </p:cNvPr>
            <p:cNvSpPr>
              <a:spLocks/>
            </p:cNvSpPr>
            <p:nvPr/>
          </p:nvSpPr>
          <p:spPr bwMode="auto">
            <a:xfrm>
              <a:off x="5442937" y="3860015"/>
              <a:ext cx="484186"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Rectangle 30">
              <a:extLst>
                <a:ext uri="{FF2B5EF4-FFF2-40B4-BE49-F238E27FC236}">
                  <a16:creationId xmlns:a16="http://schemas.microsoft.com/office/drawing/2014/main" id="{EE0D9622-8EC3-4F45-9138-6B6D4E133182}"/>
                </a:ext>
              </a:extLst>
            </p:cNvPr>
            <p:cNvSpPr>
              <a:spLocks noChangeArrowheads="1"/>
            </p:cNvSpPr>
            <p:nvPr/>
          </p:nvSpPr>
          <p:spPr bwMode="auto">
            <a:xfrm>
              <a:off x="5476274" y="2715424"/>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 name="Rectangle 31">
              <a:extLst>
                <a:ext uri="{FF2B5EF4-FFF2-40B4-BE49-F238E27FC236}">
                  <a16:creationId xmlns:a16="http://schemas.microsoft.com/office/drawing/2014/main" id="{6A1D3690-3B8F-4AF0-B461-9C982900BBBF}"/>
                </a:ext>
              </a:extLst>
            </p:cNvPr>
            <p:cNvSpPr>
              <a:spLocks noChangeArrowheads="1"/>
            </p:cNvSpPr>
            <p:nvPr/>
          </p:nvSpPr>
          <p:spPr bwMode="auto">
            <a:xfrm>
              <a:off x="5512787" y="2715424"/>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 name="Rectangle 32">
              <a:extLst>
                <a:ext uri="{FF2B5EF4-FFF2-40B4-BE49-F238E27FC236}">
                  <a16:creationId xmlns:a16="http://schemas.microsoft.com/office/drawing/2014/main" id="{F41CB36B-C4ED-4EC5-8AF3-3F7EF93B0F4B}"/>
                </a:ext>
              </a:extLst>
            </p:cNvPr>
            <p:cNvSpPr>
              <a:spLocks noChangeArrowheads="1"/>
            </p:cNvSpPr>
            <p:nvPr/>
          </p:nvSpPr>
          <p:spPr bwMode="auto">
            <a:xfrm>
              <a:off x="5547712" y="2715424"/>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 name="Rectangle 33">
              <a:extLst>
                <a:ext uri="{FF2B5EF4-FFF2-40B4-BE49-F238E27FC236}">
                  <a16:creationId xmlns:a16="http://schemas.microsoft.com/office/drawing/2014/main" id="{758D80BE-770E-48A5-A3E1-1B990BC10AD6}"/>
                </a:ext>
              </a:extLst>
            </p:cNvPr>
            <p:cNvSpPr>
              <a:spLocks noChangeArrowheads="1"/>
            </p:cNvSpPr>
            <p:nvPr/>
          </p:nvSpPr>
          <p:spPr bwMode="auto">
            <a:xfrm>
              <a:off x="5582637" y="2715424"/>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 name="Rectangle 34">
              <a:extLst>
                <a:ext uri="{FF2B5EF4-FFF2-40B4-BE49-F238E27FC236}">
                  <a16:creationId xmlns:a16="http://schemas.microsoft.com/office/drawing/2014/main" id="{3ADF1279-F280-4632-A2AC-D822F36621DF}"/>
                </a:ext>
              </a:extLst>
            </p:cNvPr>
            <p:cNvSpPr>
              <a:spLocks noChangeArrowheads="1"/>
            </p:cNvSpPr>
            <p:nvPr/>
          </p:nvSpPr>
          <p:spPr bwMode="auto">
            <a:xfrm>
              <a:off x="5620736" y="2715424"/>
              <a:ext cx="20637"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 name="Rectangle 35">
              <a:extLst>
                <a:ext uri="{FF2B5EF4-FFF2-40B4-BE49-F238E27FC236}">
                  <a16:creationId xmlns:a16="http://schemas.microsoft.com/office/drawing/2014/main" id="{F739C97C-352F-498F-B9AA-50F2112E38E8}"/>
                </a:ext>
              </a:extLst>
            </p:cNvPr>
            <p:cNvSpPr>
              <a:spLocks noChangeArrowheads="1"/>
            </p:cNvSpPr>
            <p:nvPr/>
          </p:nvSpPr>
          <p:spPr bwMode="auto">
            <a:xfrm>
              <a:off x="5476274" y="2882112"/>
              <a:ext cx="23812"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 name="Rectangle 36">
              <a:extLst>
                <a:ext uri="{FF2B5EF4-FFF2-40B4-BE49-F238E27FC236}">
                  <a16:creationId xmlns:a16="http://schemas.microsoft.com/office/drawing/2014/main" id="{9974B0ED-B3B3-49FE-A5A9-2A0EE9CC8D71}"/>
                </a:ext>
              </a:extLst>
            </p:cNvPr>
            <p:cNvSpPr>
              <a:spLocks noChangeArrowheads="1"/>
            </p:cNvSpPr>
            <p:nvPr/>
          </p:nvSpPr>
          <p:spPr bwMode="auto">
            <a:xfrm>
              <a:off x="5512787" y="2882112"/>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 name="Rectangle 37">
              <a:extLst>
                <a:ext uri="{FF2B5EF4-FFF2-40B4-BE49-F238E27FC236}">
                  <a16:creationId xmlns:a16="http://schemas.microsoft.com/office/drawing/2014/main" id="{89645CCC-1869-407B-99DC-FAA1FF67B652}"/>
                </a:ext>
              </a:extLst>
            </p:cNvPr>
            <p:cNvSpPr>
              <a:spLocks noChangeArrowheads="1"/>
            </p:cNvSpPr>
            <p:nvPr/>
          </p:nvSpPr>
          <p:spPr bwMode="auto">
            <a:xfrm>
              <a:off x="5547712" y="2882112"/>
              <a:ext cx="23812"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Rectangle 38">
              <a:extLst>
                <a:ext uri="{FF2B5EF4-FFF2-40B4-BE49-F238E27FC236}">
                  <a16:creationId xmlns:a16="http://schemas.microsoft.com/office/drawing/2014/main" id="{13AFBF7E-6A2E-4147-A50E-0CBDA21C68F9}"/>
                </a:ext>
              </a:extLst>
            </p:cNvPr>
            <p:cNvSpPr>
              <a:spLocks noChangeArrowheads="1"/>
            </p:cNvSpPr>
            <p:nvPr/>
          </p:nvSpPr>
          <p:spPr bwMode="auto">
            <a:xfrm>
              <a:off x="5582637" y="2882112"/>
              <a:ext cx="23812"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 name="Rectangle 39">
              <a:extLst>
                <a:ext uri="{FF2B5EF4-FFF2-40B4-BE49-F238E27FC236}">
                  <a16:creationId xmlns:a16="http://schemas.microsoft.com/office/drawing/2014/main" id="{F6A317FE-003E-4BA8-9486-BD5032214A4D}"/>
                </a:ext>
              </a:extLst>
            </p:cNvPr>
            <p:cNvSpPr>
              <a:spLocks noChangeArrowheads="1"/>
            </p:cNvSpPr>
            <p:nvPr/>
          </p:nvSpPr>
          <p:spPr bwMode="auto">
            <a:xfrm>
              <a:off x="5620736" y="2882112"/>
              <a:ext cx="20637"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 name="Rectangle 40">
              <a:extLst>
                <a:ext uri="{FF2B5EF4-FFF2-40B4-BE49-F238E27FC236}">
                  <a16:creationId xmlns:a16="http://schemas.microsoft.com/office/drawing/2014/main" id="{8C8C9AE3-E632-496C-A7A2-319A9FE08DA7}"/>
                </a:ext>
              </a:extLst>
            </p:cNvPr>
            <p:cNvSpPr>
              <a:spLocks noChangeArrowheads="1"/>
            </p:cNvSpPr>
            <p:nvPr/>
          </p:nvSpPr>
          <p:spPr bwMode="auto">
            <a:xfrm>
              <a:off x="5476274" y="3050388"/>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Rectangle 41">
              <a:extLst>
                <a:ext uri="{FF2B5EF4-FFF2-40B4-BE49-F238E27FC236}">
                  <a16:creationId xmlns:a16="http://schemas.microsoft.com/office/drawing/2014/main" id="{ECEF6BB2-21CF-4DEF-912E-FFC5658D5D74}"/>
                </a:ext>
              </a:extLst>
            </p:cNvPr>
            <p:cNvSpPr>
              <a:spLocks noChangeArrowheads="1"/>
            </p:cNvSpPr>
            <p:nvPr/>
          </p:nvSpPr>
          <p:spPr bwMode="auto">
            <a:xfrm>
              <a:off x="5512787" y="3050388"/>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Rectangle 42">
              <a:extLst>
                <a:ext uri="{FF2B5EF4-FFF2-40B4-BE49-F238E27FC236}">
                  <a16:creationId xmlns:a16="http://schemas.microsoft.com/office/drawing/2014/main" id="{B7782674-179B-4543-A803-2430F5C40E2D}"/>
                </a:ext>
              </a:extLst>
            </p:cNvPr>
            <p:cNvSpPr>
              <a:spLocks noChangeArrowheads="1"/>
            </p:cNvSpPr>
            <p:nvPr/>
          </p:nvSpPr>
          <p:spPr bwMode="auto">
            <a:xfrm>
              <a:off x="5547712" y="3050388"/>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Rectangle 43">
              <a:extLst>
                <a:ext uri="{FF2B5EF4-FFF2-40B4-BE49-F238E27FC236}">
                  <a16:creationId xmlns:a16="http://schemas.microsoft.com/office/drawing/2014/main" id="{6007D99C-AEA1-40F1-ABC3-45321A1DF8FD}"/>
                </a:ext>
              </a:extLst>
            </p:cNvPr>
            <p:cNvSpPr>
              <a:spLocks noChangeArrowheads="1"/>
            </p:cNvSpPr>
            <p:nvPr/>
          </p:nvSpPr>
          <p:spPr bwMode="auto">
            <a:xfrm>
              <a:off x="5582637" y="3050388"/>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0" name="Rectangle 44">
              <a:extLst>
                <a:ext uri="{FF2B5EF4-FFF2-40B4-BE49-F238E27FC236}">
                  <a16:creationId xmlns:a16="http://schemas.microsoft.com/office/drawing/2014/main" id="{364E61B6-2990-4417-A8EB-720AD7DBF94C}"/>
                </a:ext>
              </a:extLst>
            </p:cNvPr>
            <p:cNvSpPr>
              <a:spLocks noChangeArrowheads="1"/>
            </p:cNvSpPr>
            <p:nvPr/>
          </p:nvSpPr>
          <p:spPr bwMode="auto">
            <a:xfrm>
              <a:off x="5620736" y="3050388"/>
              <a:ext cx="20637"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1" name="Rectangle 45">
              <a:extLst>
                <a:ext uri="{FF2B5EF4-FFF2-40B4-BE49-F238E27FC236}">
                  <a16:creationId xmlns:a16="http://schemas.microsoft.com/office/drawing/2014/main" id="{73477CF8-DD29-4EF3-B4E5-6A2CCEDB0494}"/>
                </a:ext>
              </a:extLst>
            </p:cNvPr>
            <p:cNvSpPr>
              <a:spLocks noChangeArrowheads="1"/>
            </p:cNvSpPr>
            <p:nvPr/>
          </p:nvSpPr>
          <p:spPr bwMode="auto">
            <a:xfrm>
              <a:off x="5476274" y="3217076"/>
              <a:ext cx="23812"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Rectangle 46">
              <a:extLst>
                <a:ext uri="{FF2B5EF4-FFF2-40B4-BE49-F238E27FC236}">
                  <a16:creationId xmlns:a16="http://schemas.microsoft.com/office/drawing/2014/main" id="{FA417248-DDEA-4257-AB8A-4DC6A68CEABE}"/>
                </a:ext>
              </a:extLst>
            </p:cNvPr>
            <p:cNvSpPr>
              <a:spLocks noChangeArrowheads="1"/>
            </p:cNvSpPr>
            <p:nvPr/>
          </p:nvSpPr>
          <p:spPr bwMode="auto">
            <a:xfrm>
              <a:off x="5512787" y="3217076"/>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Rectangle 47">
              <a:extLst>
                <a:ext uri="{FF2B5EF4-FFF2-40B4-BE49-F238E27FC236}">
                  <a16:creationId xmlns:a16="http://schemas.microsoft.com/office/drawing/2014/main" id="{1F8F7945-89F4-4652-87D2-4FF52B202E84}"/>
                </a:ext>
              </a:extLst>
            </p:cNvPr>
            <p:cNvSpPr>
              <a:spLocks noChangeArrowheads="1"/>
            </p:cNvSpPr>
            <p:nvPr/>
          </p:nvSpPr>
          <p:spPr bwMode="auto">
            <a:xfrm>
              <a:off x="5547712" y="3217076"/>
              <a:ext cx="23812"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4" name="Rectangle 48">
              <a:extLst>
                <a:ext uri="{FF2B5EF4-FFF2-40B4-BE49-F238E27FC236}">
                  <a16:creationId xmlns:a16="http://schemas.microsoft.com/office/drawing/2014/main" id="{BE103AEB-FD30-483B-AA62-5798C0566E55}"/>
                </a:ext>
              </a:extLst>
            </p:cNvPr>
            <p:cNvSpPr>
              <a:spLocks noChangeArrowheads="1"/>
            </p:cNvSpPr>
            <p:nvPr/>
          </p:nvSpPr>
          <p:spPr bwMode="auto">
            <a:xfrm>
              <a:off x="5582637" y="3217076"/>
              <a:ext cx="23812"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 name="Rectangle 49">
              <a:extLst>
                <a:ext uri="{FF2B5EF4-FFF2-40B4-BE49-F238E27FC236}">
                  <a16:creationId xmlns:a16="http://schemas.microsoft.com/office/drawing/2014/main" id="{FDC7D50B-3F04-4E12-8781-289EBFD4F630}"/>
                </a:ext>
              </a:extLst>
            </p:cNvPr>
            <p:cNvSpPr>
              <a:spLocks noChangeArrowheads="1"/>
            </p:cNvSpPr>
            <p:nvPr/>
          </p:nvSpPr>
          <p:spPr bwMode="auto">
            <a:xfrm>
              <a:off x="5620736" y="3217076"/>
              <a:ext cx="20637"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6" name="Rectangle 50">
              <a:extLst>
                <a:ext uri="{FF2B5EF4-FFF2-40B4-BE49-F238E27FC236}">
                  <a16:creationId xmlns:a16="http://schemas.microsoft.com/office/drawing/2014/main" id="{28C228A4-BED8-4939-A68A-49DB1284318D}"/>
                </a:ext>
              </a:extLst>
            </p:cNvPr>
            <p:cNvSpPr>
              <a:spLocks noChangeArrowheads="1"/>
            </p:cNvSpPr>
            <p:nvPr/>
          </p:nvSpPr>
          <p:spPr bwMode="auto">
            <a:xfrm>
              <a:off x="5476274" y="3383764"/>
              <a:ext cx="23812"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Rectangle 51">
              <a:extLst>
                <a:ext uri="{FF2B5EF4-FFF2-40B4-BE49-F238E27FC236}">
                  <a16:creationId xmlns:a16="http://schemas.microsoft.com/office/drawing/2014/main" id="{41BEA176-6724-4878-9208-776EC5FA95A4}"/>
                </a:ext>
              </a:extLst>
            </p:cNvPr>
            <p:cNvSpPr>
              <a:spLocks noChangeArrowheads="1"/>
            </p:cNvSpPr>
            <p:nvPr/>
          </p:nvSpPr>
          <p:spPr bwMode="auto">
            <a:xfrm>
              <a:off x="5512787" y="3383764"/>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Rectangle 52">
              <a:extLst>
                <a:ext uri="{FF2B5EF4-FFF2-40B4-BE49-F238E27FC236}">
                  <a16:creationId xmlns:a16="http://schemas.microsoft.com/office/drawing/2014/main" id="{A3955207-5852-4300-BA7F-85FBA9C3F4B6}"/>
                </a:ext>
              </a:extLst>
            </p:cNvPr>
            <p:cNvSpPr>
              <a:spLocks noChangeArrowheads="1"/>
            </p:cNvSpPr>
            <p:nvPr/>
          </p:nvSpPr>
          <p:spPr bwMode="auto">
            <a:xfrm>
              <a:off x="5547712" y="3383764"/>
              <a:ext cx="23812"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9" name="Rectangle 53">
              <a:extLst>
                <a:ext uri="{FF2B5EF4-FFF2-40B4-BE49-F238E27FC236}">
                  <a16:creationId xmlns:a16="http://schemas.microsoft.com/office/drawing/2014/main" id="{2745F6BA-F39C-443E-A67D-097F049395A8}"/>
                </a:ext>
              </a:extLst>
            </p:cNvPr>
            <p:cNvSpPr>
              <a:spLocks noChangeArrowheads="1"/>
            </p:cNvSpPr>
            <p:nvPr/>
          </p:nvSpPr>
          <p:spPr bwMode="auto">
            <a:xfrm>
              <a:off x="5582637" y="3383764"/>
              <a:ext cx="23812"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0" name="Rectangle 54">
              <a:extLst>
                <a:ext uri="{FF2B5EF4-FFF2-40B4-BE49-F238E27FC236}">
                  <a16:creationId xmlns:a16="http://schemas.microsoft.com/office/drawing/2014/main" id="{CA6B7455-E36B-442A-B028-42DE129E8452}"/>
                </a:ext>
              </a:extLst>
            </p:cNvPr>
            <p:cNvSpPr>
              <a:spLocks noChangeArrowheads="1"/>
            </p:cNvSpPr>
            <p:nvPr/>
          </p:nvSpPr>
          <p:spPr bwMode="auto">
            <a:xfrm>
              <a:off x="5620736" y="3383764"/>
              <a:ext cx="20637"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1" name="Rectangle 55">
              <a:extLst>
                <a:ext uri="{FF2B5EF4-FFF2-40B4-BE49-F238E27FC236}">
                  <a16:creationId xmlns:a16="http://schemas.microsoft.com/office/drawing/2014/main" id="{00CB68C7-D6DA-4425-9248-04FF416AC764}"/>
                </a:ext>
              </a:extLst>
            </p:cNvPr>
            <p:cNvSpPr>
              <a:spLocks noChangeArrowheads="1"/>
            </p:cNvSpPr>
            <p:nvPr/>
          </p:nvSpPr>
          <p:spPr bwMode="auto">
            <a:xfrm>
              <a:off x="5476274" y="3548864"/>
              <a:ext cx="23812"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2" name="Rectangle 56">
              <a:extLst>
                <a:ext uri="{FF2B5EF4-FFF2-40B4-BE49-F238E27FC236}">
                  <a16:creationId xmlns:a16="http://schemas.microsoft.com/office/drawing/2014/main" id="{69ADF6B0-2230-47AB-937A-A6090FB96914}"/>
                </a:ext>
              </a:extLst>
            </p:cNvPr>
            <p:cNvSpPr>
              <a:spLocks noChangeArrowheads="1"/>
            </p:cNvSpPr>
            <p:nvPr/>
          </p:nvSpPr>
          <p:spPr bwMode="auto">
            <a:xfrm>
              <a:off x="5512787" y="3548864"/>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3" name="Rectangle 57">
              <a:extLst>
                <a:ext uri="{FF2B5EF4-FFF2-40B4-BE49-F238E27FC236}">
                  <a16:creationId xmlns:a16="http://schemas.microsoft.com/office/drawing/2014/main" id="{4C4F2321-E1DE-4CED-B0CF-78D999E79B54}"/>
                </a:ext>
              </a:extLst>
            </p:cNvPr>
            <p:cNvSpPr>
              <a:spLocks noChangeArrowheads="1"/>
            </p:cNvSpPr>
            <p:nvPr/>
          </p:nvSpPr>
          <p:spPr bwMode="auto">
            <a:xfrm>
              <a:off x="5547712" y="3548864"/>
              <a:ext cx="23812"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4" name="Rectangle 58">
              <a:extLst>
                <a:ext uri="{FF2B5EF4-FFF2-40B4-BE49-F238E27FC236}">
                  <a16:creationId xmlns:a16="http://schemas.microsoft.com/office/drawing/2014/main" id="{33A49262-8817-4434-B75C-321F0E496E43}"/>
                </a:ext>
              </a:extLst>
            </p:cNvPr>
            <p:cNvSpPr>
              <a:spLocks noChangeArrowheads="1"/>
            </p:cNvSpPr>
            <p:nvPr/>
          </p:nvSpPr>
          <p:spPr bwMode="auto">
            <a:xfrm>
              <a:off x="5582637" y="3548864"/>
              <a:ext cx="23812"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5" name="Rectangle 59">
              <a:extLst>
                <a:ext uri="{FF2B5EF4-FFF2-40B4-BE49-F238E27FC236}">
                  <a16:creationId xmlns:a16="http://schemas.microsoft.com/office/drawing/2014/main" id="{563D2061-F9C4-4E8A-9544-339AA53EE3F4}"/>
                </a:ext>
              </a:extLst>
            </p:cNvPr>
            <p:cNvSpPr>
              <a:spLocks noChangeArrowheads="1"/>
            </p:cNvSpPr>
            <p:nvPr/>
          </p:nvSpPr>
          <p:spPr bwMode="auto">
            <a:xfrm>
              <a:off x="5620736" y="3548864"/>
              <a:ext cx="20637"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Rectangle 60">
              <a:extLst>
                <a:ext uri="{FF2B5EF4-FFF2-40B4-BE49-F238E27FC236}">
                  <a16:creationId xmlns:a16="http://schemas.microsoft.com/office/drawing/2014/main" id="{F54090E7-76AF-4CE3-9671-47414F493E37}"/>
                </a:ext>
              </a:extLst>
            </p:cNvPr>
            <p:cNvSpPr>
              <a:spLocks noChangeArrowheads="1"/>
            </p:cNvSpPr>
            <p:nvPr/>
          </p:nvSpPr>
          <p:spPr bwMode="auto">
            <a:xfrm>
              <a:off x="5476274" y="3717140"/>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7" name="Rectangle 61">
              <a:extLst>
                <a:ext uri="{FF2B5EF4-FFF2-40B4-BE49-F238E27FC236}">
                  <a16:creationId xmlns:a16="http://schemas.microsoft.com/office/drawing/2014/main" id="{85568024-7127-4477-A97D-810D3224DDA4}"/>
                </a:ext>
              </a:extLst>
            </p:cNvPr>
            <p:cNvSpPr>
              <a:spLocks noChangeArrowheads="1"/>
            </p:cNvSpPr>
            <p:nvPr/>
          </p:nvSpPr>
          <p:spPr bwMode="auto">
            <a:xfrm>
              <a:off x="5512787" y="371714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8" name="Rectangle 62">
              <a:extLst>
                <a:ext uri="{FF2B5EF4-FFF2-40B4-BE49-F238E27FC236}">
                  <a16:creationId xmlns:a16="http://schemas.microsoft.com/office/drawing/2014/main" id="{E9E19F5F-65EE-4690-8156-1A9E248755A9}"/>
                </a:ext>
              </a:extLst>
            </p:cNvPr>
            <p:cNvSpPr>
              <a:spLocks noChangeArrowheads="1"/>
            </p:cNvSpPr>
            <p:nvPr/>
          </p:nvSpPr>
          <p:spPr bwMode="auto">
            <a:xfrm>
              <a:off x="5547712" y="3717140"/>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9" name="Rectangle 63">
              <a:extLst>
                <a:ext uri="{FF2B5EF4-FFF2-40B4-BE49-F238E27FC236}">
                  <a16:creationId xmlns:a16="http://schemas.microsoft.com/office/drawing/2014/main" id="{E450D817-B9B8-4DB5-8D34-82E5E48EEAAF}"/>
                </a:ext>
              </a:extLst>
            </p:cNvPr>
            <p:cNvSpPr>
              <a:spLocks noChangeArrowheads="1"/>
            </p:cNvSpPr>
            <p:nvPr/>
          </p:nvSpPr>
          <p:spPr bwMode="auto">
            <a:xfrm>
              <a:off x="5582637" y="3717140"/>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0" name="Rectangle 64">
              <a:extLst>
                <a:ext uri="{FF2B5EF4-FFF2-40B4-BE49-F238E27FC236}">
                  <a16:creationId xmlns:a16="http://schemas.microsoft.com/office/drawing/2014/main" id="{67BF0EAB-24B0-42DB-9E55-B6E8CD4906C3}"/>
                </a:ext>
              </a:extLst>
            </p:cNvPr>
            <p:cNvSpPr>
              <a:spLocks noChangeArrowheads="1"/>
            </p:cNvSpPr>
            <p:nvPr/>
          </p:nvSpPr>
          <p:spPr bwMode="auto">
            <a:xfrm>
              <a:off x="5620736" y="3717140"/>
              <a:ext cx="20637"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1" name="Rectangle 65">
              <a:extLst>
                <a:ext uri="{FF2B5EF4-FFF2-40B4-BE49-F238E27FC236}">
                  <a16:creationId xmlns:a16="http://schemas.microsoft.com/office/drawing/2014/main" id="{DC1DD91E-7881-4863-9145-AD5DC0F76BDA}"/>
                </a:ext>
              </a:extLst>
            </p:cNvPr>
            <p:cNvSpPr>
              <a:spLocks noChangeArrowheads="1"/>
            </p:cNvSpPr>
            <p:nvPr/>
          </p:nvSpPr>
          <p:spPr bwMode="auto">
            <a:xfrm>
              <a:off x="5476274" y="3883828"/>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2" name="Rectangle 66">
              <a:extLst>
                <a:ext uri="{FF2B5EF4-FFF2-40B4-BE49-F238E27FC236}">
                  <a16:creationId xmlns:a16="http://schemas.microsoft.com/office/drawing/2014/main" id="{23678445-263B-4432-B34E-1DF5DCBE4238}"/>
                </a:ext>
              </a:extLst>
            </p:cNvPr>
            <p:cNvSpPr>
              <a:spLocks noChangeArrowheads="1"/>
            </p:cNvSpPr>
            <p:nvPr/>
          </p:nvSpPr>
          <p:spPr bwMode="auto">
            <a:xfrm>
              <a:off x="5512787" y="3883828"/>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Rectangle 67">
              <a:extLst>
                <a:ext uri="{FF2B5EF4-FFF2-40B4-BE49-F238E27FC236}">
                  <a16:creationId xmlns:a16="http://schemas.microsoft.com/office/drawing/2014/main" id="{972C32E7-59AD-42E5-B41F-F8E21F6D3299}"/>
                </a:ext>
              </a:extLst>
            </p:cNvPr>
            <p:cNvSpPr>
              <a:spLocks noChangeArrowheads="1"/>
            </p:cNvSpPr>
            <p:nvPr/>
          </p:nvSpPr>
          <p:spPr bwMode="auto">
            <a:xfrm>
              <a:off x="5547712" y="3883828"/>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4" name="Rectangle 68">
              <a:extLst>
                <a:ext uri="{FF2B5EF4-FFF2-40B4-BE49-F238E27FC236}">
                  <a16:creationId xmlns:a16="http://schemas.microsoft.com/office/drawing/2014/main" id="{AB8C61BA-3B59-42C7-BBD4-D8492BD06F50}"/>
                </a:ext>
              </a:extLst>
            </p:cNvPr>
            <p:cNvSpPr>
              <a:spLocks noChangeArrowheads="1"/>
            </p:cNvSpPr>
            <p:nvPr/>
          </p:nvSpPr>
          <p:spPr bwMode="auto">
            <a:xfrm>
              <a:off x="5582637" y="3883828"/>
              <a:ext cx="23812"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5" name="Rectangle 69">
              <a:extLst>
                <a:ext uri="{FF2B5EF4-FFF2-40B4-BE49-F238E27FC236}">
                  <a16:creationId xmlns:a16="http://schemas.microsoft.com/office/drawing/2014/main" id="{4E12D9D4-1D0B-460D-A12E-CAFE52FAA7B2}"/>
                </a:ext>
              </a:extLst>
            </p:cNvPr>
            <p:cNvSpPr>
              <a:spLocks noChangeArrowheads="1"/>
            </p:cNvSpPr>
            <p:nvPr/>
          </p:nvSpPr>
          <p:spPr bwMode="auto">
            <a:xfrm>
              <a:off x="5620736" y="3883828"/>
              <a:ext cx="20637"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6" name="Oval 70">
              <a:extLst>
                <a:ext uri="{FF2B5EF4-FFF2-40B4-BE49-F238E27FC236}">
                  <a16:creationId xmlns:a16="http://schemas.microsoft.com/office/drawing/2014/main" id="{1290B9FB-C8E8-4317-8FA1-8BE1A25E2C59}"/>
                </a:ext>
              </a:extLst>
            </p:cNvPr>
            <p:cNvSpPr>
              <a:spLocks noChangeArrowheads="1"/>
            </p:cNvSpPr>
            <p:nvPr/>
          </p:nvSpPr>
          <p:spPr bwMode="auto">
            <a:xfrm>
              <a:off x="5789011" y="3899703"/>
              <a:ext cx="36512"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7" name="Oval 71">
              <a:extLst>
                <a:ext uri="{FF2B5EF4-FFF2-40B4-BE49-F238E27FC236}">
                  <a16:creationId xmlns:a16="http://schemas.microsoft.com/office/drawing/2014/main" id="{2F129CDF-3FAF-4CB1-BC2E-7F87F875947A}"/>
                </a:ext>
              </a:extLst>
            </p:cNvPr>
            <p:cNvSpPr>
              <a:spLocks noChangeArrowheads="1"/>
            </p:cNvSpPr>
            <p:nvPr/>
          </p:nvSpPr>
          <p:spPr bwMode="auto">
            <a:xfrm>
              <a:off x="5857273" y="2729712"/>
              <a:ext cx="36512"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8" name="Oval 72">
              <a:extLst>
                <a:ext uri="{FF2B5EF4-FFF2-40B4-BE49-F238E27FC236}">
                  <a16:creationId xmlns:a16="http://schemas.microsoft.com/office/drawing/2014/main" id="{882051AB-77CF-4F4B-9A21-B35EB04D7DE9}"/>
                </a:ext>
              </a:extLst>
            </p:cNvPr>
            <p:cNvSpPr>
              <a:spLocks noChangeArrowheads="1"/>
            </p:cNvSpPr>
            <p:nvPr/>
          </p:nvSpPr>
          <p:spPr bwMode="auto">
            <a:xfrm>
              <a:off x="5857273" y="2897987"/>
              <a:ext cx="36512"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9" name="Oval 73">
              <a:extLst>
                <a:ext uri="{FF2B5EF4-FFF2-40B4-BE49-F238E27FC236}">
                  <a16:creationId xmlns:a16="http://schemas.microsoft.com/office/drawing/2014/main" id="{AE13D393-0C9A-46A1-8372-A34DA9E2BF37}"/>
                </a:ext>
              </a:extLst>
            </p:cNvPr>
            <p:cNvSpPr>
              <a:spLocks noChangeArrowheads="1"/>
            </p:cNvSpPr>
            <p:nvPr/>
          </p:nvSpPr>
          <p:spPr bwMode="auto">
            <a:xfrm>
              <a:off x="5857273" y="3064675"/>
              <a:ext cx="36512"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0" name="Oval 74">
              <a:extLst>
                <a:ext uri="{FF2B5EF4-FFF2-40B4-BE49-F238E27FC236}">
                  <a16:creationId xmlns:a16="http://schemas.microsoft.com/office/drawing/2014/main" id="{D03165A9-3CCC-4D3C-844E-E80E6AF400A3}"/>
                </a:ext>
              </a:extLst>
            </p:cNvPr>
            <p:cNvSpPr>
              <a:spLocks noChangeArrowheads="1"/>
            </p:cNvSpPr>
            <p:nvPr/>
          </p:nvSpPr>
          <p:spPr bwMode="auto">
            <a:xfrm>
              <a:off x="5857273" y="3231363"/>
              <a:ext cx="36512"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1" name="Oval 75">
              <a:extLst>
                <a:ext uri="{FF2B5EF4-FFF2-40B4-BE49-F238E27FC236}">
                  <a16:creationId xmlns:a16="http://schemas.microsoft.com/office/drawing/2014/main" id="{D9717168-EDC9-409D-AF46-1E04D22E71D7}"/>
                </a:ext>
              </a:extLst>
            </p:cNvPr>
            <p:cNvSpPr>
              <a:spLocks noChangeArrowheads="1"/>
            </p:cNvSpPr>
            <p:nvPr/>
          </p:nvSpPr>
          <p:spPr bwMode="auto">
            <a:xfrm>
              <a:off x="5857273" y="3398051"/>
              <a:ext cx="36512"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2" name="Oval 76">
              <a:extLst>
                <a:ext uri="{FF2B5EF4-FFF2-40B4-BE49-F238E27FC236}">
                  <a16:creationId xmlns:a16="http://schemas.microsoft.com/office/drawing/2014/main" id="{E68188A7-50F0-4927-B01F-AC0432993BD3}"/>
                </a:ext>
              </a:extLst>
            </p:cNvPr>
            <p:cNvSpPr>
              <a:spLocks noChangeArrowheads="1"/>
            </p:cNvSpPr>
            <p:nvPr/>
          </p:nvSpPr>
          <p:spPr bwMode="auto">
            <a:xfrm>
              <a:off x="5857273" y="3564739"/>
              <a:ext cx="36512"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3" name="Oval 77">
              <a:extLst>
                <a:ext uri="{FF2B5EF4-FFF2-40B4-BE49-F238E27FC236}">
                  <a16:creationId xmlns:a16="http://schemas.microsoft.com/office/drawing/2014/main" id="{1DB113BF-9A8C-4030-9E24-AEB6C1FA0ED8}"/>
                </a:ext>
              </a:extLst>
            </p:cNvPr>
            <p:cNvSpPr>
              <a:spLocks noChangeArrowheads="1"/>
            </p:cNvSpPr>
            <p:nvPr/>
          </p:nvSpPr>
          <p:spPr bwMode="auto">
            <a:xfrm>
              <a:off x="5857273" y="3731427"/>
              <a:ext cx="36512"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4" name="Oval 78">
              <a:extLst>
                <a:ext uri="{FF2B5EF4-FFF2-40B4-BE49-F238E27FC236}">
                  <a16:creationId xmlns:a16="http://schemas.microsoft.com/office/drawing/2014/main" id="{6D1ACC39-2999-48C9-AE66-21CC69B31CD8}"/>
                </a:ext>
              </a:extLst>
            </p:cNvPr>
            <p:cNvSpPr>
              <a:spLocks noChangeArrowheads="1"/>
            </p:cNvSpPr>
            <p:nvPr/>
          </p:nvSpPr>
          <p:spPr bwMode="auto">
            <a:xfrm>
              <a:off x="5857273" y="3899703"/>
              <a:ext cx="36512"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49" name="Group 248">
            <a:extLst>
              <a:ext uri="{FF2B5EF4-FFF2-40B4-BE49-F238E27FC236}">
                <a16:creationId xmlns:a16="http://schemas.microsoft.com/office/drawing/2014/main" id="{38F458E4-8F82-48D5-ABC9-AFDE4967A3DB}"/>
              </a:ext>
            </a:extLst>
          </p:cNvPr>
          <p:cNvGrpSpPr/>
          <p:nvPr/>
        </p:nvGrpSpPr>
        <p:grpSpPr>
          <a:xfrm>
            <a:off x="9257949" y="3804607"/>
            <a:ext cx="679360" cy="557143"/>
            <a:chOff x="7477125" y="2506662"/>
            <a:chExt cx="679447" cy="557214"/>
          </a:xfrm>
        </p:grpSpPr>
        <p:sp>
          <p:nvSpPr>
            <p:cNvPr id="250" name="Freeform 93">
              <a:extLst>
                <a:ext uri="{FF2B5EF4-FFF2-40B4-BE49-F238E27FC236}">
                  <a16:creationId xmlns:a16="http://schemas.microsoft.com/office/drawing/2014/main" id="{763147B2-0ECB-4525-85CA-7602A55149B3}"/>
                </a:ext>
              </a:extLst>
            </p:cNvPr>
            <p:cNvSpPr>
              <a:spLocks/>
            </p:cNvSpPr>
            <p:nvPr/>
          </p:nvSpPr>
          <p:spPr bwMode="auto">
            <a:xfrm>
              <a:off x="7477125" y="2773363"/>
              <a:ext cx="66675" cy="82550"/>
            </a:xfrm>
            <a:custGeom>
              <a:avLst/>
              <a:gdLst>
                <a:gd name="T0" fmla="*/ 22 w 55"/>
                <a:gd name="T1" fmla="*/ 61 h 67"/>
                <a:gd name="T2" fmla="*/ 34 w 55"/>
                <a:gd name="T3" fmla="*/ 65 h 67"/>
                <a:gd name="T4" fmla="*/ 49 w 55"/>
                <a:gd name="T5" fmla="*/ 57 h 67"/>
                <a:gd name="T6" fmla="*/ 53 w 55"/>
                <a:gd name="T7" fmla="*/ 45 h 67"/>
                <a:gd name="T8" fmla="*/ 33 w 55"/>
                <a:gd name="T9" fmla="*/ 6 h 67"/>
                <a:gd name="T10" fmla="*/ 21 w 55"/>
                <a:gd name="T11" fmla="*/ 2 h 67"/>
                <a:gd name="T12" fmla="*/ 6 w 55"/>
                <a:gd name="T13" fmla="*/ 10 h 67"/>
                <a:gd name="T14" fmla="*/ 2 w 55"/>
                <a:gd name="T15" fmla="*/ 22 h 67"/>
                <a:gd name="T16" fmla="*/ 22 w 55"/>
                <a:gd name="T17"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7">
                  <a:moveTo>
                    <a:pt x="22" y="61"/>
                  </a:moveTo>
                  <a:cubicBezTo>
                    <a:pt x="24" y="65"/>
                    <a:pt x="29" y="67"/>
                    <a:pt x="34" y="65"/>
                  </a:cubicBezTo>
                  <a:cubicBezTo>
                    <a:pt x="49" y="57"/>
                    <a:pt x="49" y="57"/>
                    <a:pt x="49" y="57"/>
                  </a:cubicBezTo>
                  <a:cubicBezTo>
                    <a:pt x="53" y="55"/>
                    <a:pt x="55" y="50"/>
                    <a:pt x="53" y="45"/>
                  </a:cubicBezTo>
                  <a:cubicBezTo>
                    <a:pt x="33" y="6"/>
                    <a:pt x="33" y="6"/>
                    <a:pt x="33" y="6"/>
                  </a:cubicBezTo>
                  <a:cubicBezTo>
                    <a:pt x="31" y="2"/>
                    <a:pt x="26" y="0"/>
                    <a:pt x="21" y="2"/>
                  </a:cubicBezTo>
                  <a:cubicBezTo>
                    <a:pt x="6" y="10"/>
                    <a:pt x="6" y="10"/>
                    <a:pt x="6" y="10"/>
                  </a:cubicBezTo>
                  <a:cubicBezTo>
                    <a:pt x="2" y="12"/>
                    <a:pt x="0" y="17"/>
                    <a:pt x="2" y="22"/>
                  </a:cubicBezTo>
                  <a:lnTo>
                    <a:pt x="22"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1" name="Freeform 94">
              <a:extLst>
                <a:ext uri="{FF2B5EF4-FFF2-40B4-BE49-F238E27FC236}">
                  <a16:creationId xmlns:a16="http://schemas.microsoft.com/office/drawing/2014/main" id="{763BA58C-E3A8-4F87-BD4D-07EFD0511A6F}"/>
                </a:ext>
              </a:extLst>
            </p:cNvPr>
            <p:cNvSpPr>
              <a:spLocks/>
            </p:cNvSpPr>
            <p:nvPr/>
          </p:nvSpPr>
          <p:spPr bwMode="auto">
            <a:xfrm>
              <a:off x="7799386" y="2763838"/>
              <a:ext cx="306386" cy="231776"/>
            </a:xfrm>
            <a:custGeom>
              <a:avLst/>
              <a:gdLst>
                <a:gd name="T0" fmla="*/ 250 w 250"/>
                <a:gd name="T1" fmla="*/ 190 h 190"/>
                <a:gd name="T2" fmla="*/ 85 w 250"/>
                <a:gd name="T3" fmla="*/ 190 h 190"/>
                <a:gd name="T4" fmla="*/ 74 w 250"/>
                <a:gd name="T5" fmla="*/ 183 h 190"/>
                <a:gd name="T6" fmla="*/ 0 w 250"/>
                <a:gd name="T7" fmla="*/ 10 h 190"/>
                <a:gd name="T8" fmla="*/ 22 w 250"/>
                <a:gd name="T9" fmla="*/ 0 h 190"/>
                <a:gd name="T10" fmla="*/ 93 w 250"/>
                <a:gd name="T11" fmla="*/ 166 h 190"/>
                <a:gd name="T12" fmla="*/ 250 w 250"/>
                <a:gd name="T13" fmla="*/ 166 h 190"/>
                <a:gd name="T14" fmla="*/ 250 w 250"/>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190">
                  <a:moveTo>
                    <a:pt x="250" y="190"/>
                  </a:moveTo>
                  <a:cubicBezTo>
                    <a:pt x="85" y="190"/>
                    <a:pt x="85" y="190"/>
                    <a:pt x="85" y="190"/>
                  </a:cubicBezTo>
                  <a:cubicBezTo>
                    <a:pt x="81" y="190"/>
                    <a:pt x="76" y="187"/>
                    <a:pt x="74" y="183"/>
                  </a:cubicBezTo>
                  <a:cubicBezTo>
                    <a:pt x="0" y="10"/>
                    <a:pt x="0" y="10"/>
                    <a:pt x="0" y="10"/>
                  </a:cubicBezTo>
                  <a:cubicBezTo>
                    <a:pt x="22" y="0"/>
                    <a:pt x="22" y="0"/>
                    <a:pt x="22" y="0"/>
                  </a:cubicBezTo>
                  <a:cubicBezTo>
                    <a:pt x="93" y="166"/>
                    <a:pt x="93" y="166"/>
                    <a:pt x="93" y="166"/>
                  </a:cubicBezTo>
                  <a:cubicBezTo>
                    <a:pt x="250" y="166"/>
                    <a:pt x="250" y="166"/>
                    <a:pt x="250" y="166"/>
                  </a:cubicBezTo>
                  <a:lnTo>
                    <a:pt x="250"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2" name="Oval 95">
              <a:extLst>
                <a:ext uri="{FF2B5EF4-FFF2-40B4-BE49-F238E27FC236}">
                  <a16:creationId xmlns:a16="http://schemas.microsoft.com/office/drawing/2014/main" id="{227EF114-464C-4CDF-9A1F-71F8611EE601}"/>
                </a:ext>
              </a:extLst>
            </p:cNvPr>
            <p:cNvSpPr>
              <a:spLocks noChangeArrowheads="1"/>
            </p:cNvSpPr>
            <p:nvPr/>
          </p:nvSpPr>
          <p:spPr bwMode="auto">
            <a:xfrm>
              <a:off x="7742236" y="2706688"/>
              <a:ext cx="138112" cy="136525"/>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3" name="Oval 96">
              <a:extLst>
                <a:ext uri="{FF2B5EF4-FFF2-40B4-BE49-F238E27FC236}">
                  <a16:creationId xmlns:a16="http://schemas.microsoft.com/office/drawing/2014/main" id="{D1308D39-104D-4DA8-BC35-D9A88C985927}"/>
                </a:ext>
              </a:extLst>
            </p:cNvPr>
            <p:cNvSpPr>
              <a:spLocks noChangeArrowheads="1"/>
            </p:cNvSpPr>
            <p:nvPr/>
          </p:nvSpPr>
          <p:spPr bwMode="auto">
            <a:xfrm>
              <a:off x="7742236" y="2706688"/>
              <a:ext cx="138112" cy="136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4" name="Freeform 97">
              <a:extLst>
                <a:ext uri="{FF2B5EF4-FFF2-40B4-BE49-F238E27FC236}">
                  <a16:creationId xmlns:a16="http://schemas.microsoft.com/office/drawing/2014/main" id="{020376B6-5C7F-40BE-A3AD-875AF8E66DA4}"/>
                </a:ext>
              </a:extLst>
            </p:cNvPr>
            <p:cNvSpPr>
              <a:spLocks/>
            </p:cNvSpPr>
            <p:nvPr/>
          </p:nvSpPr>
          <p:spPr bwMode="auto">
            <a:xfrm>
              <a:off x="8035922" y="2935288"/>
              <a:ext cx="69850" cy="92075"/>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5" name="Freeform 98">
              <a:extLst>
                <a:ext uri="{FF2B5EF4-FFF2-40B4-BE49-F238E27FC236}">
                  <a16:creationId xmlns:a16="http://schemas.microsoft.com/office/drawing/2014/main" id="{A54A527D-3EC0-4AAB-90C2-F30BB6FCDC07}"/>
                </a:ext>
              </a:extLst>
            </p:cNvPr>
            <p:cNvSpPr>
              <a:spLocks/>
            </p:cNvSpPr>
            <p:nvPr/>
          </p:nvSpPr>
          <p:spPr bwMode="auto">
            <a:xfrm>
              <a:off x="8035922" y="2935288"/>
              <a:ext cx="69850" cy="92075"/>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6" name="Freeform 99">
              <a:extLst>
                <a:ext uri="{FF2B5EF4-FFF2-40B4-BE49-F238E27FC236}">
                  <a16:creationId xmlns:a16="http://schemas.microsoft.com/office/drawing/2014/main" id="{81D2691E-11F2-4B2C-8B45-3C002839DF40}"/>
                </a:ext>
              </a:extLst>
            </p:cNvPr>
            <p:cNvSpPr>
              <a:spLocks/>
            </p:cNvSpPr>
            <p:nvPr/>
          </p:nvSpPr>
          <p:spPr bwMode="auto">
            <a:xfrm>
              <a:off x="8035922" y="2935288"/>
              <a:ext cx="69850" cy="92075"/>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7" name="Freeform 100">
              <a:extLst>
                <a:ext uri="{FF2B5EF4-FFF2-40B4-BE49-F238E27FC236}">
                  <a16:creationId xmlns:a16="http://schemas.microsoft.com/office/drawing/2014/main" id="{258B84D8-95B6-489B-90FE-1D7E08DA209D}"/>
                </a:ext>
              </a:extLst>
            </p:cNvPr>
            <p:cNvSpPr>
              <a:spLocks/>
            </p:cNvSpPr>
            <p:nvPr/>
          </p:nvSpPr>
          <p:spPr bwMode="auto">
            <a:xfrm>
              <a:off x="7493000" y="2727325"/>
              <a:ext cx="109537" cy="133350"/>
            </a:xfrm>
            <a:custGeom>
              <a:avLst/>
              <a:gdLst>
                <a:gd name="T0" fmla="*/ 36 w 90"/>
                <a:gd name="T1" fmla="*/ 99 h 109"/>
                <a:gd name="T2" fmla="*/ 55 w 90"/>
                <a:gd name="T3" fmla="*/ 106 h 109"/>
                <a:gd name="T4" fmla="*/ 80 w 90"/>
                <a:gd name="T5" fmla="*/ 93 h 109"/>
                <a:gd name="T6" fmla="*/ 86 w 90"/>
                <a:gd name="T7" fmla="*/ 74 h 109"/>
                <a:gd name="T8" fmla="*/ 54 w 90"/>
                <a:gd name="T9" fmla="*/ 10 h 109"/>
                <a:gd name="T10" fmla="*/ 35 w 90"/>
                <a:gd name="T11" fmla="*/ 4 h 109"/>
                <a:gd name="T12" fmla="*/ 10 w 90"/>
                <a:gd name="T13" fmla="*/ 16 h 109"/>
                <a:gd name="T14" fmla="*/ 4 w 90"/>
                <a:gd name="T15" fmla="*/ 35 h 109"/>
                <a:gd name="T16" fmla="*/ 36 w 90"/>
                <a:gd name="T17"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09">
                  <a:moveTo>
                    <a:pt x="36" y="99"/>
                  </a:moveTo>
                  <a:cubicBezTo>
                    <a:pt x="39" y="106"/>
                    <a:pt x="48" y="109"/>
                    <a:pt x="55" y="106"/>
                  </a:cubicBezTo>
                  <a:cubicBezTo>
                    <a:pt x="80" y="93"/>
                    <a:pt x="80" y="93"/>
                    <a:pt x="80" y="93"/>
                  </a:cubicBezTo>
                  <a:cubicBezTo>
                    <a:pt x="87" y="90"/>
                    <a:pt x="90" y="81"/>
                    <a:pt x="86" y="74"/>
                  </a:cubicBezTo>
                  <a:cubicBezTo>
                    <a:pt x="54" y="10"/>
                    <a:pt x="54" y="10"/>
                    <a:pt x="54" y="10"/>
                  </a:cubicBezTo>
                  <a:cubicBezTo>
                    <a:pt x="51" y="3"/>
                    <a:pt x="42" y="0"/>
                    <a:pt x="35" y="4"/>
                  </a:cubicBezTo>
                  <a:cubicBezTo>
                    <a:pt x="10" y="16"/>
                    <a:pt x="10" y="16"/>
                    <a:pt x="10" y="16"/>
                  </a:cubicBezTo>
                  <a:cubicBezTo>
                    <a:pt x="3" y="20"/>
                    <a:pt x="0" y="28"/>
                    <a:pt x="4" y="35"/>
                  </a:cubicBezTo>
                  <a:lnTo>
                    <a:pt x="36"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8" name="Freeform 101">
              <a:extLst>
                <a:ext uri="{FF2B5EF4-FFF2-40B4-BE49-F238E27FC236}">
                  <a16:creationId xmlns:a16="http://schemas.microsoft.com/office/drawing/2014/main" id="{6725C337-C549-442F-A185-A0857A8CF29F}"/>
                </a:ext>
              </a:extLst>
            </p:cNvPr>
            <p:cNvSpPr>
              <a:spLocks/>
            </p:cNvSpPr>
            <p:nvPr/>
          </p:nvSpPr>
          <p:spPr bwMode="auto">
            <a:xfrm>
              <a:off x="7513637" y="2506662"/>
              <a:ext cx="490536" cy="366714"/>
            </a:xfrm>
            <a:custGeom>
              <a:avLst/>
              <a:gdLst>
                <a:gd name="T0" fmla="*/ 373 w 401"/>
                <a:gd name="T1" fmla="*/ 156 h 301"/>
                <a:gd name="T2" fmla="*/ 391 w 401"/>
                <a:gd name="T3" fmla="*/ 102 h 301"/>
                <a:gd name="T4" fmla="*/ 354 w 401"/>
                <a:gd name="T5" fmla="*/ 28 h 301"/>
                <a:gd name="T6" fmla="*/ 300 w 401"/>
                <a:gd name="T7" fmla="*/ 10 h 301"/>
                <a:gd name="T8" fmla="*/ 27 w 401"/>
                <a:gd name="T9" fmla="*/ 146 h 301"/>
                <a:gd name="T10" fmla="*/ 9 w 401"/>
                <a:gd name="T11" fmla="*/ 200 h 301"/>
                <a:gd name="T12" fmla="*/ 46 w 401"/>
                <a:gd name="T13" fmla="*/ 274 h 301"/>
                <a:gd name="T14" fmla="*/ 100 w 401"/>
                <a:gd name="T15" fmla="*/ 291 h 301"/>
                <a:gd name="T16" fmla="*/ 373 w 401"/>
                <a:gd name="T17" fmla="*/ 15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301">
                  <a:moveTo>
                    <a:pt x="373" y="156"/>
                  </a:moveTo>
                  <a:cubicBezTo>
                    <a:pt x="392" y="146"/>
                    <a:pt x="401" y="122"/>
                    <a:pt x="391" y="102"/>
                  </a:cubicBezTo>
                  <a:cubicBezTo>
                    <a:pt x="354" y="28"/>
                    <a:pt x="354" y="28"/>
                    <a:pt x="354" y="28"/>
                  </a:cubicBezTo>
                  <a:cubicBezTo>
                    <a:pt x="344" y="9"/>
                    <a:pt x="320" y="0"/>
                    <a:pt x="300" y="10"/>
                  </a:cubicBezTo>
                  <a:cubicBezTo>
                    <a:pt x="27" y="146"/>
                    <a:pt x="27" y="146"/>
                    <a:pt x="27" y="146"/>
                  </a:cubicBezTo>
                  <a:cubicBezTo>
                    <a:pt x="8" y="156"/>
                    <a:pt x="0" y="180"/>
                    <a:pt x="9" y="200"/>
                  </a:cubicBezTo>
                  <a:cubicBezTo>
                    <a:pt x="46" y="274"/>
                    <a:pt x="46" y="274"/>
                    <a:pt x="46" y="274"/>
                  </a:cubicBezTo>
                  <a:cubicBezTo>
                    <a:pt x="56" y="293"/>
                    <a:pt x="80" y="301"/>
                    <a:pt x="100" y="291"/>
                  </a:cubicBezTo>
                  <a:lnTo>
                    <a:pt x="373" y="156"/>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9" name="Oval 102">
              <a:extLst>
                <a:ext uri="{FF2B5EF4-FFF2-40B4-BE49-F238E27FC236}">
                  <a16:creationId xmlns:a16="http://schemas.microsoft.com/office/drawing/2014/main" id="{BB581EF6-9DA4-4ADD-AB43-70EE885DCFB3}"/>
                </a:ext>
              </a:extLst>
            </p:cNvPr>
            <p:cNvSpPr>
              <a:spLocks noChangeArrowheads="1"/>
            </p:cNvSpPr>
            <p:nvPr/>
          </p:nvSpPr>
          <p:spPr bwMode="auto">
            <a:xfrm>
              <a:off x="7872411" y="2946401"/>
              <a:ext cx="65087" cy="66675"/>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0" name="Oval 103">
              <a:extLst>
                <a:ext uri="{FF2B5EF4-FFF2-40B4-BE49-F238E27FC236}">
                  <a16:creationId xmlns:a16="http://schemas.microsoft.com/office/drawing/2014/main" id="{9AECA701-F33C-4630-A83D-4DEBA052C1B1}"/>
                </a:ext>
              </a:extLst>
            </p:cNvPr>
            <p:cNvSpPr>
              <a:spLocks noChangeArrowheads="1"/>
            </p:cNvSpPr>
            <p:nvPr/>
          </p:nvSpPr>
          <p:spPr bwMode="auto">
            <a:xfrm>
              <a:off x="7893048" y="2967038"/>
              <a:ext cx="23812" cy="25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1" name="Freeform 104">
              <a:extLst>
                <a:ext uri="{FF2B5EF4-FFF2-40B4-BE49-F238E27FC236}">
                  <a16:creationId xmlns:a16="http://schemas.microsoft.com/office/drawing/2014/main" id="{1EA5AD53-468A-4888-99DA-9E40E8C1E290}"/>
                </a:ext>
              </a:extLst>
            </p:cNvPr>
            <p:cNvSpPr>
              <a:spLocks/>
            </p:cNvSpPr>
            <p:nvPr/>
          </p:nvSpPr>
          <p:spPr bwMode="auto">
            <a:xfrm>
              <a:off x="8070847" y="2898776"/>
              <a:ext cx="85725" cy="165100"/>
            </a:xfrm>
            <a:custGeom>
              <a:avLst/>
              <a:gdLst>
                <a:gd name="T0" fmla="*/ 70 w 70"/>
                <a:gd name="T1" fmla="*/ 0 h 136"/>
                <a:gd name="T2" fmla="*/ 14 w 70"/>
                <a:gd name="T3" fmla="*/ 0 h 136"/>
                <a:gd name="T4" fmla="*/ 0 w 70"/>
                <a:gd name="T5" fmla="*/ 15 h 136"/>
                <a:gd name="T6" fmla="*/ 0 w 70"/>
                <a:gd name="T7" fmla="*/ 121 h 136"/>
                <a:gd name="T8" fmla="*/ 14 w 70"/>
                <a:gd name="T9" fmla="*/ 136 h 136"/>
                <a:gd name="T10" fmla="*/ 70 w 70"/>
                <a:gd name="T11" fmla="*/ 136 h 136"/>
                <a:gd name="T12" fmla="*/ 70 w 70"/>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70" h="136">
                  <a:moveTo>
                    <a:pt x="70" y="0"/>
                  </a:moveTo>
                  <a:cubicBezTo>
                    <a:pt x="14" y="0"/>
                    <a:pt x="14" y="0"/>
                    <a:pt x="14" y="0"/>
                  </a:cubicBezTo>
                  <a:cubicBezTo>
                    <a:pt x="6" y="0"/>
                    <a:pt x="0" y="7"/>
                    <a:pt x="0" y="15"/>
                  </a:cubicBezTo>
                  <a:cubicBezTo>
                    <a:pt x="0" y="121"/>
                    <a:pt x="0" y="121"/>
                    <a:pt x="0" y="121"/>
                  </a:cubicBezTo>
                  <a:cubicBezTo>
                    <a:pt x="0" y="129"/>
                    <a:pt x="6" y="136"/>
                    <a:pt x="14" y="136"/>
                  </a:cubicBezTo>
                  <a:cubicBezTo>
                    <a:pt x="70" y="136"/>
                    <a:pt x="70" y="136"/>
                    <a:pt x="70" y="136"/>
                  </a:cubicBezTo>
                  <a:lnTo>
                    <a:pt x="7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95" name="Picture 194">
            <a:extLst>
              <a:ext uri="{FF2B5EF4-FFF2-40B4-BE49-F238E27FC236}">
                <a16:creationId xmlns:a16="http://schemas.microsoft.com/office/drawing/2014/main" id="{17B698E0-8743-41FB-91F7-D0CDADBCB6BE}"/>
              </a:ext>
            </a:extLst>
          </p:cNvPr>
          <p:cNvPicPr>
            <a:picLocks noChangeAspect="1"/>
          </p:cNvPicPr>
          <p:nvPr/>
        </p:nvPicPr>
        <p:blipFill>
          <a:blip r:embed="rId4"/>
          <a:stretch>
            <a:fillRect/>
          </a:stretch>
        </p:blipFill>
        <p:spPr>
          <a:xfrm>
            <a:off x="5077213" y="3734906"/>
            <a:ext cx="1330050" cy="696546"/>
          </a:xfrm>
          <a:prstGeom prst="rect">
            <a:avLst/>
          </a:prstGeom>
        </p:spPr>
      </p:pic>
      <p:grpSp>
        <p:nvGrpSpPr>
          <p:cNvPr id="196" name="Group 195">
            <a:extLst>
              <a:ext uri="{FF2B5EF4-FFF2-40B4-BE49-F238E27FC236}">
                <a16:creationId xmlns:a16="http://schemas.microsoft.com/office/drawing/2014/main" id="{F9DC077C-A362-4469-BBA5-F78D0472C5CF}"/>
              </a:ext>
            </a:extLst>
          </p:cNvPr>
          <p:cNvGrpSpPr/>
          <p:nvPr/>
        </p:nvGrpSpPr>
        <p:grpSpPr>
          <a:xfrm>
            <a:off x="7481943" y="3375243"/>
            <a:ext cx="460314" cy="1415872"/>
            <a:chOff x="6288066" y="3167860"/>
            <a:chExt cx="460373" cy="1416053"/>
          </a:xfrm>
        </p:grpSpPr>
        <p:sp>
          <p:nvSpPr>
            <p:cNvPr id="197" name="Freeform 106">
              <a:extLst>
                <a:ext uri="{FF2B5EF4-FFF2-40B4-BE49-F238E27FC236}">
                  <a16:creationId xmlns:a16="http://schemas.microsoft.com/office/drawing/2014/main" id="{90D92E14-451F-4CD7-9F38-AC236AE7B07F}"/>
                </a:ext>
              </a:extLst>
            </p:cNvPr>
            <p:cNvSpPr>
              <a:spLocks/>
            </p:cNvSpPr>
            <p:nvPr/>
          </p:nvSpPr>
          <p:spPr bwMode="auto">
            <a:xfrm>
              <a:off x="6288066" y="3555211"/>
              <a:ext cx="74612" cy="269876"/>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8" name="Freeform 107">
              <a:extLst>
                <a:ext uri="{FF2B5EF4-FFF2-40B4-BE49-F238E27FC236}">
                  <a16:creationId xmlns:a16="http://schemas.microsoft.com/office/drawing/2014/main" id="{DAD469E9-9148-44DD-BFB0-97670CF171E1}"/>
                </a:ext>
              </a:extLst>
            </p:cNvPr>
            <p:cNvSpPr>
              <a:spLocks/>
            </p:cNvSpPr>
            <p:nvPr/>
          </p:nvSpPr>
          <p:spPr bwMode="auto">
            <a:xfrm>
              <a:off x="6288066" y="3555211"/>
              <a:ext cx="74612" cy="269876"/>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9" name="Freeform 108">
              <a:extLst>
                <a:ext uri="{FF2B5EF4-FFF2-40B4-BE49-F238E27FC236}">
                  <a16:creationId xmlns:a16="http://schemas.microsoft.com/office/drawing/2014/main" id="{4B9AA3BE-68DB-4F13-85F3-B339AC2BA2F4}"/>
                </a:ext>
              </a:extLst>
            </p:cNvPr>
            <p:cNvSpPr>
              <a:spLocks/>
            </p:cNvSpPr>
            <p:nvPr/>
          </p:nvSpPr>
          <p:spPr bwMode="auto">
            <a:xfrm>
              <a:off x="6673827" y="3555211"/>
              <a:ext cx="74612" cy="268288"/>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0" name="Freeform 109">
              <a:extLst>
                <a:ext uri="{FF2B5EF4-FFF2-40B4-BE49-F238E27FC236}">
                  <a16:creationId xmlns:a16="http://schemas.microsoft.com/office/drawing/2014/main" id="{913DBA63-6119-4342-93A8-0D4F7D7459BD}"/>
                </a:ext>
              </a:extLst>
            </p:cNvPr>
            <p:cNvSpPr>
              <a:spLocks/>
            </p:cNvSpPr>
            <p:nvPr/>
          </p:nvSpPr>
          <p:spPr bwMode="auto">
            <a:xfrm>
              <a:off x="6673827" y="3555211"/>
              <a:ext cx="74612" cy="268288"/>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1" name="Freeform 110">
              <a:extLst>
                <a:ext uri="{FF2B5EF4-FFF2-40B4-BE49-F238E27FC236}">
                  <a16:creationId xmlns:a16="http://schemas.microsoft.com/office/drawing/2014/main" id="{6CFE1C16-30E1-4922-8657-F3CF544EC533}"/>
                </a:ext>
              </a:extLst>
            </p:cNvPr>
            <p:cNvSpPr>
              <a:spLocks/>
            </p:cNvSpPr>
            <p:nvPr/>
          </p:nvSpPr>
          <p:spPr bwMode="auto">
            <a:xfrm>
              <a:off x="6335691" y="3472661"/>
              <a:ext cx="365124" cy="446089"/>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2" name="Freeform 111">
              <a:extLst>
                <a:ext uri="{FF2B5EF4-FFF2-40B4-BE49-F238E27FC236}">
                  <a16:creationId xmlns:a16="http://schemas.microsoft.com/office/drawing/2014/main" id="{1CCA54D9-366C-46AE-B2E1-C7146482ED8F}"/>
                </a:ext>
              </a:extLst>
            </p:cNvPr>
            <p:cNvSpPr>
              <a:spLocks/>
            </p:cNvSpPr>
            <p:nvPr/>
          </p:nvSpPr>
          <p:spPr bwMode="auto">
            <a:xfrm>
              <a:off x="6470628" y="3472661"/>
              <a:ext cx="93662" cy="195263"/>
            </a:xfrm>
            <a:custGeom>
              <a:avLst/>
              <a:gdLst>
                <a:gd name="T0" fmla="*/ 30 w 59"/>
                <a:gd name="T1" fmla="*/ 123 h 123"/>
                <a:gd name="T2" fmla="*/ 0 w 59"/>
                <a:gd name="T3" fmla="*/ 0 h 123"/>
                <a:gd name="T4" fmla="*/ 59 w 59"/>
                <a:gd name="T5" fmla="*/ 0 h 123"/>
                <a:gd name="T6" fmla="*/ 30 w 59"/>
                <a:gd name="T7" fmla="*/ 123 h 123"/>
              </a:gdLst>
              <a:ahLst/>
              <a:cxnLst>
                <a:cxn ang="0">
                  <a:pos x="T0" y="T1"/>
                </a:cxn>
                <a:cxn ang="0">
                  <a:pos x="T2" y="T3"/>
                </a:cxn>
                <a:cxn ang="0">
                  <a:pos x="T4" y="T5"/>
                </a:cxn>
                <a:cxn ang="0">
                  <a:pos x="T6" y="T7"/>
                </a:cxn>
              </a:cxnLst>
              <a:rect l="0" t="0" r="r" b="b"/>
              <a:pathLst>
                <a:path w="59" h="123">
                  <a:moveTo>
                    <a:pt x="30" y="123"/>
                  </a:moveTo>
                  <a:lnTo>
                    <a:pt x="0" y="0"/>
                  </a:lnTo>
                  <a:lnTo>
                    <a:pt x="59" y="0"/>
                  </a:lnTo>
                  <a:lnTo>
                    <a:pt x="30"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3" name="Freeform 112">
              <a:extLst>
                <a:ext uri="{FF2B5EF4-FFF2-40B4-BE49-F238E27FC236}">
                  <a16:creationId xmlns:a16="http://schemas.microsoft.com/office/drawing/2014/main" id="{6D46CF52-D2F8-48C3-AAAF-A3EE7277D87D}"/>
                </a:ext>
              </a:extLst>
            </p:cNvPr>
            <p:cNvSpPr>
              <a:spLocks/>
            </p:cNvSpPr>
            <p:nvPr/>
          </p:nvSpPr>
          <p:spPr bwMode="auto">
            <a:xfrm>
              <a:off x="6369028" y="3918749"/>
              <a:ext cx="298449" cy="560389"/>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4" name="Freeform 113">
              <a:extLst>
                <a:ext uri="{FF2B5EF4-FFF2-40B4-BE49-F238E27FC236}">
                  <a16:creationId xmlns:a16="http://schemas.microsoft.com/office/drawing/2014/main" id="{2036F5FC-59BB-47D7-ACB7-5A48FADB3D83}"/>
                </a:ext>
              </a:extLst>
            </p:cNvPr>
            <p:cNvSpPr>
              <a:spLocks/>
            </p:cNvSpPr>
            <p:nvPr/>
          </p:nvSpPr>
          <p:spPr bwMode="auto">
            <a:xfrm>
              <a:off x="6454753" y="4053687"/>
              <a:ext cx="61912" cy="425451"/>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5" name="Freeform 114">
              <a:extLst>
                <a:ext uri="{FF2B5EF4-FFF2-40B4-BE49-F238E27FC236}">
                  <a16:creationId xmlns:a16="http://schemas.microsoft.com/office/drawing/2014/main" id="{FD060B78-C2FD-4845-BF2F-77297C1B517D}"/>
                </a:ext>
              </a:extLst>
            </p:cNvPr>
            <p:cNvSpPr>
              <a:spLocks/>
            </p:cNvSpPr>
            <p:nvPr/>
          </p:nvSpPr>
          <p:spPr bwMode="auto">
            <a:xfrm>
              <a:off x="6637314" y="3918749"/>
              <a:ext cx="30162" cy="560389"/>
            </a:xfrm>
            <a:custGeom>
              <a:avLst/>
              <a:gdLst>
                <a:gd name="T0" fmla="*/ 4 w 19"/>
                <a:gd name="T1" fmla="*/ 0 h 353"/>
                <a:gd name="T2" fmla="*/ 3 w 19"/>
                <a:gd name="T3" fmla="*/ 187 h 353"/>
                <a:gd name="T4" fmla="*/ 0 w 19"/>
                <a:gd name="T5" fmla="*/ 353 h 353"/>
                <a:gd name="T6" fmla="*/ 17 w 19"/>
                <a:gd name="T7" fmla="*/ 187 h 353"/>
                <a:gd name="T8" fmla="*/ 19 w 19"/>
                <a:gd name="T9" fmla="*/ 0 h 353"/>
                <a:gd name="T10" fmla="*/ 4 w 19"/>
                <a:gd name="T11" fmla="*/ 0 h 353"/>
              </a:gdLst>
              <a:ahLst/>
              <a:cxnLst>
                <a:cxn ang="0">
                  <a:pos x="T0" y="T1"/>
                </a:cxn>
                <a:cxn ang="0">
                  <a:pos x="T2" y="T3"/>
                </a:cxn>
                <a:cxn ang="0">
                  <a:pos x="T4" y="T5"/>
                </a:cxn>
                <a:cxn ang="0">
                  <a:pos x="T6" y="T7"/>
                </a:cxn>
                <a:cxn ang="0">
                  <a:pos x="T8" y="T9"/>
                </a:cxn>
                <a:cxn ang="0">
                  <a:pos x="T10" y="T11"/>
                </a:cxn>
              </a:cxnLst>
              <a:rect l="0" t="0" r="r" b="b"/>
              <a:pathLst>
                <a:path w="19" h="353">
                  <a:moveTo>
                    <a:pt x="4" y="0"/>
                  </a:moveTo>
                  <a:lnTo>
                    <a:pt x="3" y="187"/>
                  </a:lnTo>
                  <a:lnTo>
                    <a:pt x="0" y="353"/>
                  </a:lnTo>
                  <a:lnTo>
                    <a:pt x="17" y="187"/>
                  </a:lnTo>
                  <a:lnTo>
                    <a:pt x="19" y="0"/>
                  </a:lnTo>
                  <a:lnTo>
                    <a:pt x="4"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6" name="Freeform 115">
              <a:extLst>
                <a:ext uri="{FF2B5EF4-FFF2-40B4-BE49-F238E27FC236}">
                  <a16:creationId xmlns:a16="http://schemas.microsoft.com/office/drawing/2014/main" id="{3F1CE5EB-D16E-403A-BAAF-5CE612D6AF7E}"/>
                </a:ext>
              </a:extLst>
            </p:cNvPr>
            <p:cNvSpPr>
              <a:spLocks/>
            </p:cNvSpPr>
            <p:nvPr/>
          </p:nvSpPr>
          <p:spPr bwMode="auto">
            <a:xfrm>
              <a:off x="6518252" y="4052100"/>
              <a:ext cx="63500" cy="427039"/>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7" name="Freeform 116">
              <a:extLst>
                <a:ext uri="{FF2B5EF4-FFF2-40B4-BE49-F238E27FC236}">
                  <a16:creationId xmlns:a16="http://schemas.microsoft.com/office/drawing/2014/main" id="{6892420F-E4CD-4DAF-B2A3-083ADA558A70}"/>
                </a:ext>
              </a:extLst>
            </p:cNvPr>
            <p:cNvSpPr>
              <a:spLocks/>
            </p:cNvSpPr>
            <p:nvPr/>
          </p:nvSpPr>
          <p:spPr bwMode="auto">
            <a:xfrm>
              <a:off x="6367441" y="3918749"/>
              <a:ext cx="31750" cy="560389"/>
            </a:xfrm>
            <a:custGeom>
              <a:avLst/>
              <a:gdLst>
                <a:gd name="T0" fmla="*/ 15 w 20"/>
                <a:gd name="T1" fmla="*/ 0 h 353"/>
                <a:gd name="T2" fmla="*/ 17 w 20"/>
                <a:gd name="T3" fmla="*/ 187 h 353"/>
                <a:gd name="T4" fmla="*/ 20 w 20"/>
                <a:gd name="T5" fmla="*/ 353 h 353"/>
                <a:gd name="T6" fmla="*/ 3 w 20"/>
                <a:gd name="T7" fmla="*/ 187 h 353"/>
                <a:gd name="T8" fmla="*/ 0 w 20"/>
                <a:gd name="T9" fmla="*/ 0 h 353"/>
                <a:gd name="T10" fmla="*/ 15 w 20"/>
                <a:gd name="T11" fmla="*/ 0 h 353"/>
              </a:gdLst>
              <a:ahLst/>
              <a:cxnLst>
                <a:cxn ang="0">
                  <a:pos x="T0" y="T1"/>
                </a:cxn>
                <a:cxn ang="0">
                  <a:pos x="T2" y="T3"/>
                </a:cxn>
                <a:cxn ang="0">
                  <a:pos x="T4" y="T5"/>
                </a:cxn>
                <a:cxn ang="0">
                  <a:pos x="T6" y="T7"/>
                </a:cxn>
                <a:cxn ang="0">
                  <a:pos x="T8" y="T9"/>
                </a:cxn>
                <a:cxn ang="0">
                  <a:pos x="T10" y="T11"/>
                </a:cxn>
              </a:cxnLst>
              <a:rect l="0" t="0" r="r" b="b"/>
              <a:pathLst>
                <a:path w="20" h="353">
                  <a:moveTo>
                    <a:pt x="15" y="0"/>
                  </a:moveTo>
                  <a:lnTo>
                    <a:pt x="17" y="187"/>
                  </a:lnTo>
                  <a:lnTo>
                    <a:pt x="20" y="353"/>
                  </a:lnTo>
                  <a:lnTo>
                    <a:pt x="3" y="187"/>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8" name="Freeform 117">
              <a:extLst>
                <a:ext uri="{FF2B5EF4-FFF2-40B4-BE49-F238E27FC236}">
                  <a16:creationId xmlns:a16="http://schemas.microsoft.com/office/drawing/2014/main" id="{CFECAEC7-826A-40FB-A607-5D8D4C94DCE3}"/>
                </a:ext>
              </a:extLst>
            </p:cNvPr>
            <p:cNvSpPr>
              <a:spLocks/>
            </p:cNvSpPr>
            <p:nvPr/>
          </p:nvSpPr>
          <p:spPr bwMode="auto">
            <a:xfrm>
              <a:off x="6572227" y="3577436"/>
              <a:ext cx="84137" cy="90488"/>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9" name="Freeform 118">
              <a:extLst>
                <a:ext uri="{FF2B5EF4-FFF2-40B4-BE49-F238E27FC236}">
                  <a16:creationId xmlns:a16="http://schemas.microsoft.com/office/drawing/2014/main" id="{2B9A0F97-E5A9-496D-91AC-66FFA1E1B9B1}"/>
                </a:ext>
              </a:extLst>
            </p:cNvPr>
            <p:cNvSpPr>
              <a:spLocks noEditPoints="1"/>
            </p:cNvSpPr>
            <p:nvPr/>
          </p:nvSpPr>
          <p:spPr bwMode="auto">
            <a:xfrm>
              <a:off x="6615090" y="3663161"/>
              <a:ext cx="6350"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0" name="Freeform 119">
              <a:extLst>
                <a:ext uri="{FF2B5EF4-FFF2-40B4-BE49-F238E27FC236}">
                  <a16:creationId xmlns:a16="http://schemas.microsoft.com/office/drawing/2014/main" id="{81152CEB-546E-4C8A-9B49-2AACC989D671}"/>
                </a:ext>
              </a:extLst>
            </p:cNvPr>
            <p:cNvSpPr>
              <a:spLocks/>
            </p:cNvSpPr>
            <p:nvPr/>
          </p:nvSpPr>
          <p:spPr bwMode="auto">
            <a:xfrm>
              <a:off x="6575402" y="3591723"/>
              <a:ext cx="69850" cy="76200"/>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1" name="Rectangle 120">
              <a:extLst>
                <a:ext uri="{FF2B5EF4-FFF2-40B4-BE49-F238E27FC236}">
                  <a16:creationId xmlns:a16="http://schemas.microsoft.com/office/drawing/2014/main" id="{A26BF5EC-B87B-420C-9AC2-41AC9465B937}"/>
                </a:ext>
              </a:extLst>
            </p:cNvPr>
            <p:cNvSpPr>
              <a:spLocks noChangeArrowheads="1"/>
            </p:cNvSpPr>
            <p:nvPr/>
          </p:nvSpPr>
          <p:spPr bwMode="auto">
            <a:xfrm>
              <a:off x="6391253" y="3918749"/>
              <a:ext cx="250824" cy="34925"/>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2" name="Freeform 122">
              <a:extLst>
                <a:ext uri="{FF2B5EF4-FFF2-40B4-BE49-F238E27FC236}">
                  <a16:creationId xmlns:a16="http://schemas.microsoft.com/office/drawing/2014/main" id="{EAC8CD25-0211-4B24-AB7D-B0C20607FA4D}"/>
                </a:ext>
              </a:extLst>
            </p:cNvPr>
            <p:cNvSpPr>
              <a:spLocks/>
            </p:cNvSpPr>
            <p:nvPr/>
          </p:nvSpPr>
          <p:spPr bwMode="auto">
            <a:xfrm>
              <a:off x="6349978" y="4425163"/>
              <a:ext cx="119062" cy="158750"/>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3" name="Freeform 123">
              <a:extLst>
                <a:ext uri="{FF2B5EF4-FFF2-40B4-BE49-F238E27FC236}">
                  <a16:creationId xmlns:a16="http://schemas.microsoft.com/office/drawing/2014/main" id="{A8F3FF97-0B16-4633-8941-6FB2617E6420}"/>
                </a:ext>
              </a:extLst>
            </p:cNvPr>
            <p:cNvSpPr>
              <a:spLocks/>
            </p:cNvSpPr>
            <p:nvPr/>
          </p:nvSpPr>
          <p:spPr bwMode="auto">
            <a:xfrm>
              <a:off x="6405540" y="4425163"/>
              <a:ext cx="63500" cy="158750"/>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4" name="Freeform 125">
              <a:extLst>
                <a:ext uri="{FF2B5EF4-FFF2-40B4-BE49-F238E27FC236}">
                  <a16:creationId xmlns:a16="http://schemas.microsoft.com/office/drawing/2014/main" id="{8A8DD4B1-1619-493E-8A7F-D30AFB76BCC7}"/>
                </a:ext>
              </a:extLst>
            </p:cNvPr>
            <p:cNvSpPr>
              <a:spLocks/>
            </p:cNvSpPr>
            <p:nvPr/>
          </p:nvSpPr>
          <p:spPr bwMode="auto">
            <a:xfrm>
              <a:off x="6567465" y="4425163"/>
              <a:ext cx="117475" cy="158750"/>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5" name="Freeform 127">
              <a:extLst>
                <a:ext uri="{FF2B5EF4-FFF2-40B4-BE49-F238E27FC236}">
                  <a16:creationId xmlns:a16="http://schemas.microsoft.com/office/drawing/2014/main" id="{4245F160-A277-4783-8D1C-14B2018399E2}"/>
                </a:ext>
              </a:extLst>
            </p:cNvPr>
            <p:cNvSpPr>
              <a:spLocks/>
            </p:cNvSpPr>
            <p:nvPr/>
          </p:nvSpPr>
          <p:spPr bwMode="auto">
            <a:xfrm>
              <a:off x="6567465" y="4425163"/>
              <a:ext cx="117475" cy="158750"/>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6" name="Freeform 128">
              <a:extLst>
                <a:ext uri="{FF2B5EF4-FFF2-40B4-BE49-F238E27FC236}">
                  <a16:creationId xmlns:a16="http://schemas.microsoft.com/office/drawing/2014/main" id="{B47436AB-8493-41B4-8B51-271B6A70EFC6}"/>
                </a:ext>
              </a:extLst>
            </p:cNvPr>
            <p:cNvSpPr>
              <a:spLocks/>
            </p:cNvSpPr>
            <p:nvPr/>
          </p:nvSpPr>
          <p:spPr bwMode="auto">
            <a:xfrm>
              <a:off x="6451578" y="3404398"/>
              <a:ext cx="131762" cy="107950"/>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7" name="Freeform 129">
              <a:extLst>
                <a:ext uri="{FF2B5EF4-FFF2-40B4-BE49-F238E27FC236}">
                  <a16:creationId xmlns:a16="http://schemas.microsoft.com/office/drawing/2014/main" id="{0EA552D3-C622-4408-A495-9BC69EB46254}"/>
                </a:ext>
              </a:extLst>
            </p:cNvPr>
            <p:cNvSpPr>
              <a:spLocks/>
            </p:cNvSpPr>
            <p:nvPr/>
          </p:nvSpPr>
          <p:spPr bwMode="auto">
            <a:xfrm>
              <a:off x="6475390" y="3410748"/>
              <a:ext cx="107950" cy="93663"/>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8" name="Oval 130">
              <a:extLst>
                <a:ext uri="{FF2B5EF4-FFF2-40B4-BE49-F238E27FC236}">
                  <a16:creationId xmlns:a16="http://schemas.microsoft.com/office/drawing/2014/main" id="{62720D50-17CF-479B-81BB-D2ED12FE3CCF}"/>
                </a:ext>
              </a:extLst>
            </p:cNvPr>
            <p:cNvSpPr>
              <a:spLocks noChangeArrowheads="1"/>
            </p:cNvSpPr>
            <p:nvPr/>
          </p:nvSpPr>
          <p:spPr bwMode="auto">
            <a:xfrm>
              <a:off x="6386490" y="3309148"/>
              <a:ext cx="47625" cy="49213"/>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9" name="Oval 131">
              <a:extLst>
                <a:ext uri="{FF2B5EF4-FFF2-40B4-BE49-F238E27FC236}">
                  <a16:creationId xmlns:a16="http://schemas.microsoft.com/office/drawing/2014/main" id="{A828A2E8-BC5E-464F-AF90-7287994A774F}"/>
                </a:ext>
              </a:extLst>
            </p:cNvPr>
            <p:cNvSpPr>
              <a:spLocks noChangeArrowheads="1"/>
            </p:cNvSpPr>
            <p:nvPr/>
          </p:nvSpPr>
          <p:spPr bwMode="auto">
            <a:xfrm>
              <a:off x="6600802" y="3309148"/>
              <a:ext cx="47625" cy="49213"/>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0" name="Freeform 132">
              <a:extLst>
                <a:ext uri="{FF2B5EF4-FFF2-40B4-BE49-F238E27FC236}">
                  <a16:creationId xmlns:a16="http://schemas.microsoft.com/office/drawing/2014/main" id="{48277C54-3B14-490C-8539-58AE8B47DBB4}"/>
                </a:ext>
              </a:extLst>
            </p:cNvPr>
            <p:cNvSpPr>
              <a:spLocks/>
            </p:cNvSpPr>
            <p:nvPr/>
          </p:nvSpPr>
          <p:spPr bwMode="auto">
            <a:xfrm>
              <a:off x="6411890" y="3204372"/>
              <a:ext cx="214312" cy="266701"/>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1" name="Freeform 133">
              <a:extLst>
                <a:ext uri="{FF2B5EF4-FFF2-40B4-BE49-F238E27FC236}">
                  <a16:creationId xmlns:a16="http://schemas.microsoft.com/office/drawing/2014/main" id="{1DC7D3E2-E580-4BCE-BF32-9333907CB307}"/>
                </a:ext>
              </a:extLst>
            </p:cNvPr>
            <p:cNvSpPr>
              <a:spLocks/>
            </p:cNvSpPr>
            <p:nvPr/>
          </p:nvSpPr>
          <p:spPr bwMode="auto">
            <a:xfrm>
              <a:off x="6496028" y="3293273"/>
              <a:ext cx="128587" cy="177800"/>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2" name="Freeform 134">
              <a:extLst>
                <a:ext uri="{FF2B5EF4-FFF2-40B4-BE49-F238E27FC236}">
                  <a16:creationId xmlns:a16="http://schemas.microsoft.com/office/drawing/2014/main" id="{61E80C72-3CC4-4986-9D48-1C797D4DD1DE}"/>
                </a:ext>
              </a:extLst>
            </p:cNvPr>
            <p:cNvSpPr>
              <a:spLocks/>
            </p:cNvSpPr>
            <p:nvPr/>
          </p:nvSpPr>
          <p:spPr bwMode="auto">
            <a:xfrm>
              <a:off x="6488090" y="3425035"/>
              <a:ext cx="58737" cy="9525"/>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3" name="Freeform 135">
              <a:extLst>
                <a:ext uri="{FF2B5EF4-FFF2-40B4-BE49-F238E27FC236}">
                  <a16:creationId xmlns:a16="http://schemas.microsoft.com/office/drawing/2014/main" id="{A03E1068-D98D-49C4-959C-60C3685D7F16}"/>
                </a:ext>
              </a:extLst>
            </p:cNvPr>
            <p:cNvSpPr>
              <a:spLocks/>
            </p:cNvSpPr>
            <p:nvPr/>
          </p:nvSpPr>
          <p:spPr bwMode="auto">
            <a:xfrm>
              <a:off x="6438878" y="3309148"/>
              <a:ext cx="158749" cy="60325"/>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4" name="Freeform 136">
              <a:extLst>
                <a:ext uri="{FF2B5EF4-FFF2-40B4-BE49-F238E27FC236}">
                  <a16:creationId xmlns:a16="http://schemas.microsoft.com/office/drawing/2014/main" id="{CA57E9F0-6066-4B83-B396-95FCBB4B910B}"/>
                </a:ext>
              </a:extLst>
            </p:cNvPr>
            <p:cNvSpPr>
              <a:spLocks/>
            </p:cNvSpPr>
            <p:nvPr/>
          </p:nvSpPr>
          <p:spPr bwMode="auto">
            <a:xfrm>
              <a:off x="6405540" y="3267872"/>
              <a:ext cx="17462" cy="88900"/>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5" name="Freeform 137">
              <a:extLst>
                <a:ext uri="{FF2B5EF4-FFF2-40B4-BE49-F238E27FC236}">
                  <a16:creationId xmlns:a16="http://schemas.microsoft.com/office/drawing/2014/main" id="{0C485029-66F9-43C8-A1E9-EEBD6A774272}"/>
                </a:ext>
              </a:extLst>
            </p:cNvPr>
            <p:cNvSpPr>
              <a:spLocks/>
            </p:cNvSpPr>
            <p:nvPr/>
          </p:nvSpPr>
          <p:spPr bwMode="auto">
            <a:xfrm>
              <a:off x="6611915" y="3267872"/>
              <a:ext cx="19050" cy="88900"/>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6" name="Freeform 138">
              <a:extLst>
                <a:ext uri="{FF2B5EF4-FFF2-40B4-BE49-F238E27FC236}">
                  <a16:creationId xmlns:a16="http://schemas.microsoft.com/office/drawing/2014/main" id="{D070B1D0-1D15-4395-AC50-CDE5D8C842EF}"/>
                </a:ext>
              </a:extLst>
            </p:cNvPr>
            <p:cNvSpPr>
              <a:spLocks/>
            </p:cNvSpPr>
            <p:nvPr/>
          </p:nvSpPr>
          <p:spPr bwMode="auto">
            <a:xfrm>
              <a:off x="6335691" y="3167860"/>
              <a:ext cx="365124" cy="1587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7" name="Freeform 139">
              <a:extLst>
                <a:ext uri="{FF2B5EF4-FFF2-40B4-BE49-F238E27FC236}">
                  <a16:creationId xmlns:a16="http://schemas.microsoft.com/office/drawing/2014/main" id="{3DE55FF3-E58A-4932-AB53-0E94D7FF3A88}"/>
                </a:ext>
              </a:extLst>
            </p:cNvPr>
            <p:cNvSpPr>
              <a:spLocks/>
            </p:cNvSpPr>
            <p:nvPr/>
          </p:nvSpPr>
          <p:spPr bwMode="auto">
            <a:xfrm>
              <a:off x="6335691" y="3167860"/>
              <a:ext cx="193674" cy="1587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8" name="Freeform 140">
              <a:extLst>
                <a:ext uri="{FF2B5EF4-FFF2-40B4-BE49-F238E27FC236}">
                  <a16:creationId xmlns:a16="http://schemas.microsoft.com/office/drawing/2014/main" id="{C0BFF220-A15F-4E8D-B922-5A3B72E05329}"/>
                </a:ext>
              </a:extLst>
            </p:cNvPr>
            <p:cNvSpPr>
              <a:spLocks/>
            </p:cNvSpPr>
            <p:nvPr/>
          </p:nvSpPr>
          <p:spPr bwMode="auto">
            <a:xfrm>
              <a:off x="6505552" y="3167860"/>
              <a:ext cx="195262" cy="1587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9" name="Freeform 141">
              <a:extLst>
                <a:ext uri="{FF2B5EF4-FFF2-40B4-BE49-F238E27FC236}">
                  <a16:creationId xmlns:a16="http://schemas.microsoft.com/office/drawing/2014/main" id="{75D8F5CD-2257-4DB5-8794-8B5FF93934DC}"/>
                </a:ext>
              </a:extLst>
            </p:cNvPr>
            <p:cNvSpPr>
              <a:spLocks/>
            </p:cNvSpPr>
            <p:nvPr/>
          </p:nvSpPr>
          <p:spPr bwMode="auto">
            <a:xfrm>
              <a:off x="6400778" y="3267872"/>
              <a:ext cx="234949" cy="25400"/>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0" name="Freeform 142">
              <a:extLst>
                <a:ext uri="{FF2B5EF4-FFF2-40B4-BE49-F238E27FC236}">
                  <a16:creationId xmlns:a16="http://schemas.microsoft.com/office/drawing/2014/main" id="{8845B8BA-E0B8-43A9-91B8-C78ABDBED74A}"/>
                </a:ext>
              </a:extLst>
            </p:cNvPr>
            <p:cNvSpPr>
              <a:spLocks/>
            </p:cNvSpPr>
            <p:nvPr/>
          </p:nvSpPr>
          <p:spPr bwMode="auto">
            <a:xfrm>
              <a:off x="6400778" y="3272635"/>
              <a:ext cx="4762" cy="2063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1" name="Freeform 143">
              <a:extLst>
                <a:ext uri="{FF2B5EF4-FFF2-40B4-BE49-F238E27FC236}">
                  <a16:creationId xmlns:a16="http://schemas.microsoft.com/office/drawing/2014/main" id="{D437ED3F-F65A-4C94-A934-73A8A64DFD26}"/>
                </a:ext>
              </a:extLst>
            </p:cNvPr>
            <p:cNvSpPr>
              <a:spLocks/>
            </p:cNvSpPr>
            <p:nvPr/>
          </p:nvSpPr>
          <p:spPr bwMode="auto">
            <a:xfrm>
              <a:off x="6405540" y="329327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2" name="Freeform 144">
              <a:extLst>
                <a:ext uri="{FF2B5EF4-FFF2-40B4-BE49-F238E27FC236}">
                  <a16:creationId xmlns:a16="http://schemas.microsoft.com/office/drawing/2014/main" id="{66838919-CDE9-482D-B1CD-0CE4D4D1AEE1}"/>
                </a:ext>
              </a:extLst>
            </p:cNvPr>
            <p:cNvSpPr>
              <a:spLocks/>
            </p:cNvSpPr>
            <p:nvPr/>
          </p:nvSpPr>
          <p:spPr bwMode="auto">
            <a:xfrm>
              <a:off x="6400778" y="3267872"/>
              <a:ext cx="20637" cy="4763"/>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3" name="Freeform 145">
              <a:extLst>
                <a:ext uri="{FF2B5EF4-FFF2-40B4-BE49-F238E27FC236}">
                  <a16:creationId xmlns:a16="http://schemas.microsoft.com/office/drawing/2014/main" id="{E61A605B-DA3D-4A09-A8C1-5367213C9B0C}"/>
                </a:ext>
              </a:extLst>
            </p:cNvPr>
            <p:cNvSpPr>
              <a:spLocks/>
            </p:cNvSpPr>
            <p:nvPr/>
          </p:nvSpPr>
          <p:spPr bwMode="auto">
            <a:xfrm>
              <a:off x="6615090" y="3267872"/>
              <a:ext cx="1587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4" name="Freeform 146">
              <a:extLst>
                <a:ext uri="{FF2B5EF4-FFF2-40B4-BE49-F238E27FC236}">
                  <a16:creationId xmlns:a16="http://schemas.microsoft.com/office/drawing/2014/main" id="{D02190FD-7390-4683-8E8B-25E348068587}"/>
                </a:ext>
              </a:extLst>
            </p:cNvPr>
            <p:cNvSpPr>
              <a:spLocks/>
            </p:cNvSpPr>
            <p:nvPr/>
          </p:nvSpPr>
          <p:spPr bwMode="auto">
            <a:xfrm>
              <a:off x="6400778" y="3267872"/>
              <a:ext cx="234949" cy="25400"/>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5" name="Rectangle 147">
              <a:extLst>
                <a:ext uri="{FF2B5EF4-FFF2-40B4-BE49-F238E27FC236}">
                  <a16:creationId xmlns:a16="http://schemas.microsoft.com/office/drawing/2014/main" id="{A1674D8B-2DDF-4826-B9DE-7B8BB8D9F62B}"/>
                </a:ext>
              </a:extLst>
            </p:cNvPr>
            <p:cNvSpPr>
              <a:spLocks noChangeArrowheads="1"/>
            </p:cNvSpPr>
            <p:nvPr/>
          </p:nvSpPr>
          <p:spPr bwMode="auto">
            <a:xfrm>
              <a:off x="6505552" y="3493298"/>
              <a:ext cx="23812" cy="307976"/>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6" name="Freeform 148">
              <a:extLst>
                <a:ext uri="{FF2B5EF4-FFF2-40B4-BE49-F238E27FC236}">
                  <a16:creationId xmlns:a16="http://schemas.microsoft.com/office/drawing/2014/main" id="{B9D19E83-715E-41C0-83B3-443808726FC5}"/>
                </a:ext>
              </a:extLst>
            </p:cNvPr>
            <p:cNvSpPr>
              <a:spLocks/>
            </p:cNvSpPr>
            <p:nvPr/>
          </p:nvSpPr>
          <p:spPr bwMode="auto">
            <a:xfrm>
              <a:off x="6448403" y="3456786"/>
              <a:ext cx="138112" cy="53975"/>
            </a:xfrm>
            <a:custGeom>
              <a:avLst/>
              <a:gdLst>
                <a:gd name="T0" fmla="*/ 87 w 87"/>
                <a:gd name="T1" fmla="*/ 10 h 34"/>
                <a:gd name="T2" fmla="*/ 80 w 87"/>
                <a:gd name="T3" fmla="*/ 0 h 34"/>
                <a:gd name="T4" fmla="*/ 44 w 87"/>
                <a:gd name="T5" fmla="*/ 23 h 34"/>
                <a:gd name="T6" fmla="*/ 7 w 87"/>
                <a:gd name="T7" fmla="*/ 0 h 34"/>
                <a:gd name="T8" fmla="*/ 0 w 87"/>
                <a:gd name="T9" fmla="*/ 10 h 34"/>
                <a:gd name="T10" fmla="*/ 35 w 87"/>
                <a:gd name="T11" fmla="*/ 34 h 34"/>
                <a:gd name="T12" fmla="*/ 44 w 87"/>
                <a:gd name="T13" fmla="*/ 25 h 34"/>
                <a:gd name="T14" fmla="*/ 52 w 87"/>
                <a:gd name="T15" fmla="*/ 34 h 34"/>
                <a:gd name="T16" fmla="*/ 87 w 87"/>
                <a:gd name="T17"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4">
                  <a:moveTo>
                    <a:pt x="87" y="10"/>
                  </a:moveTo>
                  <a:lnTo>
                    <a:pt x="80" y="0"/>
                  </a:lnTo>
                  <a:lnTo>
                    <a:pt x="44" y="23"/>
                  </a:lnTo>
                  <a:lnTo>
                    <a:pt x="7" y="0"/>
                  </a:lnTo>
                  <a:lnTo>
                    <a:pt x="0" y="10"/>
                  </a:lnTo>
                  <a:lnTo>
                    <a:pt x="35" y="34"/>
                  </a:lnTo>
                  <a:lnTo>
                    <a:pt x="44" y="25"/>
                  </a:lnTo>
                  <a:lnTo>
                    <a:pt x="52" y="34"/>
                  </a:lnTo>
                  <a:lnTo>
                    <a:pt x="87"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341" name="Group 340">
            <a:extLst>
              <a:ext uri="{FF2B5EF4-FFF2-40B4-BE49-F238E27FC236}">
                <a16:creationId xmlns:a16="http://schemas.microsoft.com/office/drawing/2014/main" id="{D8C50B9E-53C0-4C86-A200-31A5702C40F6}"/>
              </a:ext>
            </a:extLst>
          </p:cNvPr>
          <p:cNvGrpSpPr/>
          <p:nvPr/>
        </p:nvGrpSpPr>
        <p:grpSpPr>
          <a:xfrm>
            <a:off x="6543139" y="3757027"/>
            <a:ext cx="694746" cy="652303"/>
            <a:chOff x="11712585" y="1584328"/>
            <a:chExt cx="493713" cy="463551"/>
          </a:xfrm>
        </p:grpSpPr>
        <p:sp>
          <p:nvSpPr>
            <p:cNvPr id="342" name="Freeform 163">
              <a:extLst>
                <a:ext uri="{FF2B5EF4-FFF2-40B4-BE49-F238E27FC236}">
                  <a16:creationId xmlns:a16="http://schemas.microsoft.com/office/drawing/2014/main" id="{8ABFCAB6-4E0A-4A3F-9753-E3CD9A27932D}"/>
                </a:ext>
              </a:extLst>
            </p:cNvPr>
            <p:cNvSpPr>
              <a:spLocks/>
            </p:cNvSpPr>
            <p:nvPr/>
          </p:nvSpPr>
          <p:spPr bwMode="auto">
            <a:xfrm>
              <a:off x="11742748" y="1608140"/>
              <a:ext cx="431800" cy="415926"/>
            </a:xfrm>
            <a:custGeom>
              <a:avLst/>
              <a:gdLst>
                <a:gd name="T0" fmla="*/ 14 w 126"/>
                <a:gd name="T1" fmla="*/ 7 h 122"/>
                <a:gd name="T2" fmla="*/ 63 w 126"/>
                <a:gd name="T3" fmla="*/ 122 h 122"/>
                <a:gd name="T4" fmla="*/ 112 w 126"/>
                <a:gd name="T5" fmla="*/ 7 h 122"/>
                <a:gd name="T6" fmla="*/ 91 w 126"/>
                <a:gd name="T7" fmla="*/ 13 h 122"/>
                <a:gd name="T8" fmla="*/ 64 w 126"/>
                <a:gd name="T9" fmla="*/ 1 h 122"/>
                <a:gd name="T10" fmla="*/ 63 w 126"/>
                <a:gd name="T11" fmla="*/ 0 h 122"/>
                <a:gd name="T12" fmla="*/ 62 w 126"/>
                <a:gd name="T13" fmla="*/ 1 h 122"/>
                <a:gd name="T14" fmla="*/ 36 w 126"/>
                <a:gd name="T15" fmla="*/ 13 h 122"/>
                <a:gd name="T16" fmla="*/ 14 w 126"/>
                <a:gd name="T17" fmla="*/ 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22">
                  <a:moveTo>
                    <a:pt x="14" y="7"/>
                  </a:moveTo>
                  <a:cubicBezTo>
                    <a:pt x="0" y="50"/>
                    <a:pt x="21" y="100"/>
                    <a:pt x="63" y="122"/>
                  </a:cubicBezTo>
                  <a:cubicBezTo>
                    <a:pt x="105" y="100"/>
                    <a:pt x="126" y="50"/>
                    <a:pt x="112" y="7"/>
                  </a:cubicBezTo>
                  <a:cubicBezTo>
                    <a:pt x="105" y="11"/>
                    <a:pt x="97" y="13"/>
                    <a:pt x="91" y="13"/>
                  </a:cubicBezTo>
                  <a:cubicBezTo>
                    <a:pt x="78" y="13"/>
                    <a:pt x="70" y="6"/>
                    <a:pt x="64" y="1"/>
                  </a:cubicBezTo>
                  <a:cubicBezTo>
                    <a:pt x="63" y="0"/>
                    <a:pt x="63" y="0"/>
                    <a:pt x="63" y="0"/>
                  </a:cubicBezTo>
                  <a:cubicBezTo>
                    <a:pt x="62" y="1"/>
                    <a:pt x="62" y="1"/>
                    <a:pt x="62" y="1"/>
                  </a:cubicBezTo>
                  <a:cubicBezTo>
                    <a:pt x="57" y="6"/>
                    <a:pt x="48" y="13"/>
                    <a:pt x="36" y="13"/>
                  </a:cubicBezTo>
                  <a:cubicBezTo>
                    <a:pt x="29"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3" name="Freeform 164">
              <a:extLst>
                <a:ext uri="{FF2B5EF4-FFF2-40B4-BE49-F238E27FC236}">
                  <a16:creationId xmlns:a16="http://schemas.microsoft.com/office/drawing/2014/main" id="{E430188D-32C0-4223-9D38-F245943C3023}"/>
                </a:ext>
              </a:extLst>
            </p:cNvPr>
            <p:cNvSpPr>
              <a:spLocks noEditPoints="1"/>
            </p:cNvSpPr>
            <p:nvPr/>
          </p:nvSpPr>
          <p:spPr bwMode="auto">
            <a:xfrm>
              <a:off x="11712585" y="1584328"/>
              <a:ext cx="493713" cy="463551"/>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4" name="Freeform 165">
              <a:extLst>
                <a:ext uri="{FF2B5EF4-FFF2-40B4-BE49-F238E27FC236}">
                  <a16:creationId xmlns:a16="http://schemas.microsoft.com/office/drawing/2014/main" id="{799CC1F9-A88E-411C-8429-EA50452C184E}"/>
                </a:ext>
              </a:extLst>
            </p:cNvPr>
            <p:cNvSpPr>
              <a:spLocks/>
            </p:cNvSpPr>
            <p:nvPr/>
          </p:nvSpPr>
          <p:spPr bwMode="auto">
            <a:xfrm>
              <a:off x="11760210" y="1595440"/>
              <a:ext cx="198438" cy="220663"/>
            </a:xfrm>
            <a:custGeom>
              <a:avLst/>
              <a:gdLst>
                <a:gd name="T0" fmla="*/ 5 w 58"/>
                <a:gd name="T1" fmla="*/ 65 h 65"/>
                <a:gd name="T2" fmla="*/ 7 w 58"/>
                <a:gd name="T3" fmla="*/ 6 h 65"/>
                <a:gd name="T4" fmla="*/ 58 w 58"/>
                <a:gd name="T5" fmla="*/ 0 h 65"/>
                <a:gd name="T6" fmla="*/ 58 w 58"/>
                <a:gd name="T7" fmla="*/ 65 h 65"/>
              </a:gdLst>
              <a:ahLst/>
              <a:cxnLst>
                <a:cxn ang="0">
                  <a:pos x="T0" y="T1"/>
                </a:cxn>
                <a:cxn ang="0">
                  <a:pos x="T2" y="T3"/>
                </a:cxn>
                <a:cxn ang="0">
                  <a:pos x="T4" y="T5"/>
                </a:cxn>
                <a:cxn ang="0">
                  <a:pos x="T6" y="T7"/>
                </a:cxn>
              </a:cxnLst>
              <a:rect l="0" t="0" r="r" b="b"/>
              <a:pathLst>
                <a:path w="58" h="65">
                  <a:moveTo>
                    <a:pt x="5" y="65"/>
                  </a:moveTo>
                  <a:cubicBezTo>
                    <a:pt x="0" y="46"/>
                    <a:pt x="0" y="26"/>
                    <a:pt x="7" y="6"/>
                  </a:cubicBezTo>
                  <a:cubicBezTo>
                    <a:pt x="36" y="24"/>
                    <a:pt x="51" y="6"/>
                    <a:pt x="58" y="0"/>
                  </a:cubicBezTo>
                  <a:cubicBezTo>
                    <a:pt x="58" y="65"/>
                    <a:pt x="58" y="65"/>
                    <a:pt x="58" y="6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5" name="Freeform 166">
              <a:extLst>
                <a:ext uri="{FF2B5EF4-FFF2-40B4-BE49-F238E27FC236}">
                  <a16:creationId xmlns:a16="http://schemas.microsoft.com/office/drawing/2014/main" id="{AFF29E29-816D-4D78-84D0-01A94085A467}"/>
                </a:ext>
              </a:extLst>
            </p:cNvPr>
            <p:cNvSpPr>
              <a:spLocks/>
            </p:cNvSpPr>
            <p:nvPr/>
          </p:nvSpPr>
          <p:spPr bwMode="auto">
            <a:xfrm>
              <a:off x="11958648" y="1816103"/>
              <a:ext cx="185738" cy="222250"/>
            </a:xfrm>
            <a:custGeom>
              <a:avLst/>
              <a:gdLst>
                <a:gd name="T0" fmla="*/ 0 w 54"/>
                <a:gd name="T1" fmla="*/ 0 h 65"/>
                <a:gd name="T2" fmla="*/ 0 w 54"/>
                <a:gd name="T3" fmla="*/ 65 h 65"/>
                <a:gd name="T4" fmla="*/ 54 w 54"/>
                <a:gd name="T5" fmla="*/ 0 h 65"/>
              </a:gdLst>
              <a:ahLst/>
              <a:cxnLst>
                <a:cxn ang="0">
                  <a:pos x="T0" y="T1"/>
                </a:cxn>
                <a:cxn ang="0">
                  <a:pos x="T2" y="T3"/>
                </a:cxn>
                <a:cxn ang="0">
                  <a:pos x="T4" y="T5"/>
                </a:cxn>
              </a:cxnLst>
              <a:rect l="0" t="0" r="r" b="b"/>
              <a:pathLst>
                <a:path w="54" h="65">
                  <a:moveTo>
                    <a:pt x="0" y="0"/>
                  </a:moveTo>
                  <a:cubicBezTo>
                    <a:pt x="0" y="65"/>
                    <a:pt x="0" y="65"/>
                    <a:pt x="0" y="65"/>
                  </a:cubicBezTo>
                  <a:cubicBezTo>
                    <a:pt x="27" y="52"/>
                    <a:pt x="46" y="27"/>
                    <a:pt x="54"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355" name="Group 354">
            <a:extLst>
              <a:ext uri="{FF2B5EF4-FFF2-40B4-BE49-F238E27FC236}">
                <a16:creationId xmlns:a16="http://schemas.microsoft.com/office/drawing/2014/main" id="{0D68FD5D-AB22-4B33-9502-475459D8518B}"/>
              </a:ext>
            </a:extLst>
          </p:cNvPr>
          <p:cNvGrpSpPr/>
          <p:nvPr/>
        </p:nvGrpSpPr>
        <p:grpSpPr>
          <a:xfrm>
            <a:off x="4014976" y="3515705"/>
            <a:ext cx="904697" cy="1134948"/>
            <a:chOff x="4968880" y="1376365"/>
            <a:chExt cx="704850" cy="884239"/>
          </a:xfrm>
        </p:grpSpPr>
        <p:sp>
          <p:nvSpPr>
            <p:cNvPr id="356" name="Freeform 11">
              <a:extLst>
                <a:ext uri="{FF2B5EF4-FFF2-40B4-BE49-F238E27FC236}">
                  <a16:creationId xmlns:a16="http://schemas.microsoft.com/office/drawing/2014/main" id="{1C5FDB8D-5F1E-46FB-91DB-867B4360E513}"/>
                </a:ext>
              </a:extLst>
            </p:cNvPr>
            <p:cNvSpPr>
              <a:spLocks noEditPoints="1"/>
            </p:cNvSpPr>
            <p:nvPr/>
          </p:nvSpPr>
          <p:spPr bwMode="auto">
            <a:xfrm>
              <a:off x="5362580" y="1544640"/>
              <a:ext cx="301625" cy="303213"/>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7" name="Freeform 12">
              <a:extLst>
                <a:ext uri="{FF2B5EF4-FFF2-40B4-BE49-F238E27FC236}">
                  <a16:creationId xmlns:a16="http://schemas.microsoft.com/office/drawing/2014/main" id="{AAE0537D-9645-49A6-B535-B1F32B5028BD}"/>
                </a:ext>
              </a:extLst>
            </p:cNvPr>
            <p:cNvSpPr>
              <a:spLocks noEditPoints="1"/>
            </p:cNvSpPr>
            <p:nvPr/>
          </p:nvSpPr>
          <p:spPr bwMode="auto">
            <a:xfrm>
              <a:off x="5372105" y="1957391"/>
              <a:ext cx="301625" cy="303213"/>
            </a:xfrm>
            <a:custGeom>
              <a:avLst/>
              <a:gdLst>
                <a:gd name="T0" fmla="*/ 78 w 88"/>
                <a:gd name="T1" fmla="*/ 43 h 89"/>
                <a:gd name="T2" fmla="*/ 79 w 88"/>
                <a:gd name="T3" fmla="*/ 33 h 89"/>
                <a:gd name="T4" fmla="*/ 74 w 88"/>
                <a:gd name="T5" fmla="*/ 22 h 89"/>
                <a:gd name="T6" fmla="*/ 65 w 88"/>
                <a:gd name="T7" fmla="*/ 17 h 89"/>
                <a:gd name="T8" fmla="*/ 64 w 88"/>
                <a:gd name="T9" fmla="*/ 5 h 89"/>
                <a:gd name="T10" fmla="*/ 54 w 88"/>
                <a:gd name="T11" fmla="*/ 11 h 89"/>
                <a:gd name="T12" fmla="*/ 44 w 88"/>
                <a:gd name="T13" fmla="*/ 7 h 89"/>
                <a:gd name="T14" fmla="*/ 32 w 88"/>
                <a:gd name="T15" fmla="*/ 9 h 89"/>
                <a:gd name="T16" fmla="*/ 25 w 88"/>
                <a:gd name="T17" fmla="*/ 16 h 89"/>
                <a:gd name="T18" fmla="*/ 12 w 88"/>
                <a:gd name="T19" fmla="*/ 13 h 89"/>
                <a:gd name="T20" fmla="*/ 16 w 88"/>
                <a:gd name="T21" fmla="*/ 25 h 89"/>
                <a:gd name="T22" fmla="*/ 9 w 88"/>
                <a:gd name="T23" fmla="*/ 32 h 89"/>
                <a:gd name="T24" fmla="*/ 7 w 88"/>
                <a:gd name="T25" fmla="*/ 44 h 89"/>
                <a:gd name="T26" fmla="*/ 11 w 88"/>
                <a:gd name="T27" fmla="*/ 54 h 89"/>
                <a:gd name="T28" fmla="*/ 5 w 88"/>
                <a:gd name="T29" fmla="*/ 64 h 89"/>
                <a:gd name="T30" fmla="*/ 17 w 88"/>
                <a:gd name="T31" fmla="*/ 65 h 89"/>
                <a:gd name="T32" fmla="*/ 22 w 88"/>
                <a:gd name="T33" fmla="*/ 74 h 89"/>
                <a:gd name="T34" fmla="*/ 33 w 88"/>
                <a:gd name="T35" fmla="*/ 79 h 89"/>
                <a:gd name="T36" fmla="*/ 43 w 88"/>
                <a:gd name="T37" fmla="*/ 78 h 89"/>
                <a:gd name="T38" fmla="*/ 51 w 88"/>
                <a:gd name="T39" fmla="*/ 88 h 89"/>
                <a:gd name="T40" fmla="*/ 55 w 88"/>
                <a:gd name="T41" fmla="*/ 76 h 89"/>
                <a:gd name="T42" fmla="*/ 65 w 88"/>
                <a:gd name="T43" fmla="*/ 74 h 89"/>
                <a:gd name="T44" fmla="*/ 74 w 88"/>
                <a:gd name="T45" fmla="*/ 65 h 89"/>
                <a:gd name="T46" fmla="*/ 76 w 88"/>
                <a:gd name="T47" fmla="*/ 55 h 89"/>
                <a:gd name="T48" fmla="*/ 88 w 88"/>
                <a:gd name="T49" fmla="*/ 51 h 89"/>
                <a:gd name="T50" fmla="*/ 60 w 88"/>
                <a:gd name="T51" fmla="*/ 60 h 89"/>
                <a:gd name="T52" fmla="*/ 41 w 88"/>
                <a:gd name="T53" fmla="*/ 66 h 89"/>
                <a:gd name="T54" fmla="*/ 28 w 88"/>
                <a:gd name="T55" fmla="*/ 59 h 89"/>
                <a:gd name="T56" fmla="*/ 22 w 88"/>
                <a:gd name="T57" fmla="*/ 47 h 89"/>
                <a:gd name="T58" fmla="*/ 33 w 88"/>
                <a:gd name="T59" fmla="*/ 24 h 89"/>
                <a:gd name="T60" fmla="*/ 59 w 88"/>
                <a:gd name="T61" fmla="*/ 28 h 89"/>
                <a:gd name="T62" fmla="*/ 64 w 88"/>
                <a:gd name="T63" fmla="*/ 54 h 89"/>
                <a:gd name="T64" fmla="*/ 60 w 88"/>
                <a:gd name="T65" fmla="*/ 6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4"/>
                  </a:moveTo>
                  <a:cubicBezTo>
                    <a:pt x="78" y="43"/>
                    <a:pt x="78" y="43"/>
                    <a:pt x="78" y="43"/>
                  </a:cubicBezTo>
                  <a:cubicBezTo>
                    <a:pt x="78" y="40"/>
                    <a:pt x="78" y="37"/>
                    <a:pt x="77" y="34"/>
                  </a:cubicBezTo>
                  <a:cubicBezTo>
                    <a:pt x="79" y="33"/>
                    <a:pt x="79" y="33"/>
                    <a:pt x="79" y="33"/>
                  </a:cubicBezTo>
                  <a:cubicBezTo>
                    <a:pt x="83" y="31"/>
                    <a:pt x="86" y="28"/>
                    <a:pt x="83" y="24"/>
                  </a:cubicBezTo>
                  <a:cubicBezTo>
                    <a:pt x="81" y="20"/>
                    <a:pt x="77" y="20"/>
                    <a:pt x="74" y="22"/>
                  </a:cubicBezTo>
                  <a:cubicBezTo>
                    <a:pt x="71" y="23"/>
                    <a:pt x="71" y="23"/>
                    <a:pt x="71" y="23"/>
                  </a:cubicBezTo>
                  <a:cubicBezTo>
                    <a:pt x="70" y="21"/>
                    <a:pt x="67" y="19"/>
                    <a:pt x="65" y="17"/>
                  </a:cubicBezTo>
                  <a:cubicBezTo>
                    <a:pt x="66" y="15"/>
                    <a:pt x="66" y="15"/>
                    <a:pt x="66" y="15"/>
                  </a:cubicBezTo>
                  <a:cubicBezTo>
                    <a:pt x="68" y="11"/>
                    <a:pt x="68" y="6"/>
                    <a:pt x="64" y="5"/>
                  </a:cubicBezTo>
                  <a:cubicBezTo>
                    <a:pt x="60" y="3"/>
                    <a:pt x="57" y="6"/>
                    <a:pt x="55" y="9"/>
                  </a:cubicBezTo>
                  <a:cubicBezTo>
                    <a:pt x="54" y="11"/>
                    <a:pt x="54" y="11"/>
                    <a:pt x="54" y="11"/>
                  </a:cubicBezTo>
                  <a:cubicBezTo>
                    <a:pt x="51" y="10"/>
                    <a:pt x="48" y="10"/>
                    <a:pt x="45" y="10"/>
                  </a:cubicBezTo>
                  <a:cubicBezTo>
                    <a:pt x="44" y="7"/>
                    <a:pt x="44" y="7"/>
                    <a:pt x="44" y="7"/>
                  </a:cubicBezTo>
                  <a:cubicBezTo>
                    <a:pt x="44" y="3"/>
                    <a:pt x="41" y="0"/>
                    <a:pt x="37" y="1"/>
                  </a:cubicBezTo>
                  <a:cubicBezTo>
                    <a:pt x="33" y="1"/>
                    <a:pt x="32" y="6"/>
                    <a:pt x="32" y="9"/>
                  </a:cubicBezTo>
                  <a:cubicBezTo>
                    <a:pt x="33" y="12"/>
                    <a:pt x="33" y="12"/>
                    <a:pt x="33" y="12"/>
                  </a:cubicBezTo>
                  <a:cubicBezTo>
                    <a:pt x="30" y="13"/>
                    <a:pt x="27" y="14"/>
                    <a:pt x="25" y="16"/>
                  </a:cubicBezTo>
                  <a:cubicBezTo>
                    <a:pt x="23" y="14"/>
                    <a:pt x="23" y="14"/>
                    <a:pt x="23" y="14"/>
                  </a:cubicBezTo>
                  <a:cubicBezTo>
                    <a:pt x="20" y="11"/>
                    <a:pt x="15" y="10"/>
                    <a:pt x="12" y="13"/>
                  </a:cubicBezTo>
                  <a:cubicBezTo>
                    <a:pt x="10" y="16"/>
                    <a:pt x="12" y="20"/>
                    <a:pt x="14" y="23"/>
                  </a:cubicBezTo>
                  <a:cubicBezTo>
                    <a:pt x="16" y="25"/>
                    <a:pt x="16" y="25"/>
                    <a:pt x="16" y="25"/>
                  </a:cubicBezTo>
                  <a:cubicBezTo>
                    <a:pt x="14" y="27"/>
                    <a:pt x="13" y="30"/>
                    <a:pt x="12" y="33"/>
                  </a:cubicBezTo>
                  <a:cubicBezTo>
                    <a:pt x="9" y="32"/>
                    <a:pt x="9" y="32"/>
                    <a:pt x="9" y="32"/>
                  </a:cubicBezTo>
                  <a:cubicBezTo>
                    <a:pt x="5" y="32"/>
                    <a:pt x="1" y="33"/>
                    <a:pt x="0" y="37"/>
                  </a:cubicBezTo>
                  <a:cubicBezTo>
                    <a:pt x="0" y="42"/>
                    <a:pt x="4" y="44"/>
                    <a:pt x="7" y="44"/>
                  </a:cubicBezTo>
                  <a:cubicBezTo>
                    <a:pt x="10" y="45"/>
                    <a:pt x="10" y="45"/>
                    <a:pt x="10" y="45"/>
                  </a:cubicBezTo>
                  <a:cubicBezTo>
                    <a:pt x="10" y="48"/>
                    <a:pt x="10" y="51"/>
                    <a:pt x="11" y="54"/>
                  </a:cubicBezTo>
                  <a:cubicBezTo>
                    <a:pt x="9" y="55"/>
                    <a:pt x="9" y="55"/>
                    <a:pt x="9" y="55"/>
                  </a:cubicBezTo>
                  <a:cubicBezTo>
                    <a:pt x="6" y="57"/>
                    <a:pt x="3" y="60"/>
                    <a:pt x="5" y="64"/>
                  </a:cubicBezTo>
                  <a:cubicBezTo>
                    <a:pt x="7" y="68"/>
                    <a:pt x="11" y="68"/>
                    <a:pt x="14" y="66"/>
                  </a:cubicBezTo>
                  <a:cubicBezTo>
                    <a:pt x="17" y="65"/>
                    <a:pt x="17" y="65"/>
                    <a:pt x="17" y="65"/>
                  </a:cubicBezTo>
                  <a:cubicBezTo>
                    <a:pt x="19" y="67"/>
                    <a:pt x="21" y="69"/>
                    <a:pt x="23" y="71"/>
                  </a:cubicBezTo>
                  <a:cubicBezTo>
                    <a:pt x="22" y="74"/>
                    <a:pt x="22" y="74"/>
                    <a:pt x="22" y="74"/>
                  </a:cubicBezTo>
                  <a:cubicBezTo>
                    <a:pt x="20" y="77"/>
                    <a:pt x="20" y="82"/>
                    <a:pt x="24" y="84"/>
                  </a:cubicBezTo>
                  <a:cubicBezTo>
                    <a:pt x="28" y="85"/>
                    <a:pt x="31" y="82"/>
                    <a:pt x="33" y="79"/>
                  </a:cubicBezTo>
                  <a:cubicBezTo>
                    <a:pt x="34" y="77"/>
                    <a:pt x="34" y="77"/>
                    <a:pt x="34" y="77"/>
                  </a:cubicBezTo>
                  <a:cubicBezTo>
                    <a:pt x="37" y="78"/>
                    <a:pt x="40" y="78"/>
                    <a:pt x="43" y="78"/>
                  </a:cubicBezTo>
                  <a:cubicBezTo>
                    <a:pt x="44" y="81"/>
                    <a:pt x="44" y="81"/>
                    <a:pt x="44" y="81"/>
                  </a:cubicBezTo>
                  <a:cubicBezTo>
                    <a:pt x="44" y="85"/>
                    <a:pt x="47" y="89"/>
                    <a:pt x="51" y="88"/>
                  </a:cubicBezTo>
                  <a:cubicBezTo>
                    <a:pt x="55" y="87"/>
                    <a:pt x="56" y="83"/>
                    <a:pt x="56" y="79"/>
                  </a:cubicBezTo>
                  <a:cubicBezTo>
                    <a:pt x="55" y="76"/>
                    <a:pt x="55" y="76"/>
                    <a:pt x="55" y="76"/>
                  </a:cubicBezTo>
                  <a:cubicBezTo>
                    <a:pt x="58" y="75"/>
                    <a:pt x="61" y="74"/>
                    <a:pt x="64" y="72"/>
                  </a:cubicBezTo>
                  <a:cubicBezTo>
                    <a:pt x="65" y="74"/>
                    <a:pt x="65" y="74"/>
                    <a:pt x="65" y="74"/>
                  </a:cubicBezTo>
                  <a:cubicBezTo>
                    <a:pt x="68" y="77"/>
                    <a:pt x="73" y="78"/>
                    <a:pt x="76" y="75"/>
                  </a:cubicBezTo>
                  <a:cubicBezTo>
                    <a:pt x="78" y="72"/>
                    <a:pt x="77" y="68"/>
                    <a:pt x="74" y="65"/>
                  </a:cubicBezTo>
                  <a:cubicBezTo>
                    <a:pt x="72" y="64"/>
                    <a:pt x="72" y="64"/>
                    <a:pt x="72" y="64"/>
                  </a:cubicBezTo>
                  <a:cubicBezTo>
                    <a:pt x="74" y="61"/>
                    <a:pt x="75" y="58"/>
                    <a:pt x="76" y="55"/>
                  </a:cubicBezTo>
                  <a:cubicBezTo>
                    <a:pt x="79" y="56"/>
                    <a:pt x="79" y="56"/>
                    <a:pt x="79" y="56"/>
                  </a:cubicBezTo>
                  <a:cubicBezTo>
                    <a:pt x="83" y="56"/>
                    <a:pt x="87" y="55"/>
                    <a:pt x="88" y="51"/>
                  </a:cubicBezTo>
                  <a:cubicBezTo>
                    <a:pt x="88" y="47"/>
                    <a:pt x="85" y="44"/>
                    <a:pt x="81" y="44"/>
                  </a:cubicBezTo>
                  <a:close/>
                  <a:moveTo>
                    <a:pt x="60" y="60"/>
                  </a:moveTo>
                  <a:cubicBezTo>
                    <a:pt x="58" y="61"/>
                    <a:pt x="57" y="63"/>
                    <a:pt x="55" y="64"/>
                  </a:cubicBezTo>
                  <a:cubicBezTo>
                    <a:pt x="51" y="66"/>
                    <a:pt x="46" y="67"/>
                    <a:pt x="41" y="66"/>
                  </a:cubicBezTo>
                  <a:cubicBezTo>
                    <a:pt x="37" y="66"/>
                    <a:pt x="32" y="64"/>
                    <a:pt x="29" y="60"/>
                  </a:cubicBezTo>
                  <a:cubicBezTo>
                    <a:pt x="28" y="60"/>
                    <a:pt x="28" y="60"/>
                    <a:pt x="28" y="59"/>
                  </a:cubicBezTo>
                  <a:cubicBezTo>
                    <a:pt x="25" y="56"/>
                    <a:pt x="23" y="52"/>
                    <a:pt x="22" y="48"/>
                  </a:cubicBezTo>
                  <a:cubicBezTo>
                    <a:pt x="22" y="48"/>
                    <a:pt x="22" y="47"/>
                    <a:pt x="22" y="47"/>
                  </a:cubicBezTo>
                  <a:cubicBezTo>
                    <a:pt x="21" y="42"/>
                    <a:pt x="22" y="37"/>
                    <a:pt x="24" y="33"/>
                  </a:cubicBezTo>
                  <a:cubicBezTo>
                    <a:pt x="26" y="30"/>
                    <a:pt x="29" y="26"/>
                    <a:pt x="33" y="24"/>
                  </a:cubicBezTo>
                  <a:cubicBezTo>
                    <a:pt x="34" y="24"/>
                    <a:pt x="34" y="24"/>
                    <a:pt x="35" y="24"/>
                  </a:cubicBezTo>
                  <a:cubicBezTo>
                    <a:pt x="43" y="20"/>
                    <a:pt x="53" y="21"/>
                    <a:pt x="59" y="28"/>
                  </a:cubicBezTo>
                  <a:cubicBezTo>
                    <a:pt x="60" y="28"/>
                    <a:pt x="60" y="28"/>
                    <a:pt x="61" y="29"/>
                  </a:cubicBezTo>
                  <a:cubicBezTo>
                    <a:pt x="67" y="35"/>
                    <a:pt x="68" y="45"/>
                    <a:pt x="64" y="54"/>
                  </a:cubicBezTo>
                  <a:cubicBezTo>
                    <a:pt x="64" y="56"/>
                    <a:pt x="62" y="58"/>
                    <a:pt x="60" y="60"/>
                  </a:cubicBezTo>
                  <a:cubicBezTo>
                    <a:pt x="58" y="61"/>
                    <a:pt x="62" y="58"/>
                    <a:pt x="60" y="60"/>
                  </a:cubicBez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8" name="Freeform 13">
              <a:extLst>
                <a:ext uri="{FF2B5EF4-FFF2-40B4-BE49-F238E27FC236}">
                  <a16:creationId xmlns:a16="http://schemas.microsoft.com/office/drawing/2014/main" id="{197009F1-3BF1-430F-95E6-A1CAEA23B361}"/>
                </a:ext>
              </a:extLst>
            </p:cNvPr>
            <p:cNvSpPr>
              <a:spLocks/>
            </p:cNvSpPr>
            <p:nvPr/>
          </p:nvSpPr>
          <p:spPr bwMode="auto">
            <a:xfrm>
              <a:off x="4968880" y="1724028"/>
              <a:ext cx="452438" cy="450851"/>
            </a:xfrm>
            <a:custGeom>
              <a:avLst/>
              <a:gdLst>
                <a:gd name="T0" fmla="*/ 124 w 132"/>
                <a:gd name="T1" fmla="*/ 65 h 132"/>
                <a:gd name="T2" fmla="*/ 125 w 132"/>
                <a:gd name="T3" fmla="*/ 57 h 132"/>
                <a:gd name="T4" fmla="*/ 122 w 132"/>
                <a:gd name="T5" fmla="*/ 45 h 132"/>
                <a:gd name="T6" fmla="*/ 117 w 132"/>
                <a:gd name="T7" fmla="*/ 38 h 132"/>
                <a:gd name="T8" fmla="*/ 120 w 132"/>
                <a:gd name="T9" fmla="*/ 28 h 132"/>
                <a:gd name="T10" fmla="*/ 110 w 132"/>
                <a:gd name="T11" fmla="*/ 28 h 132"/>
                <a:gd name="T12" fmla="*/ 104 w 132"/>
                <a:gd name="T13" fmla="*/ 23 h 132"/>
                <a:gd name="T14" fmla="*/ 104 w 132"/>
                <a:gd name="T15" fmla="*/ 12 h 132"/>
                <a:gd name="T16" fmla="*/ 94 w 132"/>
                <a:gd name="T17" fmla="*/ 15 h 132"/>
                <a:gd name="T18" fmla="*/ 88 w 132"/>
                <a:gd name="T19" fmla="*/ 10 h 132"/>
                <a:gd name="T20" fmla="*/ 75 w 132"/>
                <a:gd name="T21" fmla="*/ 7 h 132"/>
                <a:gd name="T22" fmla="*/ 67 w 132"/>
                <a:gd name="T23" fmla="*/ 8 h 132"/>
                <a:gd name="T24" fmla="*/ 60 w 132"/>
                <a:gd name="T25" fmla="*/ 0 h 132"/>
                <a:gd name="T26" fmla="*/ 55 w 132"/>
                <a:gd name="T27" fmla="*/ 9 h 132"/>
                <a:gd name="T28" fmla="*/ 47 w 132"/>
                <a:gd name="T29" fmla="*/ 9 h 132"/>
                <a:gd name="T30" fmla="*/ 35 w 132"/>
                <a:gd name="T31" fmla="*/ 15 h 132"/>
                <a:gd name="T32" fmla="*/ 30 w 132"/>
                <a:gd name="T33" fmla="*/ 21 h 132"/>
                <a:gd name="T34" fmla="*/ 19 w 132"/>
                <a:gd name="T35" fmla="*/ 20 h 132"/>
                <a:gd name="T36" fmla="*/ 21 w 132"/>
                <a:gd name="T37" fmla="*/ 30 h 132"/>
                <a:gd name="T38" fmla="*/ 15 w 132"/>
                <a:gd name="T39" fmla="*/ 35 h 132"/>
                <a:gd name="T40" fmla="*/ 9 w 132"/>
                <a:gd name="T41" fmla="*/ 47 h 132"/>
                <a:gd name="T42" fmla="*/ 9 w 132"/>
                <a:gd name="T43" fmla="*/ 55 h 132"/>
                <a:gd name="T44" fmla="*/ 0 w 132"/>
                <a:gd name="T45" fmla="*/ 60 h 132"/>
                <a:gd name="T46" fmla="*/ 8 w 132"/>
                <a:gd name="T47" fmla="*/ 68 h 132"/>
                <a:gd name="T48" fmla="*/ 7 w 132"/>
                <a:gd name="T49" fmla="*/ 76 h 132"/>
                <a:gd name="T50" fmla="*/ 10 w 132"/>
                <a:gd name="T51" fmla="*/ 88 h 132"/>
                <a:gd name="T52" fmla="*/ 15 w 132"/>
                <a:gd name="T53" fmla="*/ 94 h 132"/>
                <a:gd name="T54" fmla="*/ 12 w 132"/>
                <a:gd name="T55" fmla="*/ 104 h 132"/>
                <a:gd name="T56" fmla="*/ 23 w 132"/>
                <a:gd name="T57" fmla="*/ 104 h 132"/>
                <a:gd name="T58" fmla="*/ 28 w 132"/>
                <a:gd name="T59" fmla="*/ 110 h 132"/>
                <a:gd name="T60" fmla="*/ 28 w 132"/>
                <a:gd name="T61" fmla="*/ 120 h 132"/>
                <a:gd name="T62" fmla="*/ 38 w 132"/>
                <a:gd name="T63" fmla="*/ 117 h 132"/>
                <a:gd name="T64" fmla="*/ 44 w 132"/>
                <a:gd name="T65" fmla="*/ 122 h 132"/>
                <a:gd name="T66" fmla="*/ 57 w 132"/>
                <a:gd name="T67" fmla="*/ 125 h 132"/>
                <a:gd name="T68" fmla="*/ 65 w 132"/>
                <a:gd name="T69" fmla="*/ 124 h 132"/>
                <a:gd name="T70" fmla="*/ 72 w 132"/>
                <a:gd name="T71" fmla="*/ 132 h 132"/>
                <a:gd name="T72" fmla="*/ 77 w 132"/>
                <a:gd name="T73" fmla="*/ 123 h 132"/>
                <a:gd name="T74" fmla="*/ 85 w 132"/>
                <a:gd name="T75" fmla="*/ 123 h 132"/>
                <a:gd name="T76" fmla="*/ 97 w 132"/>
                <a:gd name="T77" fmla="*/ 118 h 132"/>
                <a:gd name="T78" fmla="*/ 102 w 132"/>
                <a:gd name="T79" fmla="*/ 111 h 132"/>
                <a:gd name="T80" fmla="*/ 113 w 132"/>
                <a:gd name="T81" fmla="*/ 113 h 132"/>
                <a:gd name="T82" fmla="*/ 111 w 132"/>
                <a:gd name="T83" fmla="*/ 102 h 132"/>
                <a:gd name="T84" fmla="*/ 117 w 132"/>
                <a:gd name="T85" fmla="*/ 97 h 132"/>
                <a:gd name="T86" fmla="*/ 123 w 132"/>
                <a:gd name="T87" fmla="*/ 86 h 132"/>
                <a:gd name="T88" fmla="*/ 123 w 132"/>
                <a:gd name="T89" fmla="*/ 78 h 132"/>
                <a:gd name="T90" fmla="*/ 132 w 132"/>
                <a:gd name="T91"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32">
                  <a:moveTo>
                    <a:pt x="126" y="65"/>
                  </a:moveTo>
                  <a:cubicBezTo>
                    <a:pt x="124" y="65"/>
                    <a:pt x="124" y="65"/>
                    <a:pt x="124" y="65"/>
                  </a:cubicBezTo>
                  <a:cubicBezTo>
                    <a:pt x="124" y="62"/>
                    <a:pt x="124" y="60"/>
                    <a:pt x="123" y="57"/>
                  </a:cubicBezTo>
                  <a:cubicBezTo>
                    <a:pt x="125" y="57"/>
                    <a:pt x="125" y="57"/>
                    <a:pt x="125" y="57"/>
                  </a:cubicBezTo>
                  <a:cubicBezTo>
                    <a:pt x="130" y="56"/>
                    <a:pt x="131" y="53"/>
                    <a:pt x="130" y="49"/>
                  </a:cubicBezTo>
                  <a:cubicBezTo>
                    <a:pt x="129" y="46"/>
                    <a:pt x="127" y="43"/>
                    <a:pt x="122" y="45"/>
                  </a:cubicBezTo>
                  <a:cubicBezTo>
                    <a:pt x="120" y="45"/>
                    <a:pt x="120" y="45"/>
                    <a:pt x="120" y="45"/>
                  </a:cubicBezTo>
                  <a:cubicBezTo>
                    <a:pt x="119" y="43"/>
                    <a:pt x="118" y="41"/>
                    <a:pt x="117" y="38"/>
                  </a:cubicBezTo>
                  <a:cubicBezTo>
                    <a:pt x="119" y="37"/>
                    <a:pt x="119" y="37"/>
                    <a:pt x="119" y="37"/>
                  </a:cubicBezTo>
                  <a:cubicBezTo>
                    <a:pt x="123" y="34"/>
                    <a:pt x="122" y="31"/>
                    <a:pt x="120" y="28"/>
                  </a:cubicBezTo>
                  <a:cubicBezTo>
                    <a:pt x="118" y="25"/>
                    <a:pt x="115" y="24"/>
                    <a:pt x="111" y="27"/>
                  </a:cubicBezTo>
                  <a:cubicBezTo>
                    <a:pt x="110" y="28"/>
                    <a:pt x="110" y="28"/>
                    <a:pt x="110" y="28"/>
                  </a:cubicBezTo>
                  <a:cubicBezTo>
                    <a:pt x="109" y="27"/>
                    <a:pt x="108" y="26"/>
                    <a:pt x="107" y="25"/>
                  </a:cubicBezTo>
                  <a:cubicBezTo>
                    <a:pt x="106" y="24"/>
                    <a:pt x="105" y="24"/>
                    <a:pt x="104" y="23"/>
                  </a:cubicBezTo>
                  <a:cubicBezTo>
                    <a:pt x="105" y="21"/>
                    <a:pt x="105" y="21"/>
                    <a:pt x="105" y="21"/>
                  </a:cubicBezTo>
                  <a:cubicBezTo>
                    <a:pt x="108" y="17"/>
                    <a:pt x="107" y="14"/>
                    <a:pt x="104" y="12"/>
                  </a:cubicBezTo>
                  <a:cubicBezTo>
                    <a:pt x="101" y="10"/>
                    <a:pt x="98" y="10"/>
                    <a:pt x="95" y="14"/>
                  </a:cubicBezTo>
                  <a:cubicBezTo>
                    <a:pt x="94" y="15"/>
                    <a:pt x="94" y="15"/>
                    <a:pt x="94" y="15"/>
                  </a:cubicBezTo>
                  <a:cubicBezTo>
                    <a:pt x="92" y="14"/>
                    <a:pt x="89" y="13"/>
                    <a:pt x="87" y="12"/>
                  </a:cubicBezTo>
                  <a:cubicBezTo>
                    <a:pt x="88" y="10"/>
                    <a:pt x="88" y="10"/>
                    <a:pt x="88" y="10"/>
                  </a:cubicBezTo>
                  <a:cubicBezTo>
                    <a:pt x="89" y="6"/>
                    <a:pt x="87" y="3"/>
                    <a:pt x="83" y="2"/>
                  </a:cubicBezTo>
                  <a:cubicBezTo>
                    <a:pt x="80" y="2"/>
                    <a:pt x="77" y="2"/>
                    <a:pt x="75" y="7"/>
                  </a:cubicBezTo>
                  <a:cubicBezTo>
                    <a:pt x="75" y="9"/>
                    <a:pt x="75" y="9"/>
                    <a:pt x="75" y="9"/>
                  </a:cubicBezTo>
                  <a:cubicBezTo>
                    <a:pt x="72" y="9"/>
                    <a:pt x="70" y="8"/>
                    <a:pt x="67" y="8"/>
                  </a:cubicBezTo>
                  <a:cubicBezTo>
                    <a:pt x="67" y="6"/>
                    <a:pt x="67" y="6"/>
                    <a:pt x="67" y="6"/>
                  </a:cubicBezTo>
                  <a:cubicBezTo>
                    <a:pt x="67" y="1"/>
                    <a:pt x="64" y="0"/>
                    <a:pt x="60" y="0"/>
                  </a:cubicBezTo>
                  <a:cubicBezTo>
                    <a:pt x="57" y="1"/>
                    <a:pt x="54" y="2"/>
                    <a:pt x="55" y="7"/>
                  </a:cubicBezTo>
                  <a:cubicBezTo>
                    <a:pt x="55" y="9"/>
                    <a:pt x="55" y="9"/>
                    <a:pt x="55" y="9"/>
                  </a:cubicBezTo>
                  <a:cubicBezTo>
                    <a:pt x="52" y="10"/>
                    <a:pt x="50" y="11"/>
                    <a:pt x="47" y="11"/>
                  </a:cubicBezTo>
                  <a:cubicBezTo>
                    <a:pt x="47" y="9"/>
                    <a:pt x="47" y="9"/>
                    <a:pt x="47" y="9"/>
                  </a:cubicBezTo>
                  <a:cubicBezTo>
                    <a:pt x="45" y="5"/>
                    <a:pt x="41" y="5"/>
                    <a:pt x="38" y="6"/>
                  </a:cubicBezTo>
                  <a:cubicBezTo>
                    <a:pt x="35" y="8"/>
                    <a:pt x="33" y="10"/>
                    <a:pt x="35" y="15"/>
                  </a:cubicBezTo>
                  <a:cubicBezTo>
                    <a:pt x="36" y="17"/>
                    <a:pt x="36" y="17"/>
                    <a:pt x="36" y="17"/>
                  </a:cubicBezTo>
                  <a:cubicBezTo>
                    <a:pt x="34" y="18"/>
                    <a:pt x="32" y="19"/>
                    <a:pt x="30" y="21"/>
                  </a:cubicBezTo>
                  <a:cubicBezTo>
                    <a:pt x="28" y="20"/>
                    <a:pt x="28" y="20"/>
                    <a:pt x="28" y="20"/>
                  </a:cubicBezTo>
                  <a:cubicBezTo>
                    <a:pt x="25" y="16"/>
                    <a:pt x="22" y="17"/>
                    <a:pt x="19" y="20"/>
                  </a:cubicBezTo>
                  <a:cubicBezTo>
                    <a:pt x="17" y="22"/>
                    <a:pt x="16" y="25"/>
                    <a:pt x="19" y="29"/>
                  </a:cubicBezTo>
                  <a:cubicBezTo>
                    <a:pt x="21" y="30"/>
                    <a:pt x="21" y="30"/>
                    <a:pt x="21" y="30"/>
                  </a:cubicBezTo>
                  <a:cubicBezTo>
                    <a:pt x="19" y="32"/>
                    <a:pt x="18" y="34"/>
                    <a:pt x="17" y="36"/>
                  </a:cubicBezTo>
                  <a:cubicBezTo>
                    <a:pt x="15" y="35"/>
                    <a:pt x="15" y="35"/>
                    <a:pt x="15" y="35"/>
                  </a:cubicBezTo>
                  <a:cubicBezTo>
                    <a:pt x="10" y="33"/>
                    <a:pt x="8" y="35"/>
                    <a:pt x="6" y="38"/>
                  </a:cubicBezTo>
                  <a:cubicBezTo>
                    <a:pt x="5" y="41"/>
                    <a:pt x="5" y="45"/>
                    <a:pt x="9" y="47"/>
                  </a:cubicBezTo>
                  <a:cubicBezTo>
                    <a:pt x="11" y="48"/>
                    <a:pt x="11" y="48"/>
                    <a:pt x="11" y="48"/>
                  </a:cubicBezTo>
                  <a:cubicBezTo>
                    <a:pt x="10" y="50"/>
                    <a:pt x="10" y="52"/>
                    <a:pt x="9" y="55"/>
                  </a:cubicBezTo>
                  <a:cubicBezTo>
                    <a:pt x="7" y="55"/>
                    <a:pt x="7" y="55"/>
                    <a:pt x="7" y="55"/>
                  </a:cubicBezTo>
                  <a:cubicBezTo>
                    <a:pt x="2" y="54"/>
                    <a:pt x="1" y="57"/>
                    <a:pt x="0" y="60"/>
                  </a:cubicBezTo>
                  <a:cubicBezTo>
                    <a:pt x="0" y="64"/>
                    <a:pt x="1" y="67"/>
                    <a:pt x="6" y="67"/>
                  </a:cubicBezTo>
                  <a:cubicBezTo>
                    <a:pt x="8" y="68"/>
                    <a:pt x="8" y="68"/>
                    <a:pt x="8" y="68"/>
                  </a:cubicBezTo>
                  <a:cubicBezTo>
                    <a:pt x="8" y="70"/>
                    <a:pt x="8" y="73"/>
                    <a:pt x="9" y="75"/>
                  </a:cubicBezTo>
                  <a:cubicBezTo>
                    <a:pt x="7" y="76"/>
                    <a:pt x="7" y="76"/>
                    <a:pt x="7" y="76"/>
                  </a:cubicBezTo>
                  <a:cubicBezTo>
                    <a:pt x="2" y="77"/>
                    <a:pt x="1" y="80"/>
                    <a:pt x="2" y="83"/>
                  </a:cubicBezTo>
                  <a:cubicBezTo>
                    <a:pt x="3" y="87"/>
                    <a:pt x="5" y="89"/>
                    <a:pt x="10" y="88"/>
                  </a:cubicBezTo>
                  <a:cubicBezTo>
                    <a:pt x="12" y="87"/>
                    <a:pt x="12" y="87"/>
                    <a:pt x="12" y="87"/>
                  </a:cubicBezTo>
                  <a:cubicBezTo>
                    <a:pt x="13" y="90"/>
                    <a:pt x="14" y="92"/>
                    <a:pt x="15" y="94"/>
                  </a:cubicBezTo>
                  <a:cubicBezTo>
                    <a:pt x="14" y="95"/>
                    <a:pt x="14" y="95"/>
                    <a:pt x="14" y="95"/>
                  </a:cubicBezTo>
                  <a:cubicBezTo>
                    <a:pt x="10" y="98"/>
                    <a:pt x="10" y="101"/>
                    <a:pt x="12" y="104"/>
                  </a:cubicBezTo>
                  <a:cubicBezTo>
                    <a:pt x="14" y="107"/>
                    <a:pt x="17" y="108"/>
                    <a:pt x="21" y="106"/>
                  </a:cubicBezTo>
                  <a:cubicBezTo>
                    <a:pt x="23" y="104"/>
                    <a:pt x="23" y="104"/>
                    <a:pt x="23" y="104"/>
                  </a:cubicBezTo>
                  <a:cubicBezTo>
                    <a:pt x="23" y="105"/>
                    <a:pt x="24" y="106"/>
                    <a:pt x="25" y="107"/>
                  </a:cubicBezTo>
                  <a:cubicBezTo>
                    <a:pt x="26" y="108"/>
                    <a:pt x="27" y="109"/>
                    <a:pt x="28" y="110"/>
                  </a:cubicBezTo>
                  <a:cubicBezTo>
                    <a:pt x="27" y="111"/>
                    <a:pt x="27" y="111"/>
                    <a:pt x="27" y="111"/>
                  </a:cubicBezTo>
                  <a:cubicBezTo>
                    <a:pt x="24" y="115"/>
                    <a:pt x="25" y="118"/>
                    <a:pt x="28" y="120"/>
                  </a:cubicBezTo>
                  <a:cubicBezTo>
                    <a:pt x="31" y="122"/>
                    <a:pt x="34" y="123"/>
                    <a:pt x="37" y="119"/>
                  </a:cubicBezTo>
                  <a:cubicBezTo>
                    <a:pt x="38" y="117"/>
                    <a:pt x="38" y="117"/>
                    <a:pt x="38" y="117"/>
                  </a:cubicBezTo>
                  <a:cubicBezTo>
                    <a:pt x="40" y="118"/>
                    <a:pt x="43" y="119"/>
                    <a:pt x="45" y="120"/>
                  </a:cubicBezTo>
                  <a:cubicBezTo>
                    <a:pt x="44" y="122"/>
                    <a:pt x="44" y="122"/>
                    <a:pt x="44" y="122"/>
                  </a:cubicBezTo>
                  <a:cubicBezTo>
                    <a:pt x="43" y="127"/>
                    <a:pt x="46" y="129"/>
                    <a:pt x="49" y="130"/>
                  </a:cubicBezTo>
                  <a:cubicBezTo>
                    <a:pt x="52" y="131"/>
                    <a:pt x="55" y="130"/>
                    <a:pt x="57" y="125"/>
                  </a:cubicBezTo>
                  <a:cubicBezTo>
                    <a:pt x="57" y="123"/>
                    <a:pt x="57" y="123"/>
                    <a:pt x="57" y="123"/>
                  </a:cubicBezTo>
                  <a:cubicBezTo>
                    <a:pt x="60" y="124"/>
                    <a:pt x="62" y="124"/>
                    <a:pt x="65" y="124"/>
                  </a:cubicBezTo>
                  <a:cubicBezTo>
                    <a:pt x="65" y="126"/>
                    <a:pt x="65" y="126"/>
                    <a:pt x="65" y="126"/>
                  </a:cubicBezTo>
                  <a:cubicBezTo>
                    <a:pt x="65" y="131"/>
                    <a:pt x="68" y="132"/>
                    <a:pt x="72" y="132"/>
                  </a:cubicBezTo>
                  <a:cubicBezTo>
                    <a:pt x="75" y="132"/>
                    <a:pt x="78" y="130"/>
                    <a:pt x="78" y="125"/>
                  </a:cubicBezTo>
                  <a:cubicBezTo>
                    <a:pt x="77" y="123"/>
                    <a:pt x="77" y="123"/>
                    <a:pt x="77" y="123"/>
                  </a:cubicBezTo>
                  <a:cubicBezTo>
                    <a:pt x="80" y="123"/>
                    <a:pt x="82" y="122"/>
                    <a:pt x="85" y="121"/>
                  </a:cubicBezTo>
                  <a:cubicBezTo>
                    <a:pt x="85" y="123"/>
                    <a:pt x="85" y="123"/>
                    <a:pt x="85" y="123"/>
                  </a:cubicBezTo>
                  <a:cubicBezTo>
                    <a:pt x="88" y="127"/>
                    <a:pt x="91" y="128"/>
                    <a:pt x="94" y="126"/>
                  </a:cubicBezTo>
                  <a:cubicBezTo>
                    <a:pt x="97" y="125"/>
                    <a:pt x="99" y="122"/>
                    <a:pt x="97" y="118"/>
                  </a:cubicBezTo>
                  <a:cubicBezTo>
                    <a:pt x="96" y="116"/>
                    <a:pt x="96" y="116"/>
                    <a:pt x="96" y="116"/>
                  </a:cubicBezTo>
                  <a:cubicBezTo>
                    <a:pt x="98" y="114"/>
                    <a:pt x="100" y="113"/>
                    <a:pt x="102" y="111"/>
                  </a:cubicBezTo>
                  <a:cubicBezTo>
                    <a:pt x="104" y="113"/>
                    <a:pt x="104" y="113"/>
                    <a:pt x="104" y="113"/>
                  </a:cubicBezTo>
                  <a:cubicBezTo>
                    <a:pt x="107" y="116"/>
                    <a:pt x="110" y="115"/>
                    <a:pt x="113" y="113"/>
                  </a:cubicBezTo>
                  <a:cubicBezTo>
                    <a:pt x="115" y="110"/>
                    <a:pt x="116" y="107"/>
                    <a:pt x="113" y="104"/>
                  </a:cubicBezTo>
                  <a:cubicBezTo>
                    <a:pt x="111" y="102"/>
                    <a:pt x="111" y="102"/>
                    <a:pt x="111" y="102"/>
                  </a:cubicBezTo>
                  <a:cubicBezTo>
                    <a:pt x="113" y="100"/>
                    <a:pt x="114" y="98"/>
                    <a:pt x="116" y="96"/>
                  </a:cubicBezTo>
                  <a:cubicBezTo>
                    <a:pt x="117" y="97"/>
                    <a:pt x="117" y="97"/>
                    <a:pt x="117" y="97"/>
                  </a:cubicBezTo>
                  <a:cubicBezTo>
                    <a:pt x="122" y="99"/>
                    <a:pt x="124" y="97"/>
                    <a:pt x="126" y="94"/>
                  </a:cubicBezTo>
                  <a:cubicBezTo>
                    <a:pt x="127" y="91"/>
                    <a:pt x="127" y="88"/>
                    <a:pt x="123" y="86"/>
                  </a:cubicBezTo>
                  <a:cubicBezTo>
                    <a:pt x="121" y="85"/>
                    <a:pt x="121" y="85"/>
                    <a:pt x="121" y="85"/>
                  </a:cubicBezTo>
                  <a:cubicBezTo>
                    <a:pt x="122" y="82"/>
                    <a:pt x="122" y="80"/>
                    <a:pt x="123" y="78"/>
                  </a:cubicBezTo>
                  <a:cubicBezTo>
                    <a:pt x="125" y="78"/>
                    <a:pt x="125" y="78"/>
                    <a:pt x="125" y="78"/>
                  </a:cubicBezTo>
                  <a:cubicBezTo>
                    <a:pt x="130" y="78"/>
                    <a:pt x="131" y="75"/>
                    <a:pt x="132" y="72"/>
                  </a:cubicBezTo>
                  <a:cubicBezTo>
                    <a:pt x="132" y="68"/>
                    <a:pt x="131" y="66"/>
                    <a:pt x="126" y="6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9" name="Freeform 14">
              <a:extLst>
                <a:ext uri="{FF2B5EF4-FFF2-40B4-BE49-F238E27FC236}">
                  <a16:creationId xmlns:a16="http://schemas.microsoft.com/office/drawing/2014/main" id="{C3BFAFDB-745F-4A05-ACC7-6EFE5B0E8152}"/>
                </a:ext>
              </a:extLst>
            </p:cNvPr>
            <p:cNvSpPr>
              <a:spLocks/>
            </p:cNvSpPr>
            <p:nvPr/>
          </p:nvSpPr>
          <p:spPr bwMode="auto">
            <a:xfrm>
              <a:off x="5048255" y="1376365"/>
              <a:ext cx="296863" cy="296863"/>
            </a:xfrm>
            <a:custGeom>
              <a:avLst/>
              <a:gdLst>
                <a:gd name="T0" fmla="*/ 81 w 87"/>
                <a:gd name="T1" fmla="*/ 43 h 87"/>
                <a:gd name="T2" fmla="*/ 82 w 87"/>
                <a:gd name="T3" fmla="*/ 37 h 87"/>
                <a:gd name="T4" fmla="*/ 80 w 87"/>
                <a:gd name="T5" fmla="*/ 29 h 87"/>
                <a:gd name="T6" fmla="*/ 76 w 87"/>
                <a:gd name="T7" fmla="*/ 25 h 87"/>
                <a:gd name="T8" fmla="*/ 79 w 87"/>
                <a:gd name="T9" fmla="*/ 19 h 87"/>
                <a:gd name="T10" fmla="*/ 72 w 87"/>
                <a:gd name="T11" fmla="*/ 18 h 87"/>
                <a:gd name="T12" fmla="*/ 68 w 87"/>
                <a:gd name="T13" fmla="*/ 15 h 87"/>
                <a:gd name="T14" fmla="*/ 68 w 87"/>
                <a:gd name="T15" fmla="*/ 8 h 87"/>
                <a:gd name="T16" fmla="*/ 61 w 87"/>
                <a:gd name="T17" fmla="*/ 10 h 87"/>
                <a:gd name="T18" fmla="*/ 57 w 87"/>
                <a:gd name="T19" fmla="*/ 7 h 87"/>
                <a:gd name="T20" fmla="*/ 49 w 87"/>
                <a:gd name="T21" fmla="*/ 5 h 87"/>
                <a:gd name="T22" fmla="*/ 44 w 87"/>
                <a:gd name="T23" fmla="*/ 5 h 87"/>
                <a:gd name="T24" fmla="*/ 39 w 87"/>
                <a:gd name="T25" fmla="*/ 0 h 87"/>
                <a:gd name="T26" fmla="*/ 36 w 87"/>
                <a:gd name="T27" fmla="*/ 6 h 87"/>
                <a:gd name="T28" fmla="*/ 30 w 87"/>
                <a:gd name="T29" fmla="*/ 6 h 87"/>
                <a:gd name="T30" fmla="*/ 23 w 87"/>
                <a:gd name="T31" fmla="*/ 10 h 87"/>
                <a:gd name="T32" fmla="*/ 19 w 87"/>
                <a:gd name="T33" fmla="*/ 14 h 87"/>
                <a:gd name="T34" fmla="*/ 12 w 87"/>
                <a:gd name="T35" fmla="*/ 13 h 87"/>
                <a:gd name="T36" fmla="*/ 13 w 87"/>
                <a:gd name="T37" fmla="*/ 20 h 87"/>
                <a:gd name="T38" fmla="*/ 9 w 87"/>
                <a:gd name="T39" fmla="*/ 23 h 87"/>
                <a:gd name="T40" fmla="*/ 6 w 87"/>
                <a:gd name="T41" fmla="*/ 31 h 87"/>
                <a:gd name="T42" fmla="*/ 6 w 87"/>
                <a:gd name="T43" fmla="*/ 36 h 87"/>
                <a:gd name="T44" fmla="*/ 0 w 87"/>
                <a:gd name="T45" fmla="*/ 40 h 87"/>
                <a:gd name="T46" fmla="*/ 5 w 87"/>
                <a:gd name="T47" fmla="*/ 44 h 87"/>
                <a:gd name="T48" fmla="*/ 4 w 87"/>
                <a:gd name="T49" fmla="*/ 50 h 87"/>
                <a:gd name="T50" fmla="*/ 6 w 87"/>
                <a:gd name="T51" fmla="*/ 58 h 87"/>
                <a:gd name="T52" fmla="*/ 10 w 87"/>
                <a:gd name="T53" fmla="*/ 62 h 87"/>
                <a:gd name="T54" fmla="*/ 7 w 87"/>
                <a:gd name="T55" fmla="*/ 68 h 87"/>
                <a:gd name="T56" fmla="*/ 14 w 87"/>
                <a:gd name="T57" fmla="*/ 69 h 87"/>
                <a:gd name="T58" fmla="*/ 18 w 87"/>
                <a:gd name="T59" fmla="*/ 72 h 87"/>
                <a:gd name="T60" fmla="*/ 18 w 87"/>
                <a:gd name="T61" fmla="*/ 79 h 87"/>
                <a:gd name="T62" fmla="*/ 25 w 87"/>
                <a:gd name="T63" fmla="*/ 77 h 87"/>
                <a:gd name="T64" fmla="*/ 29 w 87"/>
                <a:gd name="T65" fmla="*/ 80 h 87"/>
                <a:gd name="T66" fmla="*/ 37 w 87"/>
                <a:gd name="T67" fmla="*/ 83 h 87"/>
                <a:gd name="T68" fmla="*/ 42 w 87"/>
                <a:gd name="T69" fmla="*/ 82 h 87"/>
                <a:gd name="T70" fmla="*/ 47 w 87"/>
                <a:gd name="T71" fmla="*/ 87 h 87"/>
                <a:gd name="T72" fmla="*/ 50 w 87"/>
                <a:gd name="T73" fmla="*/ 81 h 87"/>
                <a:gd name="T74" fmla="*/ 56 w 87"/>
                <a:gd name="T75" fmla="*/ 81 h 87"/>
                <a:gd name="T76" fmla="*/ 63 w 87"/>
                <a:gd name="T77" fmla="*/ 77 h 87"/>
                <a:gd name="T78" fmla="*/ 67 w 87"/>
                <a:gd name="T79" fmla="*/ 73 h 87"/>
                <a:gd name="T80" fmla="*/ 74 w 87"/>
                <a:gd name="T81" fmla="*/ 74 h 87"/>
                <a:gd name="T82" fmla="*/ 73 w 87"/>
                <a:gd name="T83" fmla="*/ 67 h 87"/>
                <a:gd name="T84" fmla="*/ 77 w 87"/>
                <a:gd name="T85" fmla="*/ 64 h 87"/>
                <a:gd name="T86" fmla="*/ 80 w 87"/>
                <a:gd name="T87" fmla="*/ 56 h 87"/>
                <a:gd name="T88" fmla="*/ 80 w 87"/>
                <a:gd name="T89" fmla="*/ 51 h 87"/>
                <a:gd name="T90" fmla="*/ 86 w 87"/>
                <a:gd name="T91" fmla="*/ 4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7" h="87">
                  <a:moveTo>
                    <a:pt x="83" y="43"/>
                  </a:moveTo>
                  <a:cubicBezTo>
                    <a:pt x="81" y="43"/>
                    <a:pt x="81" y="43"/>
                    <a:pt x="81" y="43"/>
                  </a:cubicBezTo>
                  <a:cubicBezTo>
                    <a:pt x="81" y="41"/>
                    <a:pt x="81" y="39"/>
                    <a:pt x="81" y="38"/>
                  </a:cubicBezTo>
                  <a:cubicBezTo>
                    <a:pt x="82" y="37"/>
                    <a:pt x="82" y="37"/>
                    <a:pt x="82" y="37"/>
                  </a:cubicBezTo>
                  <a:cubicBezTo>
                    <a:pt x="85" y="37"/>
                    <a:pt x="86" y="35"/>
                    <a:pt x="85" y="32"/>
                  </a:cubicBezTo>
                  <a:cubicBezTo>
                    <a:pt x="84" y="30"/>
                    <a:pt x="83" y="29"/>
                    <a:pt x="80" y="29"/>
                  </a:cubicBezTo>
                  <a:cubicBezTo>
                    <a:pt x="79" y="30"/>
                    <a:pt x="79" y="30"/>
                    <a:pt x="79" y="30"/>
                  </a:cubicBezTo>
                  <a:cubicBezTo>
                    <a:pt x="78" y="28"/>
                    <a:pt x="77" y="27"/>
                    <a:pt x="76" y="25"/>
                  </a:cubicBezTo>
                  <a:cubicBezTo>
                    <a:pt x="78" y="24"/>
                    <a:pt x="78" y="24"/>
                    <a:pt x="78" y="24"/>
                  </a:cubicBezTo>
                  <a:cubicBezTo>
                    <a:pt x="80" y="23"/>
                    <a:pt x="80" y="20"/>
                    <a:pt x="79" y="19"/>
                  </a:cubicBezTo>
                  <a:cubicBezTo>
                    <a:pt x="77" y="17"/>
                    <a:pt x="75" y="16"/>
                    <a:pt x="73" y="18"/>
                  </a:cubicBezTo>
                  <a:cubicBezTo>
                    <a:pt x="72" y="18"/>
                    <a:pt x="72" y="18"/>
                    <a:pt x="72" y="18"/>
                  </a:cubicBezTo>
                  <a:cubicBezTo>
                    <a:pt x="71" y="18"/>
                    <a:pt x="71" y="17"/>
                    <a:pt x="70" y="17"/>
                  </a:cubicBezTo>
                  <a:cubicBezTo>
                    <a:pt x="69" y="16"/>
                    <a:pt x="69" y="15"/>
                    <a:pt x="68" y="15"/>
                  </a:cubicBezTo>
                  <a:cubicBezTo>
                    <a:pt x="69" y="14"/>
                    <a:pt x="69" y="14"/>
                    <a:pt x="69" y="14"/>
                  </a:cubicBezTo>
                  <a:cubicBezTo>
                    <a:pt x="71" y="11"/>
                    <a:pt x="70" y="9"/>
                    <a:pt x="68" y="8"/>
                  </a:cubicBezTo>
                  <a:cubicBezTo>
                    <a:pt x="66" y="7"/>
                    <a:pt x="64" y="6"/>
                    <a:pt x="62" y="9"/>
                  </a:cubicBezTo>
                  <a:cubicBezTo>
                    <a:pt x="61" y="10"/>
                    <a:pt x="61" y="10"/>
                    <a:pt x="61" y="10"/>
                  </a:cubicBezTo>
                  <a:cubicBezTo>
                    <a:pt x="60" y="9"/>
                    <a:pt x="58" y="9"/>
                    <a:pt x="57" y="8"/>
                  </a:cubicBezTo>
                  <a:cubicBezTo>
                    <a:pt x="57" y="7"/>
                    <a:pt x="57" y="7"/>
                    <a:pt x="57" y="7"/>
                  </a:cubicBezTo>
                  <a:cubicBezTo>
                    <a:pt x="58" y="4"/>
                    <a:pt x="57" y="2"/>
                    <a:pt x="54" y="2"/>
                  </a:cubicBezTo>
                  <a:cubicBezTo>
                    <a:pt x="52" y="1"/>
                    <a:pt x="50" y="1"/>
                    <a:pt x="49" y="5"/>
                  </a:cubicBezTo>
                  <a:cubicBezTo>
                    <a:pt x="49" y="6"/>
                    <a:pt x="49" y="6"/>
                    <a:pt x="49" y="6"/>
                  </a:cubicBezTo>
                  <a:cubicBezTo>
                    <a:pt x="47" y="6"/>
                    <a:pt x="46" y="5"/>
                    <a:pt x="44" y="5"/>
                  </a:cubicBezTo>
                  <a:cubicBezTo>
                    <a:pt x="44" y="4"/>
                    <a:pt x="44" y="4"/>
                    <a:pt x="44" y="4"/>
                  </a:cubicBezTo>
                  <a:cubicBezTo>
                    <a:pt x="43" y="1"/>
                    <a:pt x="42" y="0"/>
                    <a:pt x="39" y="0"/>
                  </a:cubicBezTo>
                  <a:cubicBezTo>
                    <a:pt x="37" y="0"/>
                    <a:pt x="35" y="2"/>
                    <a:pt x="35" y="5"/>
                  </a:cubicBezTo>
                  <a:cubicBezTo>
                    <a:pt x="36" y="6"/>
                    <a:pt x="36" y="6"/>
                    <a:pt x="36" y="6"/>
                  </a:cubicBezTo>
                  <a:cubicBezTo>
                    <a:pt x="34" y="6"/>
                    <a:pt x="32" y="7"/>
                    <a:pt x="31" y="7"/>
                  </a:cubicBezTo>
                  <a:cubicBezTo>
                    <a:pt x="30" y="6"/>
                    <a:pt x="30" y="6"/>
                    <a:pt x="30" y="6"/>
                  </a:cubicBezTo>
                  <a:cubicBezTo>
                    <a:pt x="29" y="3"/>
                    <a:pt x="27" y="3"/>
                    <a:pt x="25" y="4"/>
                  </a:cubicBezTo>
                  <a:cubicBezTo>
                    <a:pt x="23" y="5"/>
                    <a:pt x="21" y="7"/>
                    <a:pt x="23" y="10"/>
                  </a:cubicBezTo>
                  <a:cubicBezTo>
                    <a:pt x="23" y="11"/>
                    <a:pt x="23" y="11"/>
                    <a:pt x="23" y="11"/>
                  </a:cubicBezTo>
                  <a:cubicBezTo>
                    <a:pt x="22" y="12"/>
                    <a:pt x="20" y="13"/>
                    <a:pt x="19" y="14"/>
                  </a:cubicBezTo>
                  <a:cubicBezTo>
                    <a:pt x="18" y="13"/>
                    <a:pt x="18" y="13"/>
                    <a:pt x="18" y="13"/>
                  </a:cubicBezTo>
                  <a:cubicBezTo>
                    <a:pt x="16" y="11"/>
                    <a:pt x="14" y="11"/>
                    <a:pt x="12" y="13"/>
                  </a:cubicBezTo>
                  <a:cubicBezTo>
                    <a:pt x="11" y="14"/>
                    <a:pt x="10" y="16"/>
                    <a:pt x="12" y="19"/>
                  </a:cubicBezTo>
                  <a:cubicBezTo>
                    <a:pt x="13" y="20"/>
                    <a:pt x="13" y="20"/>
                    <a:pt x="13" y="20"/>
                  </a:cubicBezTo>
                  <a:cubicBezTo>
                    <a:pt x="12" y="21"/>
                    <a:pt x="11" y="22"/>
                    <a:pt x="10" y="24"/>
                  </a:cubicBezTo>
                  <a:cubicBezTo>
                    <a:pt x="9" y="23"/>
                    <a:pt x="9" y="23"/>
                    <a:pt x="9" y="23"/>
                  </a:cubicBezTo>
                  <a:cubicBezTo>
                    <a:pt x="6" y="22"/>
                    <a:pt x="5" y="23"/>
                    <a:pt x="4" y="25"/>
                  </a:cubicBezTo>
                  <a:cubicBezTo>
                    <a:pt x="3" y="27"/>
                    <a:pt x="3" y="29"/>
                    <a:pt x="6" y="31"/>
                  </a:cubicBezTo>
                  <a:cubicBezTo>
                    <a:pt x="7" y="31"/>
                    <a:pt x="7" y="31"/>
                    <a:pt x="7" y="31"/>
                  </a:cubicBezTo>
                  <a:cubicBezTo>
                    <a:pt x="6" y="33"/>
                    <a:pt x="6" y="34"/>
                    <a:pt x="6" y="36"/>
                  </a:cubicBezTo>
                  <a:cubicBezTo>
                    <a:pt x="4" y="36"/>
                    <a:pt x="4" y="36"/>
                    <a:pt x="4" y="36"/>
                  </a:cubicBezTo>
                  <a:cubicBezTo>
                    <a:pt x="1" y="36"/>
                    <a:pt x="0" y="37"/>
                    <a:pt x="0" y="40"/>
                  </a:cubicBezTo>
                  <a:cubicBezTo>
                    <a:pt x="0" y="42"/>
                    <a:pt x="0" y="44"/>
                    <a:pt x="4" y="44"/>
                  </a:cubicBezTo>
                  <a:cubicBezTo>
                    <a:pt x="5" y="44"/>
                    <a:pt x="5" y="44"/>
                    <a:pt x="5" y="44"/>
                  </a:cubicBezTo>
                  <a:cubicBezTo>
                    <a:pt x="5" y="46"/>
                    <a:pt x="5" y="48"/>
                    <a:pt x="5" y="49"/>
                  </a:cubicBezTo>
                  <a:cubicBezTo>
                    <a:pt x="4" y="50"/>
                    <a:pt x="4" y="50"/>
                    <a:pt x="4" y="50"/>
                  </a:cubicBezTo>
                  <a:cubicBezTo>
                    <a:pt x="1" y="51"/>
                    <a:pt x="0" y="53"/>
                    <a:pt x="1" y="55"/>
                  </a:cubicBezTo>
                  <a:cubicBezTo>
                    <a:pt x="2" y="57"/>
                    <a:pt x="3" y="59"/>
                    <a:pt x="6" y="58"/>
                  </a:cubicBezTo>
                  <a:cubicBezTo>
                    <a:pt x="7" y="57"/>
                    <a:pt x="7" y="57"/>
                    <a:pt x="7" y="57"/>
                  </a:cubicBezTo>
                  <a:cubicBezTo>
                    <a:pt x="8" y="59"/>
                    <a:pt x="9" y="60"/>
                    <a:pt x="10" y="62"/>
                  </a:cubicBezTo>
                  <a:cubicBezTo>
                    <a:pt x="8" y="63"/>
                    <a:pt x="8" y="63"/>
                    <a:pt x="8" y="63"/>
                  </a:cubicBezTo>
                  <a:cubicBezTo>
                    <a:pt x="6" y="65"/>
                    <a:pt x="6" y="67"/>
                    <a:pt x="7" y="68"/>
                  </a:cubicBezTo>
                  <a:cubicBezTo>
                    <a:pt x="9" y="70"/>
                    <a:pt x="11" y="71"/>
                    <a:pt x="13" y="69"/>
                  </a:cubicBezTo>
                  <a:cubicBezTo>
                    <a:pt x="14" y="69"/>
                    <a:pt x="14" y="69"/>
                    <a:pt x="14" y="69"/>
                  </a:cubicBezTo>
                  <a:cubicBezTo>
                    <a:pt x="15" y="69"/>
                    <a:pt x="15" y="70"/>
                    <a:pt x="16" y="71"/>
                  </a:cubicBezTo>
                  <a:cubicBezTo>
                    <a:pt x="17" y="71"/>
                    <a:pt x="17" y="72"/>
                    <a:pt x="18" y="72"/>
                  </a:cubicBezTo>
                  <a:cubicBezTo>
                    <a:pt x="17" y="73"/>
                    <a:pt x="17" y="73"/>
                    <a:pt x="17" y="73"/>
                  </a:cubicBezTo>
                  <a:cubicBezTo>
                    <a:pt x="15" y="76"/>
                    <a:pt x="16" y="78"/>
                    <a:pt x="18" y="79"/>
                  </a:cubicBezTo>
                  <a:cubicBezTo>
                    <a:pt x="20" y="80"/>
                    <a:pt x="22" y="81"/>
                    <a:pt x="24" y="78"/>
                  </a:cubicBezTo>
                  <a:cubicBezTo>
                    <a:pt x="25" y="77"/>
                    <a:pt x="25" y="77"/>
                    <a:pt x="25" y="77"/>
                  </a:cubicBezTo>
                  <a:cubicBezTo>
                    <a:pt x="26" y="78"/>
                    <a:pt x="28" y="79"/>
                    <a:pt x="29" y="79"/>
                  </a:cubicBezTo>
                  <a:cubicBezTo>
                    <a:pt x="29" y="80"/>
                    <a:pt x="29" y="80"/>
                    <a:pt x="29" y="80"/>
                  </a:cubicBezTo>
                  <a:cubicBezTo>
                    <a:pt x="28" y="84"/>
                    <a:pt x="30" y="85"/>
                    <a:pt x="32" y="86"/>
                  </a:cubicBezTo>
                  <a:cubicBezTo>
                    <a:pt x="34" y="86"/>
                    <a:pt x="36" y="86"/>
                    <a:pt x="37" y="83"/>
                  </a:cubicBezTo>
                  <a:cubicBezTo>
                    <a:pt x="37" y="81"/>
                    <a:pt x="37" y="81"/>
                    <a:pt x="37" y="81"/>
                  </a:cubicBezTo>
                  <a:cubicBezTo>
                    <a:pt x="39" y="81"/>
                    <a:pt x="41" y="82"/>
                    <a:pt x="42" y="82"/>
                  </a:cubicBezTo>
                  <a:cubicBezTo>
                    <a:pt x="42" y="83"/>
                    <a:pt x="42" y="83"/>
                    <a:pt x="42" y="83"/>
                  </a:cubicBezTo>
                  <a:cubicBezTo>
                    <a:pt x="43" y="86"/>
                    <a:pt x="45" y="87"/>
                    <a:pt x="47" y="87"/>
                  </a:cubicBezTo>
                  <a:cubicBezTo>
                    <a:pt x="49" y="87"/>
                    <a:pt x="51" y="86"/>
                    <a:pt x="51" y="82"/>
                  </a:cubicBezTo>
                  <a:cubicBezTo>
                    <a:pt x="50" y="81"/>
                    <a:pt x="50" y="81"/>
                    <a:pt x="50" y="81"/>
                  </a:cubicBezTo>
                  <a:cubicBezTo>
                    <a:pt x="52" y="81"/>
                    <a:pt x="54" y="80"/>
                    <a:pt x="55" y="80"/>
                  </a:cubicBezTo>
                  <a:cubicBezTo>
                    <a:pt x="56" y="81"/>
                    <a:pt x="56" y="81"/>
                    <a:pt x="56" y="81"/>
                  </a:cubicBezTo>
                  <a:cubicBezTo>
                    <a:pt x="57" y="84"/>
                    <a:pt x="59" y="84"/>
                    <a:pt x="61" y="83"/>
                  </a:cubicBezTo>
                  <a:cubicBezTo>
                    <a:pt x="63" y="82"/>
                    <a:pt x="65" y="80"/>
                    <a:pt x="63" y="77"/>
                  </a:cubicBezTo>
                  <a:cubicBezTo>
                    <a:pt x="63" y="76"/>
                    <a:pt x="63" y="76"/>
                    <a:pt x="63" y="76"/>
                  </a:cubicBezTo>
                  <a:cubicBezTo>
                    <a:pt x="64" y="75"/>
                    <a:pt x="66" y="74"/>
                    <a:pt x="67" y="73"/>
                  </a:cubicBezTo>
                  <a:cubicBezTo>
                    <a:pt x="68" y="74"/>
                    <a:pt x="68" y="74"/>
                    <a:pt x="68" y="74"/>
                  </a:cubicBezTo>
                  <a:cubicBezTo>
                    <a:pt x="70" y="77"/>
                    <a:pt x="72" y="76"/>
                    <a:pt x="74" y="74"/>
                  </a:cubicBezTo>
                  <a:cubicBezTo>
                    <a:pt x="75" y="73"/>
                    <a:pt x="76" y="71"/>
                    <a:pt x="74" y="68"/>
                  </a:cubicBezTo>
                  <a:cubicBezTo>
                    <a:pt x="73" y="67"/>
                    <a:pt x="73" y="67"/>
                    <a:pt x="73" y="67"/>
                  </a:cubicBezTo>
                  <a:cubicBezTo>
                    <a:pt x="74" y="66"/>
                    <a:pt x="75" y="65"/>
                    <a:pt x="76" y="63"/>
                  </a:cubicBezTo>
                  <a:cubicBezTo>
                    <a:pt x="77" y="64"/>
                    <a:pt x="77" y="64"/>
                    <a:pt x="77" y="64"/>
                  </a:cubicBezTo>
                  <a:cubicBezTo>
                    <a:pt x="80" y="65"/>
                    <a:pt x="81" y="64"/>
                    <a:pt x="82" y="62"/>
                  </a:cubicBezTo>
                  <a:cubicBezTo>
                    <a:pt x="83" y="60"/>
                    <a:pt x="83" y="58"/>
                    <a:pt x="80" y="56"/>
                  </a:cubicBezTo>
                  <a:cubicBezTo>
                    <a:pt x="79" y="56"/>
                    <a:pt x="79" y="56"/>
                    <a:pt x="79" y="56"/>
                  </a:cubicBezTo>
                  <a:cubicBezTo>
                    <a:pt x="80" y="54"/>
                    <a:pt x="80" y="53"/>
                    <a:pt x="80" y="51"/>
                  </a:cubicBezTo>
                  <a:cubicBezTo>
                    <a:pt x="82" y="51"/>
                    <a:pt x="82" y="51"/>
                    <a:pt x="82" y="51"/>
                  </a:cubicBezTo>
                  <a:cubicBezTo>
                    <a:pt x="85" y="51"/>
                    <a:pt x="86" y="50"/>
                    <a:pt x="86" y="47"/>
                  </a:cubicBezTo>
                  <a:cubicBezTo>
                    <a:pt x="87" y="45"/>
                    <a:pt x="86" y="43"/>
                    <a:pt x="83" y="43"/>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326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417" name="Straight Arrow Connector 416">
            <a:extLst>
              <a:ext uri="{FF2B5EF4-FFF2-40B4-BE49-F238E27FC236}">
                <a16:creationId xmlns:a16="http://schemas.microsoft.com/office/drawing/2014/main" id="{DBBB9353-180E-44D0-BAF1-7036AEBCA692}"/>
              </a:ext>
            </a:extLst>
          </p:cNvPr>
          <p:cNvCxnSpPr>
            <a:stCxn id="380" idx="1"/>
          </p:cNvCxnSpPr>
          <p:nvPr/>
        </p:nvCxnSpPr>
        <p:spPr>
          <a:xfrm flipH="1" flipV="1">
            <a:off x="7904956" y="4937240"/>
            <a:ext cx="2106739" cy="113191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0850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8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8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6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7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4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6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8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7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9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7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8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7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80"/>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355"/>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39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0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96"/>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4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0" grpId="0" animBg="1"/>
      <p:bldP spid="173" grpId="0" animBg="1"/>
      <p:bldP spid="160" grpId="0" animBg="1"/>
      <p:bldP spid="159" grpId="0" animBg="1"/>
      <p:bldP spid="158" grpId="0" animBg="1"/>
      <p:bldP spid="380" grpId="0"/>
      <p:bldP spid="383" grpId="0"/>
      <p:bldP spid="182" grpId="0"/>
      <p:bldP spid="167" grpId="0"/>
      <p:bldP spid="170" grpId="0"/>
      <p:bldP spid="183" grpId="0"/>
      <p:bldP spid="396" grpId="0" animBg="1"/>
      <p:bldP spid="399" grpId="0"/>
      <p:bldP spid="402"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9920553" y="6439144"/>
            <a:ext cx="2166170" cy="369332"/>
          </a:xfrm>
          <a:prstGeom prst="rect">
            <a:avLst/>
          </a:prstGeom>
        </p:spPr>
        <p:txBody>
          <a:bodyPr wrap="none">
            <a:spAutoFit/>
          </a:bodyPr>
          <a:lstStyle/>
          <a:p>
            <a:r>
              <a:rPr lang="en-US" dirty="0">
                <a:hlinkClick r:id="rId3"/>
              </a:rPr>
              <a:t>aka.ms/Azure/B2C</a:t>
            </a:r>
            <a:r>
              <a:rPr lang="en-US" dirty="0"/>
              <a:t>  </a:t>
            </a:r>
          </a:p>
        </p:txBody>
      </p:sp>
      <p:sp>
        <p:nvSpPr>
          <p:cNvPr id="29" name="Title 1">
            <a:extLst>
              <a:ext uri="{FF2B5EF4-FFF2-40B4-BE49-F238E27FC236}">
                <a16:creationId xmlns:a16="http://schemas.microsoft.com/office/drawing/2014/main" id="{EEF7CC9D-DC08-4D71-98E9-AD7920442699}"/>
              </a:ext>
            </a:extLst>
          </p:cNvPr>
          <p:cNvSpPr>
            <a:spLocks noGrp="1"/>
          </p:cNvSpPr>
          <p:nvPr>
            <p:ph type="title"/>
          </p:nvPr>
        </p:nvSpPr>
        <p:spPr>
          <a:xfrm>
            <a:off x="269240" y="289511"/>
            <a:ext cx="11655840" cy="899665"/>
          </a:xfrm>
        </p:spPr>
        <p:txBody>
          <a:bodyPr/>
          <a:lstStyle/>
          <a:p>
            <a:pPr algn="ctr"/>
            <a:r>
              <a:rPr lang="en-US" dirty="0"/>
              <a:t>Azure Active Directory B2C</a:t>
            </a:r>
          </a:p>
        </p:txBody>
      </p:sp>
      <p:grpSp>
        <p:nvGrpSpPr>
          <p:cNvPr id="30" name="Group 29">
            <a:extLst>
              <a:ext uri="{FF2B5EF4-FFF2-40B4-BE49-F238E27FC236}">
                <a16:creationId xmlns:a16="http://schemas.microsoft.com/office/drawing/2014/main" id="{7C6D33BA-E7B0-4347-A646-D6C85DFD9508}"/>
              </a:ext>
            </a:extLst>
          </p:cNvPr>
          <p:cNvGrpSpPr/>
          <p:nvPr/>
        </p:nvGrpSpPr>
        <p:grpSpPr>
          <a:xfrm>
            <a:off x="3835343" y="4852646"/>
            <a:ext cx="8021813" cy="1457201"/>
            <a:chOff x="4337681" y="3394990"/>
            <a:chExt cx="8182670" cy="1486420"/>
          </a:xfrm>
        </p:grpSpPr>
        <p:sp>
          <p:nvSpPr>
            <p:cNvPr id="31" name="Rectangle 30">
              <a:extLst>
                <a:ext uri="{FF2B5EF4-FFF2-40B4-BE49-F238E27FC236}">
                  <a16:creationId xmlns:a16="http://schemas.microsoft.com/office/drawing/2014/main" id="{AAA0D2DD-AFD1-4174-866F-2A7EE2BABC5E}"/>
                </a:ext>
              </a:extLst>
            </p:cNvPr>
            <p:cNvSpPr/>
            <p:nvPr/>
          </p:nvSpPr>
          <p:spPr>
            <a:xfrm>
              <a:off x="4737202" y="3394990"/>
              <a:ext cx="7783149" cy="348482"/>
            </a:xfrm>
            <a:prstGeom prst="rect">
              <a:avLst/>
            </a:prstGeom>
          </p:spPr>
          <p:txBody>
            <a:bodyPr wrap="square">
              <a:spAutoFit/>
            </a:bodyPr>
            <a:lstStyle/>
            <a:p>
              <a:pPr defTabSz="914102" fontAlgn="base">
                <a:lnSpc>
                  <a:spcPct val="90000"/>
                </a:lnSpc>
                <a:spcBef>
                  <a:spcPts val="588"/>
                </a:spcBef>
                <a:spcAft>
                  <a:spcPct val="0"/>
                </a:spcAft>
              </a:pPr>
              <a:r>
                <a:rPr lang="en-US">
                  <a:solidFill>
                    <a:srgbClr val="505050"/>
                  </a:solidFill>
                  <a:latin typeface="Segoe UI Semilight"/>
                  <a:ea typeface="Segoe UI" pitchFamily="34" charset="0"/>
                  <a:cs typeface="Segoe UI" pitchFamily="34" charset="0"/>
                </a:rPr>
                <a:t>Securely authenticate your customers using their preferred identity provider</a:t>
              </a:r>
            </a:p>
          </p:txBody>
        </p:sp>
        <p:sp>
          <p:nvSpPr>
            <p:cNvPr id="32" name="Rectangle 31">
              <a:extLst>
                <a:ext uri="{FF2B5EF4-FFF2-40B4-BE49-F238E27FC236}">
                  <a16:creationId xmlns:a16="http://schemas.microsoft.com/office/drawing/2014/main" id="{359C7448-5F83-4B8C-BB00-BB03F5B3D7B4}"/>
                </a:ext>
              </a:extLst>
            </p:cNvPr>
            <p:cNvSpPr/>
            <p:nvPr/>
          </p:nvSpPr>
          <p:spPr>
            <a:xfrm>
              <a:off x="4737202" y="3950961"/>
              <a:ext cx="6716902" cy="348482"/>
            </a:xfrm>
            <a:prstGeom prst="rect">
              <a:avLst/>
            </a:prstGeom>
          </p:spPr>
          <p:txBody>
            <a:bodyPr wrap="square">
              <a:spAutoFit/>
            </a:bodyPr>
            <a:lstStyle/>
            <a:p>
              <a:pPr defTabSz="914102" fontAlgn="base">
                <a:lnSpc>
                  <a:spcPct val="90000"/>
                </a:lnSpc>
                <a:spcBef>
                  <a:spcPts val="588"/>
                </a:spcBef>
                <a:spcAft>
                  <a:spcPct val="0"/>
                </a:spcAft>
              </a:pPr>
              <a:r>
                <a:rPr lang="en-US">
                  <a:solidFill>
                    <a:srgbClr val="505050"/>
                  </a:solidFill>
                  <a:latin typeface="Segoe UI Semilight"/>
                  <a:ea typeface="Segoe UI" pitchFamily="34" charset="0"/>
                  <a:cs typeface="Segoe UI" pitchFamily="34" charset="0"/>
                </a:rPr>
                <a:t>Capture login, preference, and conversion data for customers</a:t>
              </a:r>
            </a:p>
          </p:txBody>
        </p:sp>
        <p:sp>
          <p:nvSpPr>
            <p:cNvPr id="33" name="Rectangle 32">
              <a:extLst>
                <a:ext uri="{FF2B5EF4-FFF2-40B4-BE49-F238E27FC236}">
                  <a16:creationId xmlns:a16="http://schemas.microsoft.com/office/drawing/2014/main" id="{3874994F-A24A-405E-9B78-0D046CF24BDB}"/>
                </a:ext>
              </a:extLst>
            </p:cNvPr>
            <p:cNvSpPr/>
            <p:nvPr/>
          </p:nvSpPr>
          <p:spPr>
            <a:xfrm>
              <a:off x="4737203" y="4506932"/>
              <a:ext cx="6678237" cy="348482"/>
            </a:xfrm>
            <a:prstGeom prst="rect">
              <a:avLst/>
            </a:prstGeom>
          </p:spPr>
          <p:txBody>
            <a:bodyPr wrap="square">
              <a:spAutoFit/>
            </a:bodyPr>
            <a:lstStyle/>
            <a:p>
              <a:pPr defTabSz="914102" fontAlgn="base">
                <a:lnSpc>
                  <a:spcPct val="90000"/>
                </a:lnSpc>
                <a:spcBef>
                  <a:spcPts val="588"/>
                </a:spcBef>
                <a:spcAft>
                  <a:spcPct val="0"/>
                </a:spcAft>
              </a:pPr>
              <a:r>
                <a:rPr lang="en-US">
                  <a:solidFill>
                    <a:srgbClr val="505050"/>
                  </a:solidFill>
                  <a:latin typeface="Segoe UI Semilight"/>
                  <a:cs typeface="Segoe UI" pitchFamily="34" charset="0"/>
                </a:rPr>
                <a:t>Provide branded (white-label) registration and login experiences</a:t>
              </a:r>
            </a:p>
          </p:txBody>
        </p:sp>
        <p:sp>
          <p:nvSpPr>
            <p:cNvPr id="34" name="Freeform 9">
              <a:extLst>
                <a:ext uri="{FF2B5EF4-FFF2-40B4-BE49-F238E27FC236}">
                  <a16:creationId xmlns:a16="http://schemas.microsoft.com/office/drawing/2014/main" id="{1B8F876C-9FB7-47E6-ADD6-DD7D72084936}"/>
                </a:ext>
              </a:extLst>
            </p:cNvPr>
            <p:cNvSpPr>
              <a:spLocks noEditPoints="1"/>
            </p:cNvSpPr>
            <p:nvPr/>
          </p:nvSpPr>
          <p:spPr bwMode="black">
            <a:xfrm>
              <a:off x="4337681" y="3415292"/>
              <a:ext cx="365760" cy="36576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4"/>
            </a:solidFill>
            <a:ln>
              <a:solidFill>
                <a:srgbClr val="E6E6E6"/>
              </a:solidFill>
            </a:ln>
            <a:extLst/>
          </p:spPr>
          <p:txBody>
            <a:bodyPr vert="horz" wrap="square" lIns="91444" tIns="45722" rIns="91444" bIns="45722" numCol="1" anchor="t" anchorCtr="0" compatLnSpc="1">
              <a:prstTxWarp prst="textNoShape">
                <a:avLst/>
              </a:prstTxWarp>
            </a:bodyPr>
            <a:lstStyle/>
            <a:p>
              <a:pPr defTabSz="914367"/>
              <a:endParaRPr lang="en-US">
                <a:solidFill>
                  <a:srgbClr val="000000"/>
                </a:solidFill>
                <a:latin typeface="Segoe UI Semilight"/>
              </a:endParaRPr>
            </a:p>
          </p:txBody>
        </p:sp>
        <p:sp>
          <p:nvSpPr>
            <p:cNvPr id="35" name="Freeform 9">
              <a:extLst>
                <a:ext uri="{FF2B5EF4-FFF2-40B4-BE49-F238E27FC236}">
                  <a16:creationId xmlns:a16="http://schemas.microsoft.com/office/drawing/2014/main" id="{2FA306E0-F929-46B9-A23A-2877BE702DA9}"/>
                </a:ext>
              </a:extLst>
            </p:cNvPr>
            <p:cNvSpPr>
              <a:spLocks noEditPoints="1"/>
            </p:cNvSpPr>
            <p:nvPr/>
          </p:nvSpPr>
          <p:spPr bwMode="black">
            <a:xfrm>
              <a:off x="4337681" y="4515650"/>
              <a:ext cx="365760" cy="36576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4"/>
            </a:solidFill>
            <a:ln>
              <a:solidFill>
                <a:srgbClr val="E6E6E6"/>
              </a:solidFill>
            </a:ln>
            <a:extLst/>
          </p:spPr>
          <p:txBody>
            <a:bodyPr vert="horz" wrap="square" lIns="91444" tIns="45722" rIns="91444" bIns="45722" numCol="1" anchor="t" anchorCtr="0" compatLnSpc="1">
              <a:prstTxWarp prst="textNoShape">
                <a:avLst/>
              </a:prstTxWarp>
            </a:bodyPr>
            <a:lstStyle/>
            <a:p>
              <a:pPr defTabSz="914367"/>
              <a:endParaRPr lang="en-US">
                <a:solidFill>
                  <a:srgbClr val="000000"/>
                </a:solidFill>
                <a:latin typeface="Segoe UI Semilight"/>
              </a:endParaRPr>
            </a:p>
          </p:txBody>
        </p:sp>
        <p:sp>
          <p:nvSpPr>
            <p:cNvPr id="36" name="Freeform 9">
              <a:extLst>
                <a:ext uri="{FF2B5EF4-FFF2-40B4-BE49-F238E27FC236}">
                  <a16:creationId xmlns:a16="http://schemas.microsoft.com/office/drawing/2014/main" id="{F55373AE-C391-4B89-BE6B-5DDDDC466D0F}"/>
                </a:ext>
              </a:extLst>
            </p:cNvPr>
            <p:cNvSpPr>
              <a:spLocks noEditPoints="1"/>
            </p:cNvSpPr>
            <p:nvPr/>
          </p:nvSpPr>
          <p:spPr bwMode="black">
            <a:xfrm>
              <a:off x="4337681" y="3965471"/>
              <a:ext cx="365760" cy="36576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4"/>
            </a:solidFill>
            <a:ln>
              <a:solidFill>
                <a:srgbClr val="E6E6E6"/>
              </a:solidFill>
            </a:ln>
            <a:extLst/>
          </p:spPr>
          <p:txBody>
            <a:bodyPr vert="horz" wrap="square" lIns="91444" tIns="45722" rIns="91444" bIns="45722" numCol="1" anchor="t" anchorCtr="0" compatLnSpc="1">
              <a:prstTxWarp prst="textNoShape">
                <a:avLst/>
              </a:prstTxWarp>
            </a:bodyPr>
            <a:lstStyle/>
            <a:p>
              <a:pPr defTabSz="914367"/>
              <a:endParaRPr lang="en-US">
                <a:solidFill>
                  <a:srgbClr val="000000"/>
                </a:solidFill>
                <a:latin typeface="Segoe UI Semilight"/>
              </a:endParaRPr>
            </a:p>
          </p:txBody>
        </p:sp>
      </p:grpSp>
      <p:grpSp>
        <p:nvGrpSpPr>
          <p:cNvPr id="37" name="Group 36">
            <a:extLst>
              <a:ext uri="{FF2B5EF4-FFF2-40B4-BE49-F238E27FC236}">
                <a16:creationId xmlns:a16="http://schemas.microsoft.com/office/drawing/2014/main" id="{354B6D5B-6EFD-47CD-9D68-502801D4E44B}"/>
              </a:ext>
            </a:extLst>
          </p:cNvPr>
          <p:cNvGrpSpPr/>
          <p:nvPr/>
        </p:nvGrpSpPr>
        <p:grpSpPr>
          <a:xfrm>
            <a:off x="5121106" y="1919037"/>
            <a:ext cx="2725144" cy="1504077"/>
            <a:chOff x="4733428" y="2676962"/>
            <a:chExt cx="2725144" cy="1504077"/>
          </a:xfrm>
        </p:grpSpPr>
        <p:sp>
          <p:nvSpPr>
            <p:cNvPr id="38" name="Freeform: Shape 37">
              <a:extLst>
                <a:ext uri="{FF2B5EF4-FFF2-40B4-BE49-F238E27FC236}">
                  <a16:creationId xmlns:a16="http://schemas.microsoft.com/office/drawing/2014/main" id="{8DEED671-37CC-4BD2-AA0B-C78741B2B6E6}"/>
                </a:ext>
              </a:extLst>
            </p:cNvPr>
            <p:cNvSpPr/>
            <p:nvPr/>
          </p:nvSpPr>
          <p:spPr bwMode="auto">
            <a:xfrm>
              <a:off x="4733428" y="2676962"/>
              <a:ext cx="2725144" cy="150407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MS cloud text">
              <a:extLst>
                <a:ext uri="{FF2B5EF4-FFF2-40B4-BE49-F238E27FC236}">
                  <a16:creationId xmlns:a16="http://schemas.microsoft.com/office/drawing/2014/main" id="{21F4A3F2-7595-48A0-985C-92C115DB8AA9}"/>
                </a:ext>
              </a:extLst>
            </p:cNvPr>
            <p:cNvSpPr txBox="1">
              <a:spLocks/>
            </p:cNvSpPr>
            <p:nvPr/>
          </p:nvSpPr>
          <p:spPr>
            <a:xfrm>
              <a:off x="5019924" y="3233713"/>
              <a:ext cx="2391863" cy="407826"/>
            </a:xfrm>
            <a:prstGeom prst="rect">
              <a:avLst/>
            </a:prstGeom>
          </p:spPr>
          <p:txBody>
            <a:bodyPr vert="horz" wrap="square" lIns="146304" tIns="91440" rIns="146304" bIns="9144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lvl="0">
                <a:defRPr/>
              </a:pPr>
              <a:r>
                <a:rPr lang="en-US" sz="2000" kern="0" spc="0">
                  <a:solidFill>
                    <a:srgbClr val="002050"/>
                  </a:solidFill>
                  <a:latin typeface="Segoe UI Semilight"/>
                  <a:cs typeface="Segoe UI Semilight" panose="020B0402040204020203" pitchFamily="34" charset="0"/>
                </a:rPr>
                <a:t>Microsoft Azure </a:t>
              </a:r>
              <a:br>
                <a:rPr lang="en-US" sz="2000" kern="0" spc="0">
                  <a:solidFill>
                    <a:srgbClr val="002050"/>
                  </a:solidFill>
                  <a:latin typeface="Segoe UI Semilight"/>
                  <a:cs typeface="Segoe UI Semilight" panose="020B0402040204020203" pitchFamily="34" charset="0"/>
                </a:rPr>
              </a:br>
              <a:r>
                <a:rPr lang="en-US" sz="2000" kern="0" spc="0">
                  <a:solidFill>
                    <a:srgbClr val="002050"/>
                  </a:solidFill>
                  <a:latin typeface="Segoe UI Semilight"/>
                  <a:cs typeface="Segoe UI Semilight" panose="020B0402040204020203" pitchFamily="34" charset="0"/>
                </a:rPr>
                <a:t>Active Directory</a:t>
              </a:r>
            </a:p>
          </p:txBody>
        </p:sp>
      </p:grpSp>
      <p:sp>
        <p:nvSpPr>
          <p:cNvPr id="40" name="Rectangle 39">
            <a:extLst>
              <a:ext uri="{FF2B5EF4-FFF2-40B4-BE49-F238E27FC236}">
                <a16:creationId xmlns:a16="http://schemas.microsoft.com/office/drawing/2014/main" id="{D2B5C55C-09C0-46F5-82DD-A6F25526B6BF}"/>
              </a:ext>
            </a:extLst>
          </p:cNvPr>
          <p:cNvSpPr/>
          <p:nvPr/>
        </p:nvSpPr>
        <p:spPr bwMode="auto">
          <a:xfrm>
            <a:off x="2267632" y="1487089"/>
            <a:ext cx="448212" cy="44821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latin typeface="Segoe UI Semilight"/>
            </a:endParaRPr>
          </a:p>
        </p:txBody>
      </p:sp>
      <p:grpSp>
        <p:nvGrpSpPr>
          <p:cNvPr id="41" name="Group 40">
            <a:extLst>
              <a:ext uri="{FF2B5EF4-FFF2-40B4-BE49-F238E27FC236}">
                <a16:creationId xmlns:a16="http://schemas.microsoft.com/office/drawing/2014/main" id="{C2BF2A64-F2AA-4F5B-AFF8-D45BA5A31C9F}"/>
              </a:ext>
            </a:extLst>
          </p:cNvPr>
          <p:cNvGrpSpPr/>
          <p:nvPr/>
        </p:nvGrpSpPr>
        <p:grpSpPr>
          <a:xfrm>
            <a:off x="2267632" y="1487089"/>
            <a:ext cx="448212" cy="936352"/>
            <a:chOff x="2267632" y="1487089"/>
            <a:chExt cx="448212" cy="936352"/>
          </a:xfrm>
        </p:grpSpPr>
        <p:grpSp>
          <p:nvGrpSpPr>
            <p:cNvPr id="42" name="Group 41">
              <a:extLst>
                <a:ext uri="{FF2B5EF4-FFF2-40B4-BE49-F238E27FC236}">
                  <a16:creationId xmlns:a16="http://schemas.microsoft.com/office/drawing/2014/main" id="{5878416C-99B9-4614-AC6F-24B7832793BE}"/>
                </a:ext>
              </a:extLst>
            </p:cNvPr>
            <p:cNvGrpSpPr/>
            <p:nvPr/>
          </p:nvGrpSpPr>
          <p:grpSpPr>
            <a:xfrm>
              <a:off x="2267632" y="1975229"/>
              <a:ext cx="448212" cy="448212"/>
              <a:chOff x="2701231" y="2673849"/>
              <a:chExt cx="457200" cy="457200"/>
            </a:xfrm>
          </p:grpSpPr>
          <p:sp>
            <p:nvSpPr>
              <p:cNvPr id="44" name="Rectangle 43">
                <a:extLst>
                  <a:ext uri="{FF2B5EF4-FFF2-40B4-BE49-F238E27FC236}">
                    <a16:creationId xmlns:a16="http://schemas.microsoft.com/office/drawing/2014/main" id="{ACF977D8-9421-44B9-B3F3-D04A86F298A2}"/>
                  </a:ext>
                </a:extLst>
              </p:cNvPr>
              <p:cNvSpPr/>
              <p:nvPr/>
            </p:nvSpPr>
            <p:spPr bwMode="auto">
              <a:xfrm>
                <a:off x="2701231" y="2673849"/>
                <a:ext cx="457200"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latin typeface="Segoe UI Semilight"/>
                </a:endParaRPr>
              </a:p>
            </p:txBody>
          </p:sp>
          <p:pic>
            <p:nvPicPr>
              <p:cNvPr id="45" name="Picture 4">
                <a:extLst>
                  <a:ext uri="{FF2B5EF4-FFF2-40B4-BE49-F238E27FC236}">
                    <a16:creationId xmlns:a16="http://schemas.microsoft.com/office/drawing/2014/main" id="{53774CFC-2410-48DB-B90F-EAD0EBFC7C11}"/>
                  </a:ext>
                </a:extLst>
              </p:cNvPr>
              <p:cNvPicPr>
                <a:picLocks noChangeAspect="1" noChangeArrowheads="1"/>
              </p:cNvPicPr>
              <p:nvPr/>
            </p:nvPicPr>
            <p:blipFill rotWithShape="1">
              <a:blip r:embed="rId4"/>
              <a:srcRect l="20221" t="9069" r="23633" b="41167"/>
              <a:stretch/>
            </p:blipFill>
            <p:spPr bwMode="auto">
              <a:xfrm>
                <a:off x="2714625" y="2707480"/>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43" name="Picture 42">
              <a:extLst>
                <a:ext uri="{FF2B5EF4-FFF2-40B4-BE49-F238E27FC236}">
                  <a16:creationId xmlns:a16="http://schemas.microsoft.com/office/drawing/2014/main" id="{7A9F4303-3F72-447B-B39E-CE9CAE100F37}"/>
                </a:ext>
              </a:extLst>
            </p:cNvPr>
            <p:cNvPicPr>
              <a:picLocks noChangeAspect="1"/>
            </p:cNvPicPr>
            <p:nvPr/>
          </p:nvPicPr>
          <p:blipFill>
            <a:blip r:embed="rId5"/>
            <a:stretch>
              <a:fillRect/>
            </a:stretch>
          </p:blipFill>
          <p:spPr>
            <a:xfrm>
              <a:off x="2267632" y="1487089"/>
              <a:ext cx="448212" cy="448212"/>
            </a:xfrm>
            <a:prstGeom prst="rect">
              <a:avLst/>
            </a:prstGeom>
          </p:spPr>
        </p:pic>
      </p:grpSp>
      <p:grpSp>
        <p:nvGrpSpPr>
          <p:cNvPr id="46" name="Group 45">
            <a:extLst>
              <a:ext uri="{FF2B5EF4-FFF2-40B4-BE49-F238E27FC236}">
                <a16:creationId xmlns:a16="http://schemas.microsoft.com/office/drawing/2014/main" id="{DD61F654-0FDF-478E-82E0-CC378078CDF1}"/>
              </a:ext>
            </a:extLst>
          </p:cNvPr>
          <p:cNvGrpSpPr/>
          <p:nvPr/>
        </p:nvGrpSpPr>
        <p:grpSpPr>
          <a:xfrm>
            <a:off x="1211651" y="1487089"/>
            <a:ext cx="453954" cy="936352"/>
            <a:chOff x="1211651" y="1487089"/>
            <a:chExt cx="453954" cy="936352"/>
          </a:xfrm>
        </p:grpSpPr>
        <p:pic>
          <p:nvPicPr>
            <p:cNvPr id="47" name="Picture 46" descr="A close up of a sign&#10;&#10;Description generated with high confidence">
              <a:extLst>
                <a:ext uri="{FF2B5EF4-FFF2-40B4-BE49-F238E27FC236}">
                  <a16:creationId xmlns:a16="http://schemas.microsoft.com/office/drawing/2014/main" id="{30EB968A-E08B-41C5-A508-FAAFB85366BF}"/>
                </a:ext>
              </a:extLst>
            </p:cNvPr>
            <p:cNvPicPr>
              <a:picLocks noChangeAspect="1"/>
            </p:cNvPicPr>
            <p:nvPr/>
          </p:nvPicPr>
          <p:blipFill rotWithShape="1">
            <a:blip r:embed="rId6"/>
            <a:srcRect l="28682" t="28682" r="28682" b="28682"/>
            <a:stretch/>
          </p:blipFill>
          <p:spPr>
            <a:xfrm>
              <a:off x="1217393" y="1487089"/>
              <a:ext cx="448212" cy="448212"/>
            </a:xfrm>
            <a:prstGeom prst="rect">
              <a:avLst/>
            </a:prstGeom>
          </p:spPr>
        </p:pic>
        <p:pic>
          <p:nvPicPr>
            <p:cNvPr id="48" name="Picture 54" descr="https://az495088.vo.msecnd.net/app-logo/amazonuk_215.png">
              <a:extLst>
                <a:ext uri="{FF2B5EF4-FFF2-40B4-BE49-F238E27FC236}">
                  <a16:creationId xmlns:a16="http://schemas.microsoft.com/office/drawing/2014/main" id="{F4BB3230-5EAE-4C85-86CD-06358176316A}"/>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211651" y="1975229"/>
              <a:ext cx="448212" cy="448212"/>
            </a:xfrm>
            <a:prstGeom prst="rect">
              <a:avLst/>
            </a:prstGeom>
            <a:noFill/>
            <a:ln w="3175">
              <a:noFill/>
            </a:ln>
            <a:extLst>
              <a:ext uri="{909E8E84-426E-40DD-AFC4-6F175D3DCCD1}">
                <a14:hiddenFill xmlns:a14="http://schemas.microsoft.com/office/drawing/2010/main">
                  <a:solidFill>
                    <a:srgbClr val="FFFFFF"/>
                  </a:solidFill>
                </a14:hiddenFill>
              </a:ext>
            </a:extLst>
          </p:spPr>
        </p:pic>
      </p:grpSp>
      <p:grpSp>
        <p:nvGrpSpPr>
          <p:cNvPr id="49" name="Group 48">
            <a:extLst>
              <a:ext uri="{FF2B5EF4-FFF2-40B4-BE49-F238E27FC236}">
                <a16:creationId xmlns:a16="http://schemas.microsoft.com/office/drawing/2014/main" id="{7C0B525D-F240-4070-9258-52C7C9667761}"/>
              </a:ext>
            </a:extLst>
          </p:cNvPr>
          <p:cNvGrpSpPr/>
          <p:nvPr/>
        </p:nvGrpSpPr>
        <p:grpSpPr>
          <a:xfrm>
            <a:off x="1738942" y="1487089"/>
            <a:ext cx="458591" cy="936352"/>
            <a:chOff x="1738942" y="1487089"/>
            <a:chExt cx="458591" cy="936352"/>
          </a:xfrm>
          <a:solidFill>
            <a:srgbClr val="E6E6E6"/>
          </a:solidFill>
        </p:grpSpPr>
        <p:pic>
          <p:nvPicPr>
            <p:cNvPr id="50" name="Picture 49">
              <a:extLst>
                <a:ext uri="{FF2B5EF4-FFF2-40B4-BE49-F238E27FC236}">
                  <a16:creationId xmlns:a16="http://schemas.microsoft.com/office/drawing/2014/main" id="{1F2E9DCF-6659-4512-B634-22096C245E9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49321" y="1487089"/>
              <a:ext cx="448212" cy="448212"/>
            </a:xfrm>
            <a:prstGeom prst="rect">
              <a:avLst/>
            </a:prstGeom>
            <a:grpFill/>
          </p:spPr>
        </p:pic>
        <p:pic>
          <p:nvPicPr>
            <p:cNvPr id="51" name="Picture 56" descr="https://az495088.vo.msecnd.net/app-logo/linkedin_215.png">
              <a:extLst>
                <a:ext uri="{FF2B5EF4-FFF2-40B4-BE49-F238E27FC236}">
                  <a16:creationId xmlns:a16="http://schemas.microsoft.com/office/drawing/2014/main" id="{FDF5DC72-7AAA-40E6-ABCE-E2F79FFD609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38942" y="1975229"/>
              <a:ext cx="448212" cy="448212"/>
            </a:xfrm>
            <a:prstGeom prst="rect">
              <a:avLst/>
            </a:prstGeom>
            <a:grpFill/>
            <a:extLst/>
          </p:spPr>
        </p:pic>
      </p:grpSp>
      <p:grpSp>
        <p:nvGrpSpPr>
          <p:cNvPr id="52" name="Group 51">
            <a:extLst>
              <a:ext uri="{FF2B5EF4-FFF2-40B4-BE49-F238E27FC236}">
                <a16:creationId xmlns:a16="http://schemas.microsoft.com/office/drawing/2014/main" id="{B8EDC40B-7848-40D1-AA73-0B51E90AA744}"/>
              </a:ext>
            </a:extLst>
          </p:cNvPr>
          <p:cNvGrpSpPr/>
          <p:nvPr/>
        </p:nvGrpSpPr>
        <p:grpSpPr>
          <a:xfrm>
            <a:off x="609648" y="1487089"/>
            <a:ext cx="1007640" cy="1292068"/>
            <a:chOff x="609648" y="1487089"/>
            <a:chExt cx="1007640" cy="1292068"/>
          </a:xfrm>
        </p:grpSpPr>
        <p:pic>
          <p:nvPicPr>
            <p:cNvPr id="53" name="Picture 52" descr="A close up of a fish&#10;&#10;Description generated with high confidence">
              <a:extLst>
                <a:ext uri="{FF2B5EF4-FFF2-40B4-BE49-F238E27FC236}">
                  <a16:creationId xmlns:a16="http://schemas.microsoft.com/office/drawing/2014/main" id="{3325834F-096C-4718-A02A-F48D59B3E17C}"/>
                </a:ext>
              </a:extLst>
            </p:cNvPr>
            <p:cNvPicPr>
              <a:picLocks noChangeAspect="1"/>
            </p:cNvPicPr>
            <p:nvPr/>
          </p:nvPicPr>
          <p:blipFill>
            <a:blip r:embed="rId11"/>
            <a:stretch>
              <a:fillRect/>
            </a:stretch>
          </p:blipFill>
          <p:spPr>
            <a:xfrm>
              <a:off x="700708" y="1487089"/>
              <a:ext cx="448212" cy="448212"/>
            </a:xfrm>
            <a:prstGeom prst="rect">
              <a:avLst/>
            </a:prstGeom>
          </p:spPr>
        </p:pic>
        <p:grpSp>
          <p:nvGrpSpPr>
            <p:cNvPr id="54" name="Group 53">
              <a:extLst>
                <a:ext uri="{FF2B5EF4-FFF2-40B4-BE49-F238E27FC236}">
                  <a16:creationId xmlns:a16="http://schemas.microsoft.com/office/drawing/2014/main" id="{1E32EF22-5AB2-403A-9162-521D1F5E8ABF}"/>
                </a:ext>
              </a:extLst>
            </p:cNvPr>
            <p:cNvGrpSpPr/>
            <p:nvPr/>
          </p:nvGrpSpPr>
          <p:grpSpPr>
            <a:xfrm>
              <a:off x="696045" y="1975229"/>
              <a:ext cx="448212" cy="448212"/>
              <a:chOff x="569427" y="3896425"/>
              <a:chExt cx="457200" cy="457200"/>
            </a:xfrm>
          </p:grpSpPr>
          <p:sp>
            <p:nvSpPr>
              <p:cNvPr id="56" name="Rectangle 55">
                <a:extLst>
                  <a:ext uri="{FF2B5EF4-FFF2-40B4-BE49-F238E27FC236}">
                    <a16:creationId xmlns:a16="http://schemas.microsoft.com/office/drawing/2014/main" id="{5D553EA7-8972-445F-97CC-827203B2AF70}"/>
                  </a:ext>
                </a:extLst>
              </p:cNvPr>
              <p:cNvSpPr/>
              <p:nvPr/>
            </p:nvSpPr>
            <p:spPr bwMode="auto">
              <a:xfrm>
                <a:off x="569427" y="3896425"/>
                <a:ext cx="457200"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latin typeface="Segoe UI Semilight"/>
                </a:endParaRPr>
              </a:p>
            </p:txBody>
          </p:sp>
          <p:pic>
            <p:nvPicPr>
              <p:cNvPr id="57" name="Picture 56">
                <a:extLst>
                  <a:ext uri="{FF2B5EF4-FFF2-40B4-BE49-F238E27FC236}">
                    <a16:creationId xmlns:a16="http://schemas.microsoft.com/office/drawing/2014/main" id="{E014B11B-F69B-4DF6-B056-E30F0AE95F7C}"/>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569427" y="3896425"/>
                <a:ext cx="457200" cy="457200"/>
              </a:xfrm>
              <a:prstGeom prst="rect">
                <a:avLst/>
              </a:prstGeom>
            </p:spPr>
          </p:pic>
        </p:grpSp>
        <p:sp>
          <p:nvSpPr>
            <p:cNvPr id="55" name="Rectangle 54">
              <a:extLst>
                <a:ext uri="{FF2B5EF4-FFF2-40B4-BE49-F238E27FC236}">
                  <a16:creationId xmlns:a16="http://schemas.microsoft.com/office/drawing/2014/main" id="{F2A326A3-D968-4754-BA2C-35A42B41C205}"/>
                </a:ext>
              </a:extLst>
            </p:cNvPr>
            <p:cNvSpPr/>
            <p:nvPr/>
          </p:nvSpPr>
          <p:spPr>
            <a:xfrm>
              <a:off x="609648" y="2471396"/>
              <a:ext cx="1007640" cy="307761"/>
            </a:xfrm>
            <a:prstGeom prst="rect">
              <a:avLst/>
            </a:prstGeom>
          </p:spPr>
          <p:txBody>
            <a:bodyPr wrap="none">
              <a:spAutoFit/>
            </a:bodyPr>
            <a:lstStyle/>
            <a:p>
              <a:pPr defTabSz="914102" fontAlgn="base">
                <a:lnSpc>
                  <a:spcPct val="90000"/>
                </a:lnSpc>
                <a:spcBef>
                  <a:spcPts val="588"/>
                </a:spcBef>
                <a:spcAft>
                  <a:spcPct val="0"/>
                </a:spcAft>
              </a:pPr>
              <a:r>
                <a:rPr lang="en-US" sz="1568">
                  <a:solidFill>
                    <a:srgbClr val="353535"/>
                  </a:solidFill>
                  <a:latin typeface="Segoe UI Semilight"/>
                  <a:cs typeface="Segoe UI" pitchFamily="34" charset="0"/>
                </a:rPr>
                <a:t>Social IDs</a:t>
              </a:r>
            </a:p>
          </p:txBody>
        </p:sp>
      </p:grpSp>
      <p:grpSp>
        <p:nvGrpSpPr>
          <p:cNvPr id="58" name="Group 57">
            <a:extLst>
              <a:ext uri="{FF2B5EF4-FFF2-40B4-BE49-F238E27FC236}">
                <a16:creationId xmlns:a16="http://schemas.microsoft.com/office/drawing/2014/main" id="{C7E2FF66-540A-420F-9268-378CB8873D15}"/>
              </a:ext>
            </a:extLst>
          </p:cNvPr>
          <p:cNvGrpSpPr/>
          <p:nvPr/>
        </p:nvGrpSpPr>
        <p:grpSpPr>
          <a:xfrm>
            <a:off x="696045" y="2985544"/>
            <a:ext cx="571179" cy="938556"/>
            <a:chOff x="638332" y="4687711"/>
            <a:chExt cx="582632" cy="957376"/>
          </a:xfrm>
        </p:grpSpPr>
        <p:grpSp>
          <p:nvGrpSpPr>
            <p:cNvPr id="59" name="Group 58">
              <a:extLst>
                <a:ext uri="{FF2B5EF4-FFF2-40B4-BE49-F238E27FC236}">
                  <a16:creationId xmlns:a16="http://schemas.microsoft.com/office/drawing/2014/main" id="{F6CBB3D0-A1FE-445D-8C99-28EB7C43D53E}"/>
                </a:ext>
              </a:extLst>
            </p:cNvPr>
            <p:cNvGrpSpPr/>
            <p:nvPr/>
          </p:nvGrpSpPr>
          <p:grpSpPr>
            <a:xfrm>
              <a:off x="638332" y="4687711"/>
              <a:ext cx="582632" cy="957376"/>
              <a:chOff x="2397241" y="4380340"/>
              <a:chExt cx="677654" cy="1113516"/>
            </a:xfrm>
          </p:grpSpPr>
          <p:sp>
            <p:nvSpPr>
              <p:cNvPr id="61" name="Freeform: Shape 60">
                <a:extLst>
                  <a:ext uri="{FF2B5EF4-FFF2-40B4-BE49-F238E27FC236}">
                    <a16:creationId xmlns:a16="http://schemas.microsoft.com/office/drawing/2014/main" id="{134872CE-FCF1-4388-AC27-2BB800A65386}"/>
                  </a:ext>
                </a:extLst>
              </p:cNvPr>
              <p:cNvSpPr>
                <a:spLocks noChangeAspect="1"/>
              </p:cNvSpPr>
              <p:nvPr/>
            </p:nvSpPr>
            <p:spPr bwMode="auto">
              <a:xfrm>
                <a:off x="2397241" y="4380340"/>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Oval 61">
                <a:extLst>
                  <a:ext uri="{FF2B5EF4-FFF2-40B4-BE49-F238E27FC236}">
                    <a16:creationId xmlns:a16="http://schemas.microsoft.com/office/drawing/2014/main" id="{BA9851AC-2176-49E9-ABC1-E560DC3EEDA0}"/>
                  </a:ext>
                </a:extLst>
              </p:cNvPr>
              <p:cNvSpPr/>
              <p:nvPr/>
            </p:nvSpPr>
            <p:spPr bwMode="auto">
              <a:xfrm>
                <a:off x="2539628" y="4595904"/>
                <a:ext cx="392881" cy="3928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3" name="Group 62">
                <a:extLst>
                  <a:ext uri="{FF2B5EF4-FFF2-40B4-BE49-F238E27FC236}">
                    <a16:creationId xmlns:a16="http://schemas.microsoft.com/office/drawing/2014/main" id="{1583FFFB-3CF6-4D40-9E97-C3493732E16E}"/>
                  </a:ext>
                </a:extLst>
              </p:cNvPr>
              <p:cNvGrpSpPr/>
              <p:nvPr/>
            </p:nvGrpSpPr>
            <p:grpSpPr>
              <a:xfrm>
                <a:off x="2620879" y="4640420"/>
                <a:ext cx="230378" cy="277325"/>
                <a:chOff x="7132637" y="5315797"/>
                <a:chExt cx="413352" cy="497587"/>
              </a:xfrm>
            </p:grpSpPr>
            <p:sp>
              <p:nvSpPr>
                <p:cNvPr id="64" name="Oval 8">
                  <a:extLst>
                    <a:ext uri="{FF2B5EF4-FFF2-40B4-BE49-F238E27FC236}">
                      <a16:creationId xmlns:a16="http://schemas.microsoft.com/office/drawing/2014/main" id="{C723F152-E772-4DF1-9039-6C050FBBD22D}"/>
                    </a:ext>
                  </a:extLst>
                </p:cNvPr>
                <p:cNvSpPr>
                  <a:spLocks noChangeArrowheads="1"/>
                </p:cNvSpPr>
                <p:nvPr/>
              </p:nvSpPr>
              <p:spPr bwMode="auto">
                <a:xfrm>
                  <a:off x="7192760" y="5315797"/>
                  <a:ext cx="293104" cy="293350"/>
                </a:xfrm>
                <a:prstGeom prst="ellipse">
                  <a:avLst/>
                </a:prstGeom>
                <a:noFill/>
                <a:ln w="12700" cap="flat">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sp>
              <p:nvSpPr>
                <p:cNvPr id="65" name="Freeform 9">
                  <a:extLst>
                    <a:ext uri="{FF2B5EF4-FFF2-40B4-BE49-F238E27FC236}">
                      <a16:creationId xmlns:a16="http://schemas.microsoft.com/office/drawing/2014/main" id="{9A583FE6-349C-4464-B541-390BD121EFEA}"/>
                    </a:ext>
                  </a:extLst>
                </p:cNvPr>
                <p:cNvSpPr>
                  <a:spLocks/>
                </p:cNvSpPr>
                <p:nvPr/>
              </p:nvSpPr>
              <p:spPr bwMode="auto">
                <a:xfrm>
                  <a:off x="7132637" y="5609153"/>
                  <a:ext cx="413352" cy="204231"/>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grpSp>
        </p:grpSp>
        <p:pic>
          <p:nvPicPr>
            <p:cNvPr id="60" name="Picture 59">
              <a:extLst>
                <a:ext uri="{FF2B5EF4-FFF2-40B4-BE49-F238E27FC236}">
                  <a16:creationId xmlns:a16="http://schemas.microsoft.com/office/drawing/2014/main" id="{B1842EDC-E41E-4399-A861-08B26391035C}"/>
                </a:ext>
              </a:extLst>
            </p:cNvPr>
            <p:cNvPicPr>
              <a:picLocks noChangeAspect="1"/>
            </p:cNvPicPr>
            <p:nvPr/>
          </p:nvPicPr>
          <p:blipFill>
            <a:blip r:embed="rId13">
              <a:biLevel thresh="25000"/>
            </a:blip>
            <a:stretch>
              <a:fillRect/>
            </a:stretch>
          </p:blipFill>
          <p:spPr>
            <a:xfrm>
              <a:off x="769628" y="5267941"/>
              <a:ext cx="320040" cy="320040"/>
            </a:xfrm>
            <a:prstGeom prst="rect">
              <a:avLst/>
            </a:prstGeom>
          </p:spPr>
        </p:pic>
      </p:grpSp>
      <p:grpSp>
        <p:nvGrpSpPr>
          <p:cNvPr id="66" name="Group 65">
            <a:extLst>
              <a:ext uri="{FF2B5EF4-FFF2-40B4-BE49-F238E27FC236}">
                <a16:creationId xmlns:a16="http://schemas.microsoft.com/office/drawing/2014/main" id="{424B136E-99AE-4832-944F-D9EA9F199D92}"/>
              </a:ext>
            </a:extLst>
          </p:cNvPr>
          <p:cNvGrpSpPr/>
          <p:nvPr/>
        </p:nvGrpSpPr>
        <p:grpSpPr>
          <a:xfrm>
            <a:off x="1357792" y="2985543"/>
            <a:ext cx="571179" cy="938556"/>
            <a:chOff x="1313349" y="4687710"/>
            <a:chExt cx="582632" cy="957376"/>
          </a:xfrm>
        </p:grpSpPr>
        <p:grpSp>
          <p:nvGrpSpPr>
            <p:cNvPr id="67" name="Group 66">
              <a:extLst>
                <a:ext uri="{FF2B5EF4-FFF2-40B4-BE49-F238E27FC236}">
                  <a16:creationId xmlns:a16="http://schemas.microsoft.com/office/drawing/2014/main" id="{CA4E5A0D-46C8-42FF-9753-808273E58F8E}"/>
                </a:ext>
              </a:extLst>
            </p:cNvPr>
            <p:cNvGrpSpPr/>
            <p:nvPr/>
          </p:nvGrpSpPr>
          <p:grpSpPr>
            <a:xfrm>
              <a:off x="1313349" y="4687710"/>
              <a:ext cx="582632" cy="957376"/>
              <a:chOff x="2397241" y="4380340"/>
              <a:chExt cx="677654" cy="1113516"/>
            </a:xfrm>
          </p:grpSpPr>
          <p:sp>
            <p:nvSpPr>
              <p:cNvPr id="69" name="Freeform: Shape 68">
                <a:extLst>
                  <a:ext uri="{FF2B5EF4-FFF2-40B4-BE49-F238E27FC236}">
                    <a16:creationId xmlns:a16="http://schemas.microsoft.com/office/drawing/2014/main" id="{4B1B99CE-87EF-4BB6-8525-0C1ACB65CAEF}"/>
                  </a:ext>
                </a:extLst>
              </p:cNvPr>
              <p:cNvSpPr>
                <a:spLocks noChangeAspect="1"/>
              </p:cNvSpPr>
              <p:nvPr/>
            </p:nvSpPr>
            <p:spPr bwMode="auto">
              <a:xfrm>
                <a:off x="2397241" y="4380340"/>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8992BD17-6EAB-442E-820E-C3CBB12E1FF3}"/>
                  </a:ext>
                </a:extLst>
              </p:cNvPr>
              <p:cNvSpPr/>
              <p:nvPr/>
            </p:nvSpPr>
            <p:spPr bwMode="auto">
              <a:xfrm>
                <a:off x="2539628" y="4595906"/>
                <a:ext cx="392881" cy="3928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Group 70">
                <a:extLst>
                  <a:ext uri="{FF2B5EF4-FFF2-40B4-BE49-F238E27FC236}">
                    <a16:creationId xmlns:a16="http://schemas.microsoft.com/office/drawing/2014/main" id="{348A1BE2-C6BE-41A1-8665-64B2A50724DA}"/>
                  </a:ext>
                </a:extLst>
              </p:cNvPr>
              <p:cNvGrpSpPr/>
              <p:nvPr/>
            </p:nvGrpSpPr>
            <p:grpSpPr>
              <a:xfrm>
                <a:off x="2620879" y="4640422"/>
                <a:ext cx="230378" cy="277320"/>
                <a:chOff x="7132637" y="5315801"/>
                <a:chExt cx="413352" cy="497578"/>
              </a:xfrm>
            </p:grpSpPr>
            <p:sp>
              <p:nvSpPr>
                <p:cNvPr id="72" name="Oval 8">
                  <a:extLst>
                    <a:ext uri="{FF2B5EF4-FFF2-40B4-BE49-F238E27FC236}">
                      <a16:creationId xmlns:a16="http://schemas.microsoft.com/office/drawing/2014/main" id="{D02F7296-B91E-4A96-9095-FB8DDE1BEBE0}"/>
                    </a:ext>
                  </a:extLst>
                </p:cNvPr>
                <p:cNvSpPr>
                  <a:spLocks noChangeArrowheads="1"/>
                </p:cNvSpPr>
                <p:nvPr/>
              </p:nvSpPr>
              <p:spPr bwMode="auto">
                <a:xfrm>
                  <a:off x="7192760" y="5315801"/>
                  <a:ext cx="293104" cy="293349"/>
                </a:xfrm>
                <a:prstGeom prst="ellipse">
                  <a:avLst/>
                </a:prstGeom>
                <a:noFill/>
                <a:ln w="12700" cap="flat">
                  <a:solidFill>
                    <a:schemeClr val="accent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sp>
              <p:nvSpPr>
                <p:cNvPr id="73" name="Freeform 9">
                  <a:extLst>
                    <a:ext uri="{FF2B5EF4-FFF2-40B4-BE49-F238E27FC236}">
                      <a16:creationId xmlns:a16="http://schemas.microsoft.com/office/drawing/2014/main" id="{08FF6EF0-FBEA-4A25-90F4-F37635CCFC7C}"/>
                    </a:ext>
                  </a:extLst>
                </p:cNvPr>
                <p:cNvSpPr>
                  <a:spLocks/>
                </p:cNvSpPr>
                <p:nvPr/>
              </p:nvSpPr>
              <p:spPr bwMode="auto">
                <a:xfrm>
                  <a:off x="7132637" y="5609150"/>
                  <a:ext cx="413352" cy="204229"/>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chemeClr val="accent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grpSp>
        </p:grpSp>
        <p:sp>
          <p:nvSpPr>
            <p:cNvPr id="68" name="Freeform: Shape 67">
              <a:extLst>
                <a:ext uri="{FF2B5EF4-FFF2-40B4-BE49-F238E27FC236}">
                  <a16:creationId xmlns:a16="http://schemas.microsoft.com/office/drawing/2014/main" id="{E7679EFE-1D24-4BE6-B239-9082C3A2528E}"/>
                </a:ext>
              </a:extLst>
            </p:cNvPr>
            <p:cNvSpPr>
              <a:spLocks noChangeAspect="1"/>
            </p:cNvSpPr>
            <p:nvPr/>
          </p:nvSpPr>
          <p:spPr bwMode="auto">
            <a:xfrm flipH="1">
              <a:off x="1444645" y="5298099"/>
              <a:ext cx="320040" cy="275894"/>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chemeClr val="bg2"/>
            </a:solidFill>
            <a:ln w="152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 name="Group 73">
            <a:extLst>
              <a:ext uri="{FF2B5EF4-FFF2-40B4-BE49-F238E27FC236}">
                <a16:creationId xmlns:a16="http://schemas.microsoft.com/office/drawing/2014/main" id="{F4ED65AD-E6B1-4B3F-BE2B-BE0C19606B32}"/>
              </a:ext>
            </a:extLst>
          </p:cNvPr>
          <p:cNvGrpSpPr/>
          <p:nvPr/>
        </p:nvGrpSpPr>
        <p:grpSpPr>
          <a:xfrm>
            <a:off x="2006640" y="2985543"/>
            <a:ext cx="2208767" cy="997613"/>
            <a:chOff x="2006640" y="2985543"/>
            <a:chExt cx="2208767" cy="997613"/>
          </a:xfrm>
        </p:grpSpPr>
        <p:sp>
          <p:nvSpPr>
            <p:cNvPr id="75" name="Rectangle 74">
              <a:extLst>
                <a:ext uri="{FF2B5EF4-FFF2-40B4-BE49-F238E27FC236}">
                  <a16:creationId xmlns:a16="http://schemas.microsoft.com/office/drawing/2014/main" id="{6B16BA89-F304-4550-98E4-83186130A7A8}"/>
                </a:ext>
              </a:extLst>
            </p:cNvPr>
            <p:cNvSpPr/>
            <p:nvPr/>
          </p:nvSpPr>
          <p:spPr>
            <a:xfrm>
              <a:off x="2609997" y="3456473"/>
              <a:ext cx="1605410" cy="526683"/>
            </a:xfrm>
            <a:prstGeom prst="rect">
              <a:avLst/>
            </a:prstGeom>
          </p:spPr>
          <p:txBody>
            <a:bodyPr wrap="square">
              <a:spAutoFit/>
            </a:bodyPr>
            <a:lstStyle/>
            <a:p>
              <a:pPr defTabSz="914102" fontAlgn="base">
                <a:lnSpc>
                  <a:spcPct val="90000"/>
                </a:lnSpc>
                <a:spcBef>
                  <a:spcPts val="588"/>
                </a:spcBef>
                <a:spcAft>
                  <a:spcPct val="0"/>
                </a:spcAft>
              </a:pPr>
              <a:r>
                <a:rPr lang="en-US" sz="1568">
                  <a:solidFill>
                    <a:srgbClr val="353535"/>
                  </a:solidFill>
                  <a:latin typeface="Segoe UI Semilight"/>
                  <a:cs typeface="Segoe UI" pitchFamily="34" charset="0"/>
                </a:rPr>
                <a:t>Business &amp; </a:t>
              </a:r>
              <a:br>
                <a:rPr lang="en-US" sz="1568">
                  <a:solidFill>
                    <a:srgbClr val="353535"/>
                  </a:solidFill>
                  <a:latin typeface="Segoe UI Semilight"/>
                  <a:cs typeface="Segoe UI" pitchFamily="34" charset="0"/>
                </a:rPr>
              </a:br>
              <a:r>
                <a:rPr lang="en-US" sz="1568">
                  <a:solidFill>
                    <a:srgbClr val="353535"/>
                  </a:solidFill>
                  <a:latin typeface="Segoe UI Semilight"/>
                  <a:cs typeface="Segoe UI" pitchFamily="34" charset="0"/>
                </a:rPr>
                <a:t>Government IDs</a:t>
              </a:r>
            </a:p>
          </p:txBody>
        </p:sp>
        <p:grpSp>
          <p:nvGrpSpPr>
            <p:cNvPr id="76" name="Group 75">
              <a:extLst>
                <a:ext uri="{FF2B5EF4-FFF2-40B4-BE49-F238E27FC236}">
                  <a16:creationId xmlns:a16="http://schemas.microsoft.com/office/drawing/2014/main" id="{B3125BBB-BB88-43B2-A82A-962007DCC637}"/>
                </a:ext>
              </a:extLst>
            </p:cNvPr>
            <p:cNvGrpSpPr/>
            <p:nvPr/>
          </p:nvGrpSpPr>
          <p:grpSpPr>
            <a:xfrm>
              <a:off x="2006640" y="2985543"/>
              <a:ext cx="571179" cy="938556"/>
              <a:chOff x="1975208" y="4687710"/>
              <a:chExt cx="582632" cy="957376"/>
            </a:xfrm>
          </p:grpSpPr>
          <p:grpSp>
            <p:nvGrpSpPr>
              <p:cNvPr id="77" name="Group 76">
                <a:extLst>
                  <a:ext uri="{FF2B5EF4-FFF2-40B4-BE49-F238E27FC236}">
                    <a16:creationId xmlns:a16="http://schemas.microsoft.com/office/drawing/2014/main" id="{E99E8E6F-BF67-46CC-B8A6-9576378A6D19}"/>
                  </a:ext>
                </a:extLst>
              </p:cNvPr>
              <p:cNvGrpSpPr/>
              <p:nvPr/>
            </p:nvGrpSpPr>
            <p:grpSpPr>
              <a:xfrm>
                <a:off x="1975208" y="4687710"/>
                <a:ext cx="582632" cy="957376"/>
                <a:chOff x="2397241" y="4380339"/>
                <a:chExt cx="677654" cy="1113516"/>
              </a:xfrm>
            </p:grpSpPr>
            <p:sp>
              <p:nvSpPr>
                <p:cNvPr id="80" name="Freeform: Shape 79">
                  <a:extLst>
                    <a:ext uri="{FF2B5EF4-FFF2-40B4-BE49-F238E27FC236}">
                      <a16:creationId xmlns:a16="http://schemas.microsoft.com/office/drawing/2014/main" id="{D807B659-1423-47F2-8B22-CE0A810995C7}"/>
                    </a:ext>
                  </a:extLst>
                </p:cNvPr>
                <p:cNvSpPr>
                  <a:spLocks noChangeAspect="1"/>
                </p:cNvSpPr>
                <p:nvPr/>
              </p:nvSpPr>
              <p:spPr bwMode="auto">
                <a:xfrm>
                  <a:off x="2397241" y="4380339"/>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a:extLst>
                    <a:ext uri="{FF2B5EF4-FFF2-40B4-BE49-F238E27FC236}">
                      <a16:creationId xmlns:a16="http://schemas.microsoft.com/office/drawing/2014/main" id="{D0E8DBF2-EC2A-4F8C-BD04-D6CBF9186C71}"/>
                    </a:ext>
                  </a:extLst>
                </p:cNvPr>
                <p:cNvSpPr/>
                <p:nvPr/>
              </p:nvSpPr>
              <p:spPr bwMode="auto">
                <a:xfrm>
                  <a:off x="2539628" y="4595904"/>
                  <a:ext cx="392881" cy="3928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2" name="Group 81">
                  <a:extLst>
                    <a:ext uri="{FF2B5EF4-FFF2-40B4-BE49-F238E27FC236}">
                      <a16:creationId xmlns:a16="http://schemas.microsoft.com/office/drawing/2014/main" id="{3A84ADF2-E93C-4016-B8A4-17F03872C935}"/>
                    </a:ext>
                  </a:extLst>
                </p:cNvPr>
                <p:cNvGrpSpPr/>
                <p:nvPr/>
              </p:nvGrpSpPr>
              <p:grpSpPr>
                <a:xfrm>
                  <a:off x="2620879" y="4640413"/>
                  <a:ext cx="230378" cy="277327"/>
                  <a:chOff x="7132637" y="5315790"/>
                  <a:chExt cx="413352" cy="497591"/>
                </a:xfrm>
              </p:grpSpPr>
              <p:sp>
                <p:nvSpPr>
                  <p:cNvPr id="83" name="Oval 8">
                    <a:extLst>
                      <a:ext uri="{FF2B5EF4-FFF2-40B4-BE49-F238E27FC236}">
                        <a16:creationId xmlns:a16="http://schemas.microsoft.com/office/drawing/2014/main" id="{48743D4E-A2EF-4907-A40E-2B421770B692}"/>
                      </a:ext>
                    </a:extLst>
                  </p:cNvPr>
                  <p:cNvSpPr>
                    <a:spLocks noChangeArrowheads="1"/>
                  </p:cNvSpPr>
                  <p:nvPr/>
                </p:nvSpPr>
                <p:spPr bwMode="auto">
                  <a:xfrm>
                    <a:off x="7192760" y="5315790"/>
                    <a:ext cx="293104" cy="293349"/>
                  </a:xfrm>
                  <a:prstGeom prst="ellipse">
                    <a:avLst/>
                  </a:prstGeom>
                  <a:noFill/>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sp>
                <p:nvSpPr>
                  <p:cNvPr id="84" name="Freeform 9">
                    <a:extLst>
                      <a:ext uri="{FF2B5EF4-FFF2-40B4-BE49-F238E27FC236}">
                        <a16:creationId xmlns:a16="http://schemas.microsoft.com/office/drawing/2014/main" id="{14DF6E83-81A1-4A6E-9B28-817E57AED0A9}"/>
                      </a:ext>
                    </a:extLst>
                  </p:cNvPr>
                  <p:cNvSpPr>
                    <a:spLocks/>
                  </p:cNvSpPr>
                  <p:nvPr/>
                </p:nvSpPr>
                <p:spPr bwMode="auto">
                  <a:xfrm>
                    <a:off x="7132637" y="5609150"/>
                    <a:ext cx="413352" cy="204231"/>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grpSp>
          </p:grpSp>
          <p:pic>
            <p:nvPicPr>
              <p:cNvPr id="78" name="Picture 77">
                <a:extLst>
                  <a:ext uri="{FF2B5EF4-FFF2-40B4-BE49-F238E27FC236}">
                    <a16:creationId xmlns:a16="http://schemas.microsoft.com/office/drawing/2014/main" id="{6FFA058D-A04B-420C-A748-E456DB56C2F8}"/>
                  </a:ext>
                </a:extLst>
              </p:cNvPr>
              <p:cNvPicPr>
                <a:picLocks noChangeAspect="1"/>
              </p:cNvPicPr>
              <p:nvPr/>
            </p:nvPicPr>
            <p:blipFill>
              <a:blip r:embed="rId14"/>
              <a:stretch>
                <a:fillRect/>
              </a:stretch>
            </p:blipFill>
            <p:spPr>
              <a:xfrm>
                <a:off x="2168606" y="5288137"/>
                <a:ext cx="195836" cy="195836"/>
              </a:xfrm>
              <a:prstGeom prst="rect">
                <a:avLst/>
              </a:prstGeom>
            </p:spPr>
          </p:pic>
          <p:sp>
            <p:nvSpPr>
              <p:cNvPr id="79" name="TextBox 78">
                <a:extLst>
                  <a:ext uri="{FF2B5EF4-FFF2-40B4-BE49-F238E27FC236}">
                    <a16:creationId xmlns:a16="http://schemas.microsoft.com/office/drawing/2014/main" id="{36F4458F-5733-4D18-96B6-C994C326906D}"/>
                  </a:ext>
                </a:extLst>
              </p:cNvPr>
              <p:cNvSpPr txBox="1"/>
              <p:nvPr/>
            </p:nvSpPr>
            <p:spPr>
              <a:xfrm>
                <a:off x="2033099" y="5482185"/>
                <a:ext cx="466850" cy="96950"/>
              </a:xfrm>
              <a:prstGeom prst="rect">
                <a:avLst/>
              </a:prstGeom>
              <a:noFill/>
            </p:spPr>
            <p:txBody>
              <a:bodyPr wrap="square" lIns="0" tIns="0" rIns="0" bIns="0" rtlCol="0">
                <a:spAutoFit/>
              </a:bodyPr>
              <a:lstStyle/>
              <a:p>
                <a:pPr algn="ctr" defTabSz="914367">
                  <a:lnSpc>
                    <a:spcPct val="90000"/>
                  </a:lnSpc>
                  <a:spcAft>
                    <a:spcPts val="588"/>
                  </a:spcAft>
                </a:pPr>
                <a:r>
                  <a:rPr lang="en-US" sz="686">
                    <a:solidFill>
                      <a:srgbClr val="FFFFFF"/>
                    </a:solidFill>
                    <a:latin typeface="Georgia" panose="02040502050405020303" pitchFamily="18" charset="0"/>
                  </a:rPr>
                  <a:t>contoso</a:t>
                </a:r>
              </a:p>
            </p:txBody>
          </p:sp>
        </p:grpSp>
      </p:grpSp>
      <p:grpSp>
        <p:nvGrpSpPr>
          <p:cNvPr id="85" name="Group 84">
            <a:extLst>
              <a:ext uri="{FF2B5EF4-FFF2-40B4-BE49-F238E27FC236}">
                <a16:creationId xmlns:a16="http://schemas.microsoft.com/office/drawing/2014/main" id="{173A6115-23C1-4494-A307-49760FCF4FED}"/>
              </a:ext>
            </a:extLst>
          </p:cNvPr>
          <p:cNvGrpSpPr/>
          <p:nvPr/>
        </p:nvGrpSpPr>
        <p:grpSpPr>
          <a:xfrm>
            <a:off x="2791882" y="2163060"/>
            <a:ext cx="1450041" cy="1077728"/>
            <a:chOff x="3110688" y="1759347"/>
            <a:chExt cx="1450041" cy="1077728"/>
          </a:xfrm>
        </p:grpSpPr>
        <p:sp>
          <p:nvSpPr>
            <p:cNvPr id="86" name="Rectangle 85">
              <a:extLst>
                <a:ext uri="{FF2B5EF4-FFF2-40B4-BE49-F238E27FC236}">
                  <a16:creationId xmlns:a16="http://schemas.microsoft.com/office/drawing/2014/main" id="{E4CB045A-57C6-462C-BE46-38C613D1D9E7}"/>
                </a:ext>
              </a:extLst>
            </p:cNvPr>
            <p:cNvSpPr/>
            <p:nvPr/>
          </p:nvSpPr>
          <p:spPr>
            <a:xfrm>
              <a:off x="3260996" y="1759347"/>
              <a:ext cx="1149424" cy="526683"/>
            </a:xfrm>
            <a:prstGeom prst="rect">
              <a:avLst/>
            </a:prstGeom>
          </p:spPr>
          <p:txBody>
            <a:bodyPr wrap="square">
              <a:spAutoFit/>
            </a:bodyPr>
            <a:lstStyle/>
            <a:p>
              <a:pPr algn="ctr" defTabSz="914102" fontAlgn="base">
                <a:lnSpc>
                  <a:spcPct val="90000"/>
                </a:lnSpc>
                <a:spcBef>
                  <a:spcPts val="588"/>
                </a:spcBef>
                <a:spcAft>
                  <a:spcPct val="0"/>
                </a:spcAft>
              </a:pPr>
              <a:r>
                <a:rPr lang="en-US" sz="1568">
                  <a:solidFill>
                    <a:srgbClr val="353535"/>
                  </a:solidFill>
                  <a:latin typeface="Segoe UI Semilight"/>
                  <a:cs typeface="Segoe UI" pitchFamily="34" charset="0"/>
                </a:rPr>
                <a:t>Any SAML </a:t>
              </a:r>
              <a:br>
                <a:rPr lang="en-US" sz="1568">
                  <a:solidFill>
                    <a:srgbClr val="353535"/>
                  </a:solidFill>
                  <a:latin typeface="Segoe UI Semilight"/>
                  <a:cs typeface="Segoe UI" pitchFamily="34" charset="0"/>
                </a:rPr>
              </a:br>
              <a:r>
                <a:rPr lang="en-US" sz="1568">
                  <a:solidFill>
                    <a:srgbClr val="353535"/>
                  </a:solidFill>
                  <a:latin typeface="Segoe UI Semilight"/>
                  <a:cs typeface="Segoe UI" pitchFamily="34" charset="0"/>
                </a:rPr>
                <a:t>provider</a:t>
              </a:r>
            </a:p>
          </p:txBody>
        </p:sp>
        <p:pic>
          <p:nvPicPr>
            <p:cNvPr id="87" name="Picture 86">
              <a:extLst>
                <a:ext uri="{FF2B5EF4-FFF2-40B4-BE49-F238E27FC236}">
                  <a16:creationId xmlns:a16="http://schemas.microsoft.com/office/drawing/2014/main" id="{65C217C7-1B05-4B3B-8114-C88F0C6A0ADA}"/>
                </a:ext>
              </a:extLst>
            </p:cNvPr>
            <p:cNvPicPr>
              <a:picLocks noChangeAspect="1"/>
            </p:cNvPicPr>
            <p:nvPr/>
          </p:nvPicPr>
          <p:blipFill>
            <a:blip r:embed="rId15"/>
            <a:stretch>
              <a:fillRect/>
            </a:stretch>
          </p:blipFill>
          <p:spPr>
            <a:xfrm>
              <a:off x="3110688" y="2218268"/>
              <a:ext cx="1450041" cy="618807"/>
            </a:xfrm>
            <a:prstGeom prst="rect">
              <a:avLst/>
            </a:prstGeom>
          </p:spPr>
        </p:pic>
      </p:grpSp>
      <p:sp>
        <p:nvSpPr>
          <p:cNvPr id="88" name="Rectangle: Rounded Corners 87">
            <a:extLst>
              <a:ext uri="{FF2B5EF4-FFF2-40B4-BE49-F238E27FC236}">
                <a16:creationId xmlns:a16="http://schemas.microsoft.com/office/drawing/2014/main" id="{1ADEF901-59C2-4B8C-88BA-6BC75010C0EF}"/>
              </a:ext>
            </a:extLst>
          </p:cNvPr>
          <p:cNvSpPr/>
          <p:nvPr/>
        </p:nvSpPr>
        <p:spPr bwMode="auto">
          <a:xfrm>
            <a:off x="457200" y="1209435"/>
            <a:ext cx="3996025" cy="3044021"/>
          </a:xfrm>
          <a:prstGeom prst="roundRect">
            <a:avLst>
              <a:gd name="adj" fmla="val 14246"/>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353535">
                      <a:alpha val="49000"/>
                    </a:srgbClr>
                  </a:gs>
                  <a:gs pos="100000">
                    <a:srgbClr val="353535">
                      <a:alpha val="49000"/>
                    </a:srgbClr>
                  </a:gs>
                </a:gsLst>
                <a:lin ang="5400000" scaled="0"/>
              </a:gradFill>
              <a:effectLst/>
              <a:uLnTx/>
              <a:uFillTx/>
              <a:latin typeface="Segoe UI Semilight"/>
              <a:ea typeface="+mn-ea"/>
              <a:cs typeface="+mn-cs"/>
            </a:endParaRPr>
          </a:p>
        </p:txBody>
      </p:sp>
      <p:sp useBgFill="1">
        <p:nvSpPr>
          <p:cNvPr id="89" name="Rectangle 88">
            <a:extLst>
              <a:ext uri="{FF2B5EF4-FFF2-40B4-BE49-F238E27FC236}">
                <a16:creationId xmlns:a16="http://schemas.microsoft.com/office/drawing/2014/main" id="{00E593DE-8F96-4B7F-A7A1-1944BE04729F}"/>
              </a:ext>
            </a:extLst>
          </p:cNvPr>
          <p:cNvSpPr/>
          <p:nvPr/>
        </p:nvSpPr>
        <p:spPr bwMode="auto">
          <a:xfrm>
            <a:off x="1567792" y="4049677"/>
            <a:ext cx="1774840" cy="50541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0" name="TextBox 89">
            <a:extLst>
              <a:ext uri="{FF2B5EF4-FFF2-40B4-BE49-F238E27FC236}">
                <a16:creationId xmlns:a16="http://schemas.microsoft.com/office/drawing/2014/main" id="{69D92F2D-6A90-439F-AE55-B321AFFF1F2A}"/>
              </a:ext>
            </a:extLst>
          </p:cNvPr>
          <p:cNvSpPr txBox="1"/>
          <p:nvPr/>
        </p:nvSpPr>
        <p:spPr>
          <a:xfrm>
            <a:off x="861754" y="4017730"/>
            <a:ext cx="3186916" cy="387798"/>
          </a:xfrm>
          <a:prstGeom prst="rect">
            <a:avLst/>
          </a:prstGeom>
          <a:noFill/>
        </p:spPr>
        <p:txBody>
          <a:bodyPr wrap="square" lIns="0" tIns="0" rIns="0" bIns="0" rtlCol="0" anchor="ctr" anchorCtr="0">
            <a:spAutoFit/>
          </a:bodyPr>
          <a:lstStyle/>
          <a:p>
            <a:pPr lvl="0" algn="ctr" defTabSz="932742">
              <a:lnSpc>
                <a:spcPct val="90000"/>
              </a:lnSpc>
              <a:spcBef>
                <a:spcPct val="0"/>
              </a:spcBef>
              <a:spcAft>
                <a:spcPts val="600"/>
              </a:spcAft>
              <a:defRPr/>
            </a:pPr>
            <a:r>
              <a:rPr lang="en-US" sz="2800">
                <a:ln w="3175">
                  <a:noFill/>
                </a:ln>
                <a:gradFill>
                  <a:gsLst>
                    <a:gs pos="32240">
                      <a:srgbClr val="002050"/>
                    </a:gs>
                    <a:gs pos="59000">
                      <a:srgbClr val="002050"/>
                    </a:gs>
                  </a:gsLst>
                  <a:lin ang="5400000" scaled="0"/>
                </a:gradFill>
                <a:cs typeface="Segoe UI" pitchFamily="34" charset="0"/>
              </a:rPr>
              <a:t>Customers</a:t>
            </a:r>
          </a:p>
        </p:txBody>
      </p:sp>
      <p:sp>
        <p:nvSpPr>
          <p:cNvPr id="91" name="Rectangle: Rounded Corners 90">
            <a:extLst>
              <a:ext uri="{FF2B5EF4-FFF2-40B4-BE49-F238E27FC236}">
                <a16:creationId xmlns:a16="http://schemas.microsoft.com/office/drawing/2014/main" id="{B1D07298-43A8-440F-8455-100089C0727B}"/>
              </a:ext>
            </a:extLst>
          </p:cNvPr>
          <p:cNvSpPr/>
          <p:nvPr/>
        </p:nvSpPr>
        <p:spPr bwMode="auto">
          <a:xfrm>
            <a:off x="8106810" y="1225182"/>
            <a:ext cx="3621210" cy="3044021"/>
          </a:xfrm>
          <a:prstGeom prst="roundRect">
            <a:avLst>
              <a:gd name="adj" fmla="val 14246"/>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353535">
                      <a:alpha val="49000"/>
                    </a:srgbClr>
                  </a:gs>
                  <a:gs pos="100000">
                    <a:srgbClr val="353535">
                      <a:alpha val="49000"/>
                    </a:srgbClr>
                  </a:gs>
                </a:gsLst>
                <a:lin ang="5400000" scaled="0"/>
              </a:gradFill>
              <a:effectLst/>
              <a:uLnTx/>
              <a:uFillTx/>
              <a:latin typeface="Segoe UI Semilight"/>
              <a:ea typeface="+mn-ea"/>
              <a:cs typeface="+mn-cs"/>
            </a:endParaRPr>
          </a:p>
        </p:txBody>
      </p:sp>
      <p:sp useBgFill="1">
        <p:nvSpPr>
          <p:cNvPr id="92" name="Rectangle 91">
            <a:extLst>
              <a:ext uri="{FF2B5EF4-FFF2-40B4-BE49-F238E27FC236}">
                <a16:creationId xmlns:a16="http://schemas.microsoft.com/office/drawing/2014/main" id="{108A6349-202C-414D-B7D2-9271B90162FD}"/>
              </a:ext>
            </a:extLst>
          </p:cNvPr>
          <p:cNvSpPr/>
          <p:nvPr/>
        </p:nvSpPr>
        <p:spPr bwMode="auto">
          <a:xfrm>
            <a:off x="9225032" y="4065424"/>
            <a:ext cx="1384766" cy="50541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3" name="TextBox 92">
            <a:extLst>
              <a:ext uri="{FF2B5EF4-FFF2-40B4-BE49-F238E27FC236}">
                <a16:creationId xmlns:a16="http://schemas.microsoft.com/office/drawing/2014/main" id="{B4FDDCD6-FA28-4DFB-A1F5-0BE462F72929}"/>
              </a:ext>
            </a:extLst>
          </p:cNvPr>
          <p:cNvSpPr txBox="1"/>
          <p:nvPr/>
        </p:nvSpPr>
        <p:spPr>
          <a:xfrm>
            <a:off x="8106810" y="4033477"/>
            <a:ext cx="3621210" cy="387798"/>
          </a:xfrm>
          <a:prstGeom prst="rect">
            <a:avLst/>
          </a:prstGeom>
          <a:noFill/>
        </p:spPr>
        <p:txBody>
          <a:bodyPr wrap="square" lIns="0" tIns="0" rIns="0" bIns="0" rtlCol="0" anchor="ctr" anchorCtr="0">
            <a:spAutoFit/>
          </a:bodyPr>
          <a:lstStyle/>
          <a:p>
            <a:pPr lvl="0" algn="ctr" defTabSz="932742">
              <a:lnSpc>
                <a:spcPct val="90000"/>
              </a:lnSpc>
              <a:spcBef>
                <a:spcPct val="0"/>
              </a:spcBef>
              <a:spcAft>
                <a:spcPts val="600"/>
              </a:spcAft>
              <a:defRPr/>
            </a:pPr>
            <a:r>
              <a:rPr lang="en-US" sz="2800">
                <a:ln w="3175">
                  <a:noFill/>
                </a:ln>
                <a:gradFill>
                  <a:gsLst>
                    <a:gs pos="32240">
                      <a:srgbClr val="002050"/>
                    </a:gs>
                    <a:gs pos="59000">
                      <a:srgbClr val="002050"/>
                    </a:gs>
                  </a:gsLst>
                  <a:lin ang="5400000" scaled="0"/>
                </a:gradFill>
                <a:cs typeface="Segoe UI" pitchFamily="34" charset="0"/>
              </a:rPr>
              <a:t>Business</a:t>
            </a:r>
          </a:p>
        </p:txBody>
      </p:sp>
      <p:sp>
        <p:nvSpPr>
          <p:cNvPr id="94" name="Freeform: Shape 93">
            <a:extLst>
              <a:ext uri="{FF2B5EF4-FFF2-40B4-BE49-F238E27FC236}">
                <a16:creationId xmlns:a16="http://schemas.microsoft.com/office/drawing/2014/main" id="{98B370B0-0943-421B-A80A-A8483C430C5A}"/>
              </a:ext>
            </a:extLst>
          </p:cNvPr>
          <p:cNvSpPr/>
          <p:nvPr/>
        </p:nvSpPr>
        <p:spPr bwMode="auto">
          <a:xfrm rot="13500000">
            <a:off x="9241009" y="2066233"/>
            <a:ext cx="1261527" cy="1132622"/>
          </a:xfrm>
          <a:custGeom>
            <a:avLst/>
            <a:gdLst>
              <a:gd name="connsiteX0" fmla="*/ 1261527 w 1261527"/>
              <a:gd name="connsiteY0" fmla="*/ 1132622 h 1132622"/>
              <a:gd name="connsiteX1" fmla="*/ 629758 w 1261527"/>
              <a:gd name="connsiteY1" fmla="*/ 500853 h 1132622"/>
              <a:gd name="connsiteX2" fmla="*/ 0 w 1261527"/>
              <a:gd name="connsiteY2" fmla="*/ 1130610 h 1132622"/>
              <a:gd name="connsiteX3" fmla="*/ 282653 w 1261527"/>
              <a:gd name="connsiteY3" fmla="*/ 0 h 1132622"/>
              <a:gd name="connsiteX4" fmla="*/ 978372 w 1261527"/>
              <a:gd name="connsiteY4" fmla="*/ 0 h 1132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527" h="1132622">
                <a:moveTo>
                  <a:pt x="1261527" y="1132622"/>
                </a:moveTo>
                <a:lnTo>
                  <a:pt x="629758" y="500853"/>
                </a:lnTo>
                <a:lnTo>
                  <a:pt x="0" y="1130610"/>
                </a:lnTo>
                <a:lnTo>
                  <a:pt x="282653" y="0"/>
                </a:lnTo>
                <a:lnTo>
                  <a:pt x="978372"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grpSp>
        <p:nvGrpSpPr>
          <p:cNvPr id="95" name="Group 94">
            <a:extLst>
              <a:ext uri="{FF2B5EF4-FFF2-40B4-BE49-F238E27FC236}">
                <a16:creationId xmlns:a16="http://schemas.microsoft.com/office/drawing/2014/main" id="{D130B372-7C27-4F00-A6CD-1CF74BA7351E}"/>
              </a:ext>
            </a:extLst>
          </p:cNvPr>
          <p:cNvGrpSpPr/>
          <p:nvPr/>
        </p:nvGrpSpPr>
        <p:grpSpPr>
          <a:xfrm>
            <a:off x="8486826" y="2592737"/>
            <a:ext cx="1465365" cy="1131896"/>
            <a:chOff x="8486826" y="2592737"/>
            <a:chExt cx="1465365" cy="1131896"/>
          </a:xfrm>
        </p:grpSpPr>
        <p:sp>
          <p:nvSpPr>
            <p:cNvPr id="96" name="Rectangle 95">
              <a:extLst>
                <a:ext uri="{FF2B5EF4-FFF2-40B4-BE49-F238E27FC236}">
                  <a16:creationId xmlns:a16="http://schemas.microsoft.com/office/drawing/2014/main" id="{0ADC2BA0-B483-4D26-A84C-5E9B582335A0}"/>
                </a:ext>
              </a:extLst>
            </p:cNvPr>
            <p:cNvSpPr/>
            <p:nvPr/>
          </p:nvSpPr>
          <p:spPr>
            <a:xfrm>
              <a:off x="8486826" y="3416872"/>
              <a:ext cx="624197" cy="307761"/>
            </a:xfrm>
            <a:prstGeom prst="rect">
              <a:avLst/>
            </a:prstGeom>
          </p:spPr>
          <p:txBody>
            <a:bodyPr wrap="none">
              <a:spAutoFit/>
            </a:bodyPr>
            <a:lstStyle/>
            <a:p>
              <a:pPr defTabSz="914102" fontAlgn="base">
                <a:lnSpc>
                  <a:spcPct val="90000"/>
                </a:lnSpc>
                <a:spcBef>
                  <a:spcPts val="588"/>
                </a:spcBef>
                <a:spcAft>
                  <a:spcPct val="0"/>
                </a:spcAft>
              </a:pPr>
              <a:r>
                <a:rPr lang="en-US" sz="1568">
                  <a:solidFill>
                    <a:srgbClr val="353535"/>
                  </a:solidFill>
                  <a:latin typeface="Segoe UI Semilight"/>
                  <a:ea typeface="Segoe UI" pitchFamily="34" charset="0"/>
                  <a:cs typeface="Segoe UI" pitchFamily="34" charset="0"/>
                </a:rPr>
                <a:t>Apps</a:t>
              </a:r>
            </a:p>
          </p:txBody>
        </p:sp>
        <p:grpSp>
          <p:nvGrpSpPr>
            <p:cNvPr id="97" name="Group 96">
              <a:extLst>
                <a:ext uri="{FF2B5EF4-FFF2-40B4-BE49-F238E27FC236}">
                  <a16:creationId xmlns:a16="http://schemas.microsoft.com/office/drawing/2014/main" id="{EEFB2182-21C4-4467-91C0-2A6B81CCA256}"/>
                </a:ext>
              </a:extLst>
            </p:cNvPr>
            <p:cNvGrpSpPr/>
            <p:nvPr/>
          </p:nvGrpSpPr>
          <p:grpSpPr>
            <a:xfrm flipH="1">
              <a:off x="8525064" y="2592737"/>
              <a:ext cx="1427127" cy="770602"/>
              <a:chOff x="3529673" y="2550102"/>
              <a:chExt cx="1727147" cy="932603"/>
            </a:xfrm>
            <a:solidFill>
              <a:srgbClr val="F2F2F2"/>
            </a:solidFill>
          </p:grpSpPr>
          <p:grpSp>
            <p:nvGrpSpPr>
              <p:cNvPr id="98" name="Group 97">
                <a:extLst>
                  <a:ext uri="{FF2B5EF4-FFF2-40B4-BE49-F238E27FC236}">
                    <a16:creationId xmlns:a16="http://schemas.microsoft.com/office/drawing/2014/main" id="{08521697-E210-4CA2-BBDC-7B7A0103B667}"/>
                  </a:ext>
                </a:extLst>
              </p:cNvPr>
              <p:cNvGrpSpPr>
                <a:grpSpLocks noChangeAspect="1"/>
              </p:cNvGrpSpPr>
              <p:nvPr/>
            </p:nvGrpSpPr>
            <p:grpSpPr>
              <a:xfrm>
                <a:off x="4156130" y="2550102"/>
                <a:ext cx="1100690" cy="932603"/>
                <a:chOff x="4947743" y="5339803"/>
                <a:chExt cx="825499" cy="706436"/>
              </a:xfrm>
              <a:grpFill/>
            </p:grpSpPr>
            <p:sp>
              <p:nvSpPr>
                <p:cNvPr id="102" name="Freeform 5">
                  <a:extLst>
                    <a:ext uri="{FF2B5EF4-FFF2-40B4-BE49-F238E27FC236}">
                      <a16:creationId xmlns:a16="http://schemas.microsoft.com/office/drawing/2014/main" id="{09BC98E7-F16A-4CF2-9F36-A170A1506E5E}"/>
                    </a:ext>
                  </a:extLst>
                </p:cNvPr>
                <p:cNvSpPr>
                  <a:spLocks/>
                </p:cNvSpPr>
                <p:nvPr/>
              </p:nvSpPr>
              <p:spPr bwMode="auto">
                <a:xfrm>
                  <a:off x="5217618" y="5870026"/>
                  <a:ext cx="211136" cy="106364"/>
                </a:xfrm>
                <a:custGeom>
                  <a:avLst/>
                  <a:gdLst>
                    <a:gd name="T0" fmla="*/ 42 w 48"/>
                    <a:gd name="T1" fmla="*/ 0 h 24"/>
                    <a:gd name="T2" fmla="*/ 42 w 48"/>
                    <a:gd name="T3" fmla="*/ 11 h 24"/>
                    <a:gd name="T4" fmla="*/ 48 w 48"/>
                    <a:gd name="T5" fmla="*/ 22 h 24"/>
                    <a:gd name="T6" fmla="*/ 45 w 48"/>
                    <a:gd name="T7" fmla="*/ 23 h 24"/>
                    <a:gd name="T8" fmla="*/ 3 w 48"/>
                    <a:gd name="T9" fmla="*/ 23 h 24"/>
                    <a:gd name="T10" fmla="*/ 0 w 48"/>
                    <a:gd name="T11" fmla="*/ 22 h 24"/>
                    <a:gd name="T12" fmla="*/ 6 w 48"/>
                    <a:gd name="T13" fmla="*/ 11 h 24"/>
                    <a:gd name="T14" fmla="*/ 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2" y="0"/>
                      </a:moveTo>
                      <a:cubicBezTo>
                        <a:pt x="42" y="11"/>
                        <a:pt x="42" y="11"/>
                        <a:pt x="42" y="11"/>
                      </a:cubicBezTo>
                      <a:cubicBezTo>
                        <a:pt x="48" y="22"/>
                        <a:pt x="48" y="22"/>
                        <a:pt x="48" y="22"/>
                      </a:cubicBezTo>
                      <a:cubicBezTo>
                        <a:pt x="48" y="24"/>
                        <a:pt x="47" y="23"/>
                        <a:pt x="45" y="23"/>
                      </a:cubicBezTo>
                      <a:cubicBezTo>
                        <a:pt x="3" y="23"/>
                        <a:pt x="3" y="23"/>
                        <a:pt x="3" y="23"/>
                      </a:cubicBezTo>
                      <a:cubicBezTo>
                        <a:pt x="1" y="23"/>
                        <a:pt x="0" y="24"/>
                        <a:pt x="0" y="22"/>
                      </a:cubicBezTo>
                      <a:cubicBezTo>
                        <a:pt x="6" y="11"/>
                        <a:pt x="6" y="11"/>
                        <a:pt x="6" y="11"/>
                      </a:cubicBezTo>
                      <a:cubicBezTo>
                        <a:pt x="6" y="0"/>
                        <a:pt x="6" y="0"/>
                        <a:pt x="6" y="0"/>
                      </a:cubicBezTo>
                    </a:path>
                  </a:pathLst>
                </a:custGeom>
                <a:grpFill/>
                <a:ln w="12700" cap="flat">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sp>
              <p:nvSpPr>
                <p:cNvPr id="103" name="Freeform 6">
                  <a:extLst>
                    <a:ext uri="{FF2B5EF4-FFF2-40B4-BE49-F238E27FC236}">
                      <a16:creationId xmlns:a16="http://schemas.microsoft.com/office/drawing/2014/main" id="{5881CE43-E0A5-44E9-AF14-0073A44EECC2}"/>
                    </a:ext>
                  </a:extLst>
                </p:cNvPr>
                <p:cNvSpPr>
                  <a:spLocks/>
                </p:cNvSpPr>
                <p:nvPr/>
              </p:nvSpPr>
              <p:spPr bwMode="auto">
                <a:xfrm>
                  <a:off x="4947743" y="5339803"/>
                  <a:ext cx="742950" cy="531812"/>
                </a:xfrm>
                <a:custGeom>
                  <a:avLst/>
                  <a:gdLst>
                    <a:gd name="T0" fmla="*/ 118 w 168"/>
                    <a:gd name="T1" fmla="*/ 120 h 120"/>
                    <a:gd name="T2" fmla="*/ 10 w 168"/>
                    <a:gd name="T3" fmla="*/ 120 h 120"/>
                    <a:gd name="T4" fmla="*/ 0 w 168"/>
                    <a:gd name="T5" fmla="*/ 110 h 120"/>
                    <a:gd name="T6" fmla="*/ 0 w 168"/>
                    <a:gd name="T7" fmla="*/ 10 h 120"/>
                    <a:gd name="T8" fmla="*/ 10 w 168"/>
                    <a:gd name="T9" fmla="*/ 0 h 120"/>
                    <a:gd name="T10" fmla="*/ 158 w 168"/>
                    <a:gd name="T11" fmla="*/ 0 h 120"/>
                    <a:gd name="T12" fmla="*/ 168 w 168"/>
                    <a:gd name="T13" fmla="*/ 10 h 120"/>
                    <a:gd name="T14" fmla="*/ 168 w 168"/>
                    <a:gd name="T15" fmla="*/ 29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20">
                      <a:moveTo>
                        <a:pt x="118" y="120"/>
                      </a:moveTo>
                      <a:cubicBezTo>
                        <a:pt x="10" y="120"/>
                        <a:pt x="10" y="120"/>
                        <a:pt x="10" y="120"/>
                      </a:cubicBezTo>
                      <a:cubicBezTo>
                        <a:pt x="4" y="120"/>
                        <a:pt x="0" y="115"/>
                        <a:pt x="0" y="110"/>
                      </a:cubicBezTo>
                      <a:cubicBezTo>
                        <a:pt x="0" y="10"/>
                        <a:pt x="0" y="10"/>
                        <a:pt x="0" y="10"/>
                      </a:cubicBezTo>
                      <a:cubicBezTo>
                        <a:pt x="0" y="4"/>
                        <a:pt x="4" y="0"/>
                        <a:pt x="10" y="0"/>
                      </a:cubicBezTo>
                      <a:cubicBezTo>
                        <a:pt x="158" y="0"/>
                        <a:pt x="158" y="0"/>
                        <a:pt x="158" y="0"/>
                      </a:cubicBezTo>
                      <a:cubicBezTo>
                        <a:pt x="164" y="0"/>
                        <a:pt x="168" y="4"/>
                        <a:pt x="168" y="10"/>
                      </a:cubicBezTo>
                      <a:cubicBezTo>
                        <a:pt x="168" y="29"/>
                        <a:pt x="168" y="29"/>
                        <a:pt x="168" y="29"/>
                      </a:cubicBezTo>
                    </a:path>
                  </a:pathLst>
                </a:custGeom>
                <a:grpFill/>
                <a:ln w="12700" cap="flat">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sp>
              <p:nvSpPr>
                <p:cNvPr id="104" name="Freeform 7">
                  <a:extLst>
                    <a:ext uri="{FF2B5EF4-FFF2-40B4-BE49-F238E27FC236}">
                      <a16:creationId xmlns:a16="http://schemas.microsoft.com/office/drawing/2014/main" id="{29C3EB20-0514-49CE-9957-DD4DC5D4E925}"/>
                    </a:ext>
                  </a:extLst>
                </p:cNvPr>
                <p:cNvSpPr>
                  <a:spLocks/>
                </p:cNvSpPr>
                <p:nvPr/>
              </p:nvSpPr>
              <p:spPr bwMode="auto">
                <a:xfrm>
                  <a:off x="4957269" y="5776364"/>
                  <a:ext cx="511173" cy="0"/>
                </a:xfrm>
                <a:custGeom>
                  <a:avLst/>
                  <a:gdLst>
                    <a:gd name="T0" fmla="*/ 0 w 321"/>
                    <a:gd name="T1" fmla="*/ 179 w 321"/>
                    <a:gd name="T2" fmla="*/ 321 w 321"/>
                  </a:gdLst>
                  <a:ahLst/>
                  <a:cxnLst>
                    <a:cxn ang="0">
                      <a:pos x="T0" y="0"/>
                    </a:cxn>
                    <a:cxn ang="0">
                      <a:pos x="T1" y="0"/>
                    </a:cxn>
                    <a:cxn ang="0">
                      <a:pos x="T2" y="0"/>
                    </a:cxn>
                  </a:cxnLst>
                  <a:rect l="0" t="0" r="r" b="b"/>
                  <a:pathLst>
                    <a:path w="321">
                      <a:moveTo>
                        <a:pt x="0" y="0"/>
                      </a:moveTo>
                      <a:lnTo>
                        <a:pt x="179" y="0"/>
                      </a:lnTo>
                      <a:lnTo>
                        <a:pt x="321" y="0"/>
                      </a:lnTo>
                    </a:path>
                  </a:pathLst>
                </a:custGeom>
                <a:grpFill/>
                <a:ln w="12700" cap="flat">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sp>
              <p:nvSpPr>
                <p:cNvPr id="105" name="Freeform 8">
                  <a:extLst>
                    <a:ext uri="{FF2B5EF4-FFF2-40B4-BE49-F238E27FC236}">
                      <a16:creationId xmlns:a16="http://schemas.microsoft.com/office/drawing/2014/main" id="{AE04516E-0458-4CDC-9006-B3375E9A8F2E}"/>
                    </a:ext>
                  </a:extLst>
                </p:cNvPr>
                <p:cNvSpPr>
                  <a:spLocks/>
                </p:cNvSpPr>
                <p:nvPr/>
              </p:nvSpPr>
              <p:spPr bwMode="auto">
                <a:xfrm>
                  <a:off x="5468442" y="5466803"/>
                  <a:ext cx="304800" cy="579436"/>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grpFill/>
                <a:ln w="12700" cap="flat">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sp>
              <p:nvSpPr>
                <p:cNvPr id="106" name="Line 9">
                  <a:extLst>
                    <a:ext uri="{FF2B5EF4-FFF2-40B4-BE49-F238E27FC236}">
                      <a16:creationId xmlns:a16="http://schemas.microsoft.com/office/drawing/2014/main" id="{DE13EE4D-0F90-460D-AF93-2E397EABEB18}"/>
                    </a:ext>
                  </a:extLst>
                </p:cNvPr>
                <p:cNvSpPr>
                  <a:spLocks noChangeShapeType="1"/>
                </p:cNvSpPr>
                <p:nvPr/>
              </p:nvSpPr>
              <p:spPr bwMode="auto">
                <a:xfrm flipH="1" flipV="1">
                  <a:off x="5468442" y="5963690"/>
                  <a:ext cx="304800" cy="0"/>
                </a:xfrm>
                <a:prstGeom prst="line">
                  <a:avLst/>
                </a:prstGeom>
                <a:grpFill/>
                <a:ln w="12700" cap="flat">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sp>
              <p:nvSpPr>
                <p:cNvPr id="107" name="Line 10">
                  <a:extLst>
                    <a:ext uri="{FF2B5EF4-FFF2-40B4-BE49-F238E27FC236}">
                      <a16:creationId xmlns:a16="http://schemas.microsoft.com/office/drawing/2014/main" id="{FECB4F0D-C18C-49A3-9BA4-644E59C1A20B}"/>
                    </a:ext>
                  </a:extLst>
                </p:cNvPr>
                <p:cNvSpPr>
                  <a:spLocks noChangeShapeType="1"/>
                </p:cNvSpPr>
                <p:nvPr/>
              </p:nvSpPr>
              <p:spPr bwMode="auto">
                <a:xfrm>
                  <a:off x="5468442" y="5543002"/>
                  <a:ext cx="304800" cy="4763"/>
                </a:xfrm>
                <a:prstGeom prst="line">
                  <a:avLst/>
                </a:prstGeom>
                <a:grpFill/>
                <a:ln w="12700" cap="flat">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endParaRPr lang="en-US">
                    <a:solidFill>
                      <a:srgbClr val="353535"/>
                    </a:solidFill>
                    <a:latin typeface="Segoe UI Semilight"/>
                  </a:endParaRPr>
                </a:p>
              </p:txBody>
            </p:sp>
          </p:grpSp>
          <p:grpSp>
            <p:nvGrpSpPr>
              <p:cNvPr id="99" name="Group 98">
                <a:extLst>
                  <a:ext uri="{FF2B5EF4-FFF2-40B4-BE49-F238E27FC236}">
                    <a16:creationId xmlns:a16="http://schemas.microsoft.com/office/drawing/2014/main" id="{655F413F-B0C6-4D67-B278-9B183004AB7A}"/>
                  </a:ext>
                </a:extLst>
              </p:cNvPr>
              <p:cNvGrpSpPr/>
              <p:nvPr/>
            </p:nvGrpSpPr>
            <p:grpSpPr>
              <a:xfrm>
                <a:off x="3529673" y="2926609"/>
                <a:ext cx="911334" cy="542544"/>
                <a:chOff x="3779314" y="3034045"/>
                <a:chExt cx="753632" cy="448660"/>
              </a:xfrm>
              <a:grpFill/>
            </p:grpSpPr>
            <p:sp>
              <p:nvSpPr>
                <p:cNvPr id="100" name="Freeform 328">
                  <a:extLst>
                    <a:ext uri="{FF2B5EF4-FFF2-40B4-BE49-F238E27FC236}">
                      <a16:creationId xmlns:a16="http://schemas.microsoft.com/office/drawing/2014/main" id="{04155035-35FD-4E1E-9520-7A7B4B1AE8CE}"/>
                    </a:ext>
                  </a:extLst>
                </p:cNvPr>
                <p:cNvSpPr>
                  <a:spLocks/>
                </p:cNvSpPr>
                <p:nvPr/>
              </p:nvSpPr>
              <p:spPr bwMode="auto">
                <a:xfrm>
                  <a:off x="3779314" y="3347814"/>
                  <a:ext cx="753632" cy="134891"/>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grpFill/>
                <a:ln w="15875">
                  <a:solidFill>
                    <a:schemeClr val="accent4"/>
                  </a:solidFill>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Semilight"/>
                  </a:endParaRPr>
                </a:p>
              </p:txBody>
            </p:sp>
            <p:sp>
              <p:nvSpPr>
                <p:cNvPr id="101" name="Rectangle 327">
                  <a:extLst>
                    <a:ext uri="{FF2B5EF4-FFF2-40B4-BE49-F238E27FC236}">
                      <a16:creationId xmlns:a16="http://schemas.microsoft.com/office/drawing/2014/main" id="{1E0BEC05-B068-4120-A2AA-655D8A82F1A6}"/>
                    </a:ext>
                  </a:extLst>
                </p:cNvPr>
                <p:cNvSpPr>
                  <a:spLocks noChangeArrowheads="1"/>
                </p:cNvSpPr>
                <p:nvPr/>
              </p:nvSpPr>
              <p:spPr bwMode="auto">
                <a:xfrm>
                  <a:off x="3905408" y="3034045"/>
                  <a:ext cx="495579" cy="313769"/>
                </a:xfrm>
                <a:prstGeom prst="rect">
                  <a:avLst/>
                </a:prstGeom>
                <a:grpFill/>
                <a:ln w="15875">
                  <a:solidFill>
                    <a:schemeClr val="accent4"/>
                  </a:solidFill>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Semilight"/>
                  </a:endParaRPr>
                </a:p>
              </p:txBody>
            </p:sp>
          </p:grpSp>
        </p:grpSp>
      </p:grpSp>
      <p:grpSp>
        <p:nvGrpSpPr>
          <p:cNvPr id="108" name="Group 107">
            <a:extLst>
              <a:ext uri="{FF2B5EF4-FFF2-40B4-BE49-F238E27FC236}">
                <a16:creationId xmlns:a16="http://schemas.microsoft.com/office/drawing/2014/main" id="{969F4756-2780-4DFF-8044-402C003BEDE0}"/>
              </a:ext>
            </a:extLst>
          </p:cNvPr>
          <p:cNvGrpSpPr/>
          <p:nvPr/>
        </p:nvGrpSpPr>
        <p:grpSpPr>
          <a:xfrm>
            <a:off x="9826198" y="1769752"/>
            <a:ext cx="1521806" cy="1251871"/>
            <a:chOff x="9826198" y="1769752"/>
            <a:chExt cx="1521806" cy="1251871"/>
          </a:xfrm>
        </p:grpSpPr>
        <p:sp>
          <p:nvSpPr>
            <p:cNvPr id="109" name="Rectangle 108">
              <a:extLst>
                <a:ext uri="{FF2B5EF4-FFF2-40B4-BE49-F238E27FC236}">
                  <a16:creationId xmlns:a16="http://schemas.microsoft.com/office/drawing/2014/main" id="{75B2A0D3-76AB-4D21-8C5C-1CD37A75A81A}"/>
                </a:ext>
              </a:extLst>
            </p:cNvPr>
            <p:cNvSpPr/>
            <p:nvPr/>
          </p:nvSpPr>
          <p:spPr>
            <a:xfrm>
              <a:off x="10402657" y="2713862"/>
              <a:ext cx="945347" cy="307761"/>
            </a:xfrm>
            <a:prstGeom prst="rect">
              <a:avLst/>
            </a:prstGeom>
          </p:spPr>
          <p:txBody>
            <a:bodyPr wrap="none">
              <a:spAutoFit/>
            </a:bodyPr>
            <a:lstStyle/>
            <a:p>
              <a:pPr defTabSz="914102" fontAlgn="base">
                <a:lnSpc>
                  <a:spcPct val="90000"/>
                </a:lnSpc>
                <a:spcBef>
                  <a:spcPts val="588"/>
                </a:spcBef>
                <a:spcAft>
                  <a:spcPct val="0"/>
                </a:spcAft>
              </a:pPr>
              <a:r>
                <a:rPr lang="en-US" sz="1568">
                  <a:solidFill>
                    <a:srgbClr val="353535"/>
                  </a:solidFill>
                  <a:latin typeface="Segoe UI Semilight"/>
                  <a:ea typeface="Segoe UI" pitchFamily="34" charset="0"/>
                  <a:cs typeface="Segoe UI" pitchFamily="34" charset="0"/>
                </a:rPr>
                <a:t>Analytics</a:t>
              </a:r>
            </a:p>
          </p:txBody>
        </p:sp>
        <p:grpSp>
          <p:nvGrpSpPr>
            <p:cNvPr id="110" name="Group 109">
              <a:extLst>
                <a:ext uri="{FF2B5EF4-FFF2-40B4-BE49-F238E27FC236}">
                  <a16:creationId xmlns:a16="http://schemas.microsoft.com/office/drawing/2014/main" id="{96447106-D254-4E84-9103-FCC699575500}"/>
                </a:ext>
              </a:extLst>
            </p:cNvPr>
            <p:cNvGrpSpPr>
              <a:grpSpLocks noChangeAspect="1"/>
            </p:cNvGrpSpPr>
            <p:nvPr/>
          </p:nvGrpSpPr>
          <p:grpSpPr>
            <a:xfrm>
              <a:off x="9826198" y="1769752"/>
              <a:ext cx="1412448" cy="909790"/>
              <a:chOff x="3437254" y="1704700"/>
              <a:chExt cx="5678424" cy="3657600"/>
            </a:xfrm>
          </p:grpSpPr>
          <p:grpSp>
            <p:nvGrpSpPr>
              <p:cNvPr id="111" name="Group 110">
                <a:extLst>
                  <a:ext uri="{FF2B5EF4-FFF2-40B4-BE49-F238E27FC236}">
                    <a16:creationId xmlns:a16="http://schemas.microsoft.com/office/drawing/2014/main" id="{697BEA32-83F1-41E9-BADE-D89A976ADD9F}"/>
                  </a:ext>
                </a:extLst>
              </p:cNvPr>
              <p:cNvGrpSpPr/>
              <p:nvPr/>
            </p:nvGrpSpPr>
            <p:grpSpPr>
              <a:xfrm>
                <a:off x="3691866" y="2308860"/>
                <a:ext cx="1664993" cy="845820"/>
                <a:chOff x="3691866" y="2308860"/>
                <a:chExt cx="1664993" cy="845820"/>
              </a:xfrm>
            </p:grpSpPr>
            <p:sp>
              <p:nvSpPr>
                <p:cNvPr id="258" name="Rectangle 257">
                  <a:extLst>
                    <a:ext uri="{FF2B5EF4-FFF2-40B4-BE49-F238E27FC236}">
                      <a16:creationId xmlns:a16="http://schemas.microsoft.com/office/drawing/2014/main" id="{B92939CF-CDD2-4A74-B7FE-340F8B455C79}"/>
                    </a:ext>
                  </a:extLst>
                </p:cNvPr>
                <p:cNvSpPr/>
                <p:nvPr/>
              </p:nvSpPr>
              <p:spPr bwMode="auto">
                <a:xfrm>
                  <a:off x="3691866" y="2308860"/>
                  <a:ext cx="1664993" cy="845820"/>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9" name="Rectangle 258">
                  <a:extLst>
                    <a:ext uri="{FF2B5EF4-FFF2-40B4-BE49-F238E27FC236}">
                      <a16:creationId xmlns:a16="http://schemas.microsoft.com/office/drawing/2014/main" id="{9556F834-148E-41BE-B85F-DDC4280BD7D0}"/>
                    </a:ext>
                  </a:extLst>
                </p:cNvPr>
                <p:cNvSpPr/>
                <p:nvPr/>
              </p:nvSpPr>
              <p:spPr bwMode="auto">
                <a:xfrm>
                  <a:off x="3770305" y="2364345"/>
                  <a:ext cx="594360" cy="45719"/>
                </a:xfrm>
                <a:prstGeom prst="rect">
                  <a:avLst/>
                </a:prstGeom>
                <a:solidFill>
                  <a:schemeClr val="accent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0" name="Rectangle 259">
                  <a:extLst>
                    <a:ext uri="{FF2B5EF4-FFF2-40B4-BE49-F238E27FC236}">
                      <a16:creationId xmlns:a16="http://schemas.microsoft.com/office/drawing/2014/main" id="{53C56B5C-1B2F-4AFB-97D2-8ECEDD801B2C}"/>
                    </a:ext>
                  </a:extLst>
                </p:cNvPr>
                <p:cNvSpPr/>
                <p:nvPr/>
              </p:nvSpPr>
              <p:spPr bwMode="auto">
                <a:xfrm>
                  <a:off x="3808404" y="2699623"/>
                  <a:ext cx="146304" cy="341233"/>
                </a:xfrm>
                <a:prstGeom prst="rect">
                  <a:avLst/>
                </a:prstGeom>
                <a:solidFill>
                  <a:schemeClr val="accent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260">
                  <a:extLst>
                    <a:ext uri="{FF2B5EF4-FFF2-40B4-BE49-F238E27FC236}">
                      <a16:creationId xmlns:a16="http://schemas.microsoft.com/office/drawing/2014/main" id="{FCB661B6-4E9D-4D55-B57E-4C94C512ECBD}"/>
                    </a:ext>
                  </a:extLst>
                </p:cNvPr>
                <p:cNvSpPr/>
                <p:nvPr/>
              </p:nvSpPr>
              <p:spPr bwMode="auto">
                <a:xfrm>
                  <a:off x="3989077" y="2783681"/>
                  <a:ext cx="146304" cy="257175"/>
                </a:xfrm>
                <a:prstGeom prst="rect">
                  <a:avLst/>
                </a:prstGeom>
                <a:solidFill>
                  <a:schemeClr val="accent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6DA07080-C4B5-47DD-B422-855ED382397B}"/>
                    </a:ext>
                  </a:extLst>
                </p:cNvPr>
                <p:cNvSpPr/>
                <p:nvPr/>
              </p:nvSpPr>
              <p:spPr bwMode="auto">
                <a:xfrm>
                  <a:off x="4169750" y="2901915"/>
                  <a:ext cx="146304" cy="138941"/>
                </a:xfrm>
                <a:prstGeom prst="rect">
                  <a:avLst/>
                </a:prstGeom>
                <a:solidFill>
                  <a:schemeClr val="accent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345D438C-C434-430A-B460-3C6F3DC3EABD}"/>
                    </a:ext>
                  </a:extLst>
                </p:cNvPr>
                <p:cNvSpPr/>
                <p:nvPr/>
              </p:nvSpPr>
              <p:spPr bwMode="auto">
                <a:xfrm>
                  <a:off x="4350423" y="2783681"/>
                  <a:ext cx="146304" cy="257175"/>
                </a:xfrm>
                <a:prstGeom prst="rect">
                  <a:avLst/>
                </a:prstGeom>
                <a:solidFill>
                  <a:schemeClr val="accent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E2777A3A-8469-4F92-9C60-F06847313CD6}"/>
                    </a:ext>
                  </a:extLst>
                </p:cNvPr>
                <p:cNvSpPr/>
                <p:nvPr/>
              </p:nvSpPr>
              <p:spPr bwMode="auto">
                <a:xfrm>
                  <a:off x="4531096" y="2824163"/>
                  <a:ext cx="146304" cy="216693"/>
                </a:xfrm>
                <a:prstGeom prst="rect">
                  <a:avLst/>
                </a:prstGeom>
                <a:solidFill>
                  <a:schemeClr val="accent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8431369-F62A-4561-BF5F-75FDB33E9756}"/>
                    </a:ext>
                  </a:extLst>
                </p:cNvPr>
                <p:cNvSpPr/>
                <p:nvPr/>
              </p:nvSpPr>
              <p:spPr bwMode="auto">
                <a:xfrm>
                  <a:off x="4711769" y="2893219"/>
                  <a:ext cx="146304" cy="147637"/>
                </a:xfrm>
                <a:prstGeom prst="rect">
                  <a:avLst/>
                </a:prstGeom>
                <a:solidFill>
                  <a:schemeClr val="accent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1C1A82E4-CD53-4A99-B0A2-66DC4B46BB63}"/>
                    </a:ext>
                  </a:extLst>
                </p:cNvPr>
                <p:cNvSpPr/>
                <p:nvPr/>
              </p:nvSpPr>
              <p:spPr bwMode="auto">
                <a:xfrm>
                  <a:off x="4892442" y="2569369"/>
                  <a:ext cx="146304" cy="471487"/>
                </a:xfrm>
                <a:prstGeom prst="rect">
                  <a:avLst/>
                </a:prstGeom>
                <a:solidFill>
                  <a:schemeClr val="accent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ABA6C5F1-B9A9-4369-AC85-286171524A7A}"/>
                    </a:ext>
                  </a:extLst>
                </p:cNvPr>
                <p:cNvSpPr/>
                <p:nvPr/>
              </p:nvSpPr>
              <p:spPr bwMode="auto">
                <a:xfrm>
                  <a:off x="5070731" y="2950369"/>
                  <a:ext cx="146304" cy="90487"/>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12" name="Group 111">
                <a:extLst>
                  <a:ext uri="{FF2B5EF4-FFF2-40B4-BE49-F238E27FC236}">
                    <a16:creationId xmlns:a16="http://schemas.microsoft.com/office/drawing/2014/main" id="{AF5103F4-0DFE-427F-9CA3-F904147E0DE5}"/>
                  </a:ext>
                </a:extLst>
              </p:cNvPr>
              <p:cNvGrpSpPr/>
              <p:nvPr/>
            </p:nvGrpSpPr>
            <p:grpSpPr>
              <a:xfrm>
                <a:off x="3755548" y="3354886"/>
                <a:ext cx="1470468" cy="1765691"/>
                <a:chOff x="3755548" y="3354886"/>
                <a:chExt cx="1470468" cy="1765691"/>
              </a:xfrm>
            </p:grpSpPr>
            <p:grpSp>
              <p:nvGrpSpPr>
                <p:cNvPr id="180" name="Group 179">
                  <a:extLst>
                    <a:ext uri="{FF2B5EF4-FFF2-40B4-BE49-F238E27FC236}">
                      <a16:creationId xmlns:a16="http://schemas.microsoft.com/office/drawing/2014/main" id="{1B704F7E-3532-4BDA-BDBD-AF73F2242040}"/>
                    </a:ext>
                  </a:extLst>
                </p:cNvPr>
                <p:cNvGrpSpPr/>
                <p:nvPr/>
              </p:nvGrpSpPr>
              <p:grpSpPr>
                <a:xfrm>
                  <a:off x="3755548" y="3354886"/>
                  <a:ext cx="1333308" cy="45719"/>
                  <a:chOff x="3755548" y="3354886"/>
                  <a:chExt cx="1333308" cy="45719"/>
                </a:xfrm>
              </p:grpSpPr>
              <p:sp>
                <p:nvSpPr>
                  <p:cNvPr id="256" name="Rectangle 255">
                    <a:extLst>
                      <a:ext uri="{FF2B5EF4-FFF2-40B4-BE49-F238E27FC236}">
                        <a16:creationId xmlns:a16="http://schemas.microsoft.com/office/drawing/2014/main" id="{2346862A-AEDF-4B80-8646-8F57AABD65AF}"/>
                      </a:ext>
                    </a:extLst>
                  </p:cNvPr>
                  <p:cNvSpPr/>
                  <p:nvPr/>
                </p:nvSpPr>
                <p:spPr bwMode="auto">
                  <a:xfrm>
                    <a:off x="3755548" y="3354886"/>
                    <a:ext cx="594360" cy="45719"/>
                  </a:xfrm>
                  <a:prstGeom prst="rect">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7" name="Rectangle 256">
                    <a:extLst>
                      <a:ext uri="{FF2B5EF4-FFF2-40B4-BE49-F238E27FC236}">
                        <a16:creationId xmlns:a16="http://schemas.microsoft.com/office/drawing/2014/main" id="{B686BEDA-8FDB-414D-AD6A-508846B2B98D}"/>
                      </a:ext>
                    </a:extLst>
                  </p:cNvPr>
                  <p:cNvSpPr/>
                  <p:nvPr/>
                </p:nvSpPr>
                <p:spPr bwMode="auto">
                  <a:xfrm>
                    <a:off x="4631656" y="3354886"/>
                    <a:ext cx="457200" cy="45719"/>
                  </a:xfrm>
                  <a:prstGeom prst="rect">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1" name="Group 180">
                  <a:extLst>
                    <a:ext uri="{FF2B5EF4-FFF2-40B4-BE49-F238E27FC236}">
                      <a16:creationId xmlns:a16="http://schemas.microsoft.com/office/drawing/2014/main" id="{B297F4AC-8187-4BB6-A690-DF541EA6782A}"/>
                    </a:ext>
                  </a:extLst>
                </p:cNvPr>
                <p:cNvGrpSpPr/>
                <p:nvPr/>
              </p:nvGrpSpPr>
              <p:grpSpPr>
                <a:xfrm>
                  <a:off x="3755548" y="3758840"/>
                  <a:ext cx="1470468" cy="45719"/>
                  <a:chOff x="3755548" y="3758840"/>
                  <a:chExt cx="1470468" cy="45719"/>
                </a:xfrm>
              </p:grpSpPr>
              <p:sp>
                <p:nvSpPr>
                  <p:cNvPr id="254" name="Rectangle 253">
                    <a:extLst>
                      <a:ext uri="{FF2B5EF4-FFF2-40B4-BE49-F238E27FC236}">
                        <a16:creationId xmlns:a16="http://schemas.microsoft.com/office/drawing/2014/main" id="{9DD98C19-E2C3-4198-8C57-43133D339778}"/>
                      </a:ext>
                    </a:extLst>
                  </p:cNvPr>
                  <p:cNvSpPr/>
                  <p:nvPr/>
                </p:nvSpPr>
                <p:spPr bwMode="auto">
                  <a:xfrm>
                    <a:off x="3755548" y="3758840"/>
                    <a:ext cx="640080" cy="45719"/>
                  </a:xfrm>
                  <a:prstGeom prst="rect">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5" name="Rectangle 254">
                    <a:extLst>
                      <a:ext uri="{FF2B5EF4-FFF2-40B4-BE49-F238E27FC236}">
                        <a16:creationId xmlns:a16="http://schemas.microsoft.com/office/drawing/2014/main" id="{5AB97654-AB63-435C-AAF3-E431AAF7DA54}"/>
                      </a:ext>
                    </a:extLst>
                  </p:cNvPr>
                  <p:cNvSpPr/>
                  <p:nvPr/>
                </p:nvSpPr>
                <p:spPr bwMode="auto">
                  <a:xfrm>
                    <a:off x="4631656" y="3758840"/>
                    <a:ext cx="594360" cy="45719"/>
                  </a:xfrm>
                  <a:prstGeom prst="rect">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2" name="Group 181">
                  <a:extLst>
                    <a:ext uri="{FF2B5EF4-FFF2-40B4-BE49-F238E27FC236}">
                      <a16:creationId xmlns:a16="http://schemas.microsoft.com/office/drawing/2014/main" id="{F309C7C5-6476-4627-85B7-CB46273A674A}"/>
                    </a:ext>
                  </a:extLst>
                </p:cNvPr>
                <p:cNvGrpSpPr/>
                <p:nvPr/>
              </p:nvGrpSpPr>
              <p:grpSpPr>
                <a:xfrm>
                  <a:off x="3755548" y="4156616"/>
                  <a:ext cx="1397316" cy="45719"/>
                  <a:chOff x="3755548" y="4156616"/>
                  <a:chExt cx="1397316" cy="45719"/>
                </a:xfrm>
              </p:grpSpPr>
              <p:sp>
                <p:nvSpPr>
                  <p:cNvPr id="252" name="Rectangle 251">
                    <a:extLst>
                      <a:ext uri="{FF2B5EF4-FFF2-40B4-BE49-F238E27FC236}">
                        <a16:creationId xmlns:a16="http://schemas.microsoft.com/office/drawing/2014/main" id="{CF21373B-37AD-4DAA-8351-B0FBCEC02596}"/>
                      </a:ext>
                    </a:extLst>
                  </p:cNvPr>
                  <p:cNvSpPr/>
                  <p:nvPr/>
                </p:nvSpPr>
                <p:spPr bwMode="auto">
                  <a:xfrm>
                    <a:off x="3755548" y="4156616"/>
                    <a:ext cx="411480" cy="45719"/>
                  </a:xfrm>
                  <a:prstGeom prst="rect">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3" name="Rectangle 252">
                    <a:extLst>
                      <a:ext uri="{FF2B5EF4-FFF2-40B4-BE49-F238E27FC236}">
                        <a16:creationId xmlns:a16="http://schemas.microsoft.com/office/drawing/2014/main" id="{CC73A9A6-D1E8-46F2-AF2A-337F03127616}"/>
                      </a:ext>
                    </a:extLst>
                  </p:cNvPr>
                  <p:cNvSpPr/>
                  <p:nvPr/>
                </p:nvSpPr>
                <p:spPr bwMode="auto">
                  <a:xfrm>
                    <a:off x="4631656" y="4156616"/>
                    <a:ext cx="521208" cy="45719"/>
                  </a:xfrm>
                  <a:prstGeom prst="rect">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3" name="Group 182">
                  <a:extLst>
                    <a:ext uri="{FF2B5EF4-FFF2-40B4-BE49-F238E27FC236}">
                      <a16:creationId xmlns:a16="http://schemas.microsoft.com/office/drawing/2014/main" id="{A6AFC6D0-25E2-4DBC-BC05-9910F6F5E764}"/>
                    </a:ext>
                  </a:extLst>
                </p:cNvPr>
                <p:cNvGrpSpPr/>
                <p:nvPr/>
              </p:nvGrpSpPr>
              <p:grpSpPr>
                <a:xfrm>
                  <a:off x="3755548" y="3446404"/>
                  <a:ext cx="1169229" cy="64008"/>
                  <a:chOff x="3755548" y="3446404"/>
                  <a:chExt cx="1169229" cy="64008"/>
                </a:xfrm>
              </p:grpSpPr>
              <p:grpSp>
                <p:nvGrpSpPr>
                  <p:cNvPr id="243" name="Group 242">
                    <a:extLst>
                      <a:ext uri="{FF2B5EF4-FFF2-40B4-BE49-F238E27FC236}">
                        <a16:creationId xmlns:a16="http://schemas.microsoft.com/office/drawing/2014/main" id="{F8C52CF3-32B3-421A-B2B0-56D0B6F07204}"/>
                      </a:ext>
                    </a:extLst>
                  </p:cNvPr>
                  <p:cNvGrpSpPr/>
                  <p:nvPr/>
                </p:nvGrpSpPr>
                <p:grpSpPr>
                  <a:xfrm>
                    <a:off x="3755548" y="3446404"/>
                    <a:ext cx="198645" cy="64008"/>
                    <a:chOff x="3756063" y="3446404"/>
                    <a:chExt cx="198645" cy="64008"/>
                  </a:xfrm>
                </p:grpSpPr>
                <p:sp>
                  <p:nvSpPr>
                    <p:cNvPr id="249" name="Rectangle 248">
                      <a:extLst>
                        <a:ext uri="{FF2B5EF4-FFF2-40B4-BE49-F238E27FC236}">
                          <a16:creationId xmlns:a16="http://schemas.microsoft.com/office/drawing/2014/main" id="{C4DAB218-DF29-4950-AD51-56A91368E953}"/>
                        </a:ext>
                      </a:extLst>
                    </p:cNvPr>
                    <p:cNvSpPr/>
                    <p:nvPr/>
                  </p:nvSpPr>
                  <p:spPr bwMode="auto">
                    <a:xfrm>
                      <a:off x="3756063" y="3446404"/>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0" name="Rectangle 249">
                      <a:extLst>
                        <a:ext uri="{FF2B5EF4-FFF2-40B4-BE49-F238E27FC236}">
                          <a16:creationId xmlns:a16="http://schemas.microsoft.com/office/drawing/2014/main" id="{857DDB6C-EFBD-4036-BDF5-F3012344C823}"/>
                        </a:ext>
                      </a:extLst>
                    </p:cNvPr>
                    <p:cNvSpPr/>
                    <p:nvPr/>
                  </p:nvSpPr>
                  <p:spPr bwMode="auto">
                    <a:xfrm>
                      <a:off x="3837098" y="3446404"/>
                      <a:ext cx="54864"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1" name="Rectangle 250">
                      <a:extLst>
                        <a:ext uri="{FF2B5EF4-FFF2-40B4-BE49-F238E27FC236}">
                          <a16:creationId xmlns:a16="http://schemas.microsoft.com/office/drawing/2014/main" id="{B8D5C9BC-61C1-4C7F-9357-652C7A92BDE7}"/>
                        </a:ext>
                      </a:extLst>
                    </p:cNvPr>
                    <p:cNvSpPr/>
                    <p:nvPr/>
                  </p:nvSpPr>
                  <p:spPr bwMode="auto">
                    <a:xfrm>
                      <a:off x="3927276" y="3446404"/>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CC311B5-8CAB-4EEC-9C78-9066FDC65733}"/>
                      </a:ext>
                    </a:extLst>
                  </p:cNvPr>
                  <p:cNvGrpSpPr/>
                  <p:nvPr/>
                </p:nvGrpSpPr>
                <p:grpSpPr>
                  <a:xfrm>
                    <a:off x="4631656" y="3446404"/>
                    <a:ext cx="293121" cy="64008"/>
                    <a:chOff x="4635062" y="3446404"/>
                    <a:chExt cx="293121" cy="64008"/>
                  </a:xfrm>
                </p:grpSpPr>
                <p:sp>
                  <p:nvSpPr>
                    <p:cNvPr id="245" name="Rectangle 244">
                      <a:extLst>
                        <a:ext uri="{FF2B5EF4-FFF2-40B4-BE49-F238E27FC236}">
                          <a16:creationId xmlns:a16="http://schemas.microsoft.com/office/drawing/2014/main" id="{9B910791-4502-4103-879A-EB03DE93E7B3}"/>
                        </a:ext>
                      </a:extLst>
                    </p:cNvPr>
                    <p:cNvSpPr/>
                    <p:nvPr/>
                  </p:nvSpPr>
                  <p:spPr bwMode="auto">
                    <a:xfrm>
                      <a:off x="4705454" y="3446404"/>
                      <a:ext cx="5451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6" name="Rectangle 245">
                      <a:extLst>
                        <a:ext uri="{FF2B5EF4-FFF2-40B4-BE49-F238E27FC236}">
                          <a16:creationId xmlns:a16="http://schemas.microsoft.com/office/drawing/2014/main" id="{53B81ED7-60FC-4A1C-9B47-2AD7B63F3A94}"/>
                        </a:ext>
                      </a:extLst>
                    </p:cNvPr>
                    <p:cNvSpPr/>
                    <p:nvPr/>
                  </p:nvSpPr>
                  <p:spPr bwMode="auto">
                    <a:xfrm>
                      <a:off x="4802926" y="3446404"/>
                      <a:ext cx="54864"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7" name="Rectangle 246">
                      <a:extLst>
                        <a:ext uri="{FF2B5EF4-FFF2-40B4-BE49-F238E27FC236}">
                          <a16:creationId xmlns:a16="http://schemas.microsoft.com/office/drawing/2014/main" id="{0D181A70-3CF8-489C-BFCA-57C4705836E0}"/>
                        </a:ext>
                      </a:extLst>
                    </p:cNvPr>
                    <p:cNvSpPr/>
                    <p:nvPr/>
                  </p:nvSpPr>
                  <p:spPr bwMode="auto">
                    <a:xfrm>
                      <a:off x="4900751" y="3446404"/>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8" name="Rectangle 247">
                      <a:extLst>
                        <a:ext uri="{FF2B5EF4-FFF2-40B4-BE49-F238E27FC236}">
                          <a16:creationId xmlns:a16="http://schemas.microsoft.com/office/drawing/2014/main" id="{377EA1EC-E107-4AA6-B70B-ED8C985CBE78}"/>
                        </a:ext>
                      </a:extLst>
                    </p:cNvPr>
                    <p:cNvSpPr/>
                    <p:nvPr/>
                  </p:nvSpPr>
                  <p:spPr bwMode="auto">
                    <a:xfrm>
                      <a:off x="4635062" y="3446404"/>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84" name="Group 183">
                  <a:extLst>
                    <a:ext uri="{FF2B5EF4-FFF2-40B4-BE49-F238E27FC236}">
                      <a16:creationId xmlns:a16="http://schemas.microsoft.com/office/drawing/2014/main" id="{E2083DE6-3071-4497-B13B-C2A86C8DBFF5}"/>
                    </a:ext>
                  </a:extLst>
                </p:cNvPr>
                <p:cNvGrpSpPr/>
                <p:nvPr/>
              </p:nvGrpSpPr>
              <p:grpSpPr>
                <a:xfrm>
                  <a:off x="3755548" y="3847814"/>
                  <a:ext cx="1392696" cy="64008"/>
                  <a:chOff x="3755548" y="3847814"/>
                  <a:chExt cx="1392696" cy="64008"/>
                </a:xfrm>
              </p:grpSpPr>
              <p:grpSp>
                <p:nvGrpSpPr>
                  <p:cNvPr id="230" name="Group 229">
                    <a:extLst>
                      <a:ext uri="{FF2B5EF4-FFF2-40B4-BE49-F238E27FC236}">
                        <a16:creationId xmlns:a16="http://schemas.microsoft.com/office/drawing/2014/main" id="{208B17DF-5A5D-4BB9-83C0-2E7906FA78F0}"/>
                      </a:ext>
                    </a:extLst>
                  </p:cNvPr>
                  <p:cNvGrpSpPr/>
                  <p:nvPr/>
                </p:nvGrpSpPr>
                <p:grpSpPr>
                  <a:xfrm>
                    <a:off x="3755548" y="3847814"/>
                    <a:ext cx="308341" cy="64008"/>
                    <a:chOff x="3755548" y="3846683"/>
                    <a:chExt cx="308341" cy="64008"/>
                  </a:xfrm>
                </p:grpSpPr>
                <p:sp>
                  <p:nvSpPr>
                    <p:cNvPr id="239" name="Rectangle 238">
                      <a:extLst>
                        <a:ext uri="{FF2B5EF4-FFF2-40B4-BE49-F238E27FC236}">
                          <a16:creationId xmlns:a16="http://schemas.microsoft.com/office/drawing/2014/main" id="{9A7F610B-4A46-4672-B7C4-09DBAC943B87}"/>
                        </a:ext>
                      </a:extLst>
                    </p:cNvPr>
                    <p:cNvSpPr/>
                    <p:nvPr/>
                  </p:nvSpPr>
                  <p:spPr bwMode="auto">
                    <a:xfrm>
                      <a:off x="3833944" y="3846683"/>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0" name="Rectangle 239">
                      <a:extLst>
                        <a:ext uri="{FF2B5EF4-FFF2-40B4-BE49-F238E27FC236}">
                          <a16:creationId xmlns:a16="http://schemas.microsoft.com/office/drawing/2014/main" id="{EB47E478-EBF6-403B-8EAC-1EA4BBE709CD}"/>
                        </a:ext>
                      </a:extLst>
                    </p:cNvPr>
                    <p:cNvSpPr/>
                    <p:nvPr/>
                  </p:nvSpPr>
                  <p:spPr bwMode="auto">
                    <a:xfrm>
                      <a:off x="3930628" y="3846683"/>
                      <a:ext cx="54864"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1" name="Rectangle 240">
                      <a:extLst>
                        <a:ext uri="{FF2B5EF4-FFF2-40B4-BE49-F238E27FC236}">
                          <a16:creationId xmlns:a16="http://schemas.microsoft.com/office/drawing/2014/main" id="{C443BE14-7C85-4B78-B7CC-6088675443DC}"/>
                        </a:ext>
                      </a:extLst>
                    </p:cNvPr>
                    <p:cNvSpPr/>
                    <p:nvPr/>
                  </p:nvSpPr>
                  <p:spPr bwMode="auto">
                    <a:xfrm>
                      <a:off x="4036457" y="384668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2" name="Rectangle 241">
                      <a:extLst>
                        <a:ext uri="{FF2B5EF4-FFF2-40B4-BE49-F238E27FC236}">
                          <a16:creationId xmlns:a16="http://schemas.microsoft.com/office/drawing/2014/main" id="{C220F11E-159E-440B-90E4-8FF215875652}"/>
                        </a:ext>
                      </a:extLst>
                    </p:cNvPr>
                    <p:cNvSpPr/>
                    <p:nvPr/>
                  </p:nvSpPr>
                  <p:spPr bwMode="auto">
                    <a:xfrm>
                      <a:off x="3755548" y="384668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31" name="Group 230">
                    <a:extLst>
                      <a:ext uri="{FF2B5EF4-FFF2-40B4-BE49-F238E27FC236}">
                        <a16:creationId xmlns:a16="http://schemas.microsoft.com/office/drawing/2014/main" id="{8B72A1F7-07A9-4F27-8D55-848C6308C9FE}"/>
                      </a:ext>
                    </a:extLst>
                  </p:cNvPr>
                  <p:cNvGrpSpPr/>
                  <p:nvPr/>
                </p:nvGrpSpPr>
                <p:grpSpPr>
                  <a:xfrm>
                    <a:off x="4631656" y="3847814"/>
                    <a:ext cx="516588" cy="64008"/>
                    <a:chOff x="4636669" y="3846683"/>
                    <a:chExt cx="516588" cy="64008"/>
                  </a:xfrm>
                </p:grpSpPr>
                <p:sp>
                  <p:nvSpPr>
                    <p:cNvPr id="232" name="Rectangle 231">
                      <a:extLst>
                        <a:ext uri="{FF2B5EF4-FFF2-40B4-BE49-F238E27FC236}">
                          <a16:creationId xmlns:a16="http://schemas.microsoft.com/office/drawing/2014/main" id="{6FEA7465-75C7-48F3-A026-7E52A584B9E9}"/>
                        </a:ext>
                      </a:extLst>
                    </p:cNvPr>
                    <p:cNvSpPr/>
                    <p:nvPr/>
                  </p:nvSpPr>
                  <p:spPr bwMode="auto">
                    <a:xfrm>
                      <a:off x="4701490" y="3846683"/>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3" name="Rectangle 232">
                      <a:extLst>
                        <a:ext uri="{FF2B5EF4-FFF2-40B4-BE49-F238E27FC236}">
                          <a16:creationId xmlns:a16="http://schemas.microsoft.com/office/drawing/2014/main" id="{EB82BDA5-4E19-4E35-939E-9C69287D6E9F}"/>
                        </a:ext>
                      </a:extLst>
                    </p:cNvPr>
                    <p:cNvSpPr/>
                    <p:nvPr/>
                  </p:nvSpPr>
                  <p:spPr bwMode="auto">
                    <a:xfrm>
                      <a:off x="4784599" y="3846683"/>
                      <a:ext cx="54864"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Rectangle 233">
                      <a:extLst>
                        <a:ext uri="{FF2B5EF4-FFF2-40B4-BE49-F238E27FC236}">
                          <a16:creationId xmlns:a16="http://schemas.microsoft.com/office/drawing/2014/main" id="{A9542FEF-1860-4FB1-91CD-8B576AFED8A6}"/>
                        </a:ext>
                      </a:extLst>
                    </p:cNvPr>
                    <p:cNvSpPr/>
                    <p:nvPr/>
                  </p:nvSpPr>
                  <p:spPr bwMode="auto">
                    <a:xfrm>
                      <a:off x="4876852" y="384668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5" name="Rectangle 234">
                      <a:extLst>
                        <a:ext uri="{FF2B5EF4-FFF2-40B4-BE49-F238E27FC236}">
                          <a16:creationId xmlns:a16="http://schemas.microsoft.com/office/drawing/2014/main" id="{4C762B0D-188F-4A84-A41B-909167CE918A}"/>
                        </a:ext>
                      </a:extLst>
                    </p:cNvPr>
                    <p:cNvSpPr/>
                    <p:nvPr/>
                  </p:nvSpPr>
                  <p:spPr bwMode="auto">
                    <a:xfrm>
                      <a:off x="4941673" y="3846683"/>
                      <a:ext cx="5451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6" name="Rectangle 235">
                      <a:extLst>
                        <a:ext uri="{FF2B5EF4-FFF2-40B4-BE49-F238E27FC236}">
                          <a16:creationId xmlns:a16="http://schemas.microsoft.com/office/drawing/2014/main" id="{1EF0E7B4-2110-45A2-9329-28B14779FE7F}"/>
                        </a:ext>
                      </a:extLst>
                    </p:cNvPr>
                    <p:cNvSpPr/>
                    <p:nvPr/>
                  </p:nvSpPr>
                  <p:spPr bwMode="auto">
                    <a:xfrm>
                      <a:off x="5033574" y="3846683"/>
                      <a:ext cx="54864"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Rectangle 236">
                      <a:extLst>
                        <a:ext uri="{FF2B5EF4-FFF2-40B4-BE49-F238E27FC236}">
                          <a16:creationId xmlns:a16="http://schemas.microsoft.com/office/drawing/2014/main" id="{11138FDF-C224-44A2-B922-13F028B93CA6}"/>
                        </a:ext>
                      </a:extLst>
                    </p:cNvPr>
                    <p:cNvSpPr/>
                    <p:nvPr/>
                  </p:nvSpPr>
                  <p:spPr bwMode="auto">
                    <a:xfrm>
                      <a:off x="5125825" y="384668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8" name="Rectangle 237">
                      <a:extLst>
                        <a:ext uri="{FF2B5EF4-FFF2-40B4-BE49-F238E27FC236}">
                          <a16:creationId xmlns:a16="http://schemas.microsoft.com/office/drawing/2014/main" id="{63C69BAE-A7DD-4A6A-A135-8B6E64063832}"/>
                        </a:ext>
                      </a:extLst>
                    </p:cNvPr>
                    <p:cNvSpPr/>
                    <p:nvPr/>
                  </p:nvSpPr>
                  <p:spPr bwMode="auto">
                    <a:xfrm>
                      <a:off x="4636669" y="384668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85" name="Group 184">
                  <a:extLst>
                    <a:ext uri="{FF2B5EF4-FFF2-40B4-BE49-F238E27FC236}">
                      <a16:creationId xmlns:a16="http://schemas.microsoft.com/office/drawing/2014/main" id="{79EC3C2E-02F2-4D21-8403-0CF54F02B5B7}"/>
                    </a:ext>
                  </a:extLst>
                </p:cNvPr>
                <p:cNvGrpSpPr/>
                <p:nvPr/>
              </p:nvGrpSpPr>
              <p:grpSpPr>
                <a:xfrm>
                  <a:off x="3755548" y="4254422"/>
                  <a:ext cx="1067913" cy="64008"/>
                  <a:chOff x="3755548" y="4254422"/>
                  <a:chExt cx="1067913" cy="64008"/>
                </a:xfrm>
              </p:grpSpPr>
              <p:grpSp>
                <p:nvGrpSpPr>
                  <p:cNvPr id="222" name="Group 221">
                    <a:extLst>
                      <a:ext uri="{FF2B5EF4-FFF2-40B4-BE49-F238E27FC236}">
                        <a16:creationId xmlns:a16="http://schemas.microsoft.com/office/drawing/2014/main" id="{B8569B2B-05CB-4B0F-924F-BBF7793D6D82}"/>
                      </a:ext>
                    </a:extLst>
                  </p:cNvPr>
                  <p:cNvGrpSpPr/>
                  <p:nvPr/>
                </p:nvGrpSpPr>
                <p:grpSpPr>
                  <a:xfrm>
                    <a:off x="3755548" y="4254422"/>
                    <a:ext cx="191805" cy="64008"/>
                    <a:chOff x="3755548" y="4257359"/>
                    <a:chExt cx="191805" cy="64008"/>
                  </a:xfrm>
                </p:grpSpPr>
                <p:sp>
                  <p:nvSpPr>
                    <p:cNvPr id="227" name="Rectangle 226">
                      <a:extLst>
                        <a:ext uri="{FF2B5EF4-FFF2-40B4-BE49-F238E27FC236}">
                          <a16:creationId xmlns:a16="http://schemas.microsoft.com/office/drawing/2014/main" id="{D54FEB49-2640-465A-84BF-D577F85A2397}"/>
                        </a:ext>
                      </a:extLst>
                    </p:cNvPr>
                    <p:cNvSpPr/>
                    <p:nvPr/>
                  </p:nvSpPr>
                  <p:spPr bwMode="auto">
                    <a:xfrm>
                      <a:off x="3828590" y="4257359"/>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8" name="Rectangle 227">
                      <a:extLst>
                        <a:ext uri="{FF2B5EF4-FFF2-40B4-BE49-F238E27FC236}">
                          <a16:creationId xmlns:a16="http://schemas.microsoft.com/office/drawing/2014/main" id="{10D03071-18BE-4F9D-86F5-693005140AB8}"/>
                        </a:ext>
                      </a:extLst>
                    </p:cNvPr>
                    <p:cNvSpPr/>
                    <p:nvPr/>
                  </p:nvSpPr>
                  <p:spPr bwMode="auto">
                    <a:xfrm>
                      <a:off x="3919921" y="4257359"/>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9" name="Rectangle 228">
                      <a:extLst>
                        <a:ext uri="{FF2B5EF4-FFF2-40B4-BE49-F238E27FC236}">
                          <a16:creationId xmlns:a16="http://schemas.microsoft.com/office/drawing/2014/main" id="{DC7C794E-3D6C-4716-8E83-520D7FC87704}"/>
                        </a:ext>
                      </a:extLst>
                    </p:cNvPr>
                    <p:cNvSpPr/>
                    <p:nvPr/>
                  </p:nvSpPr>
                  <p:spPr bwMode="auto">
                    <a:xfrm>
                      <a:off x="3755548" y="4257359"/>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23" name="Group 222">
                    <a:extLst>
                      <a:ext uri="{FF2B5EF4-FFF2-40B4-BE49-F238E27FC236}">
                        <a16:creationId xmlns:a16="http://schemas.microsoft.com/office/drawing/2014/main" id="{3B36F482-261C-4887-8307-E9FB1D8C7D84}"/>
                      </a:ext>
                    </a:extLst>
                  </p:cNvPr>
                  <p:cNvGrpSpPr/>
                  <p:nvPr/>
                </p:nvGrpSpPr>
                <p:grpSpPr>
                  <a:xfrm>
                    <a:off x="4631656" y="4254422"/>
                    <a:ext cx="191805" cy="64008"/>
                    <a:chOff x="4631656" y="4257359"/>
                    <a:chExt cx="191805" cy="64008"/>
                  </a:xfrm>
                </p:grpSpPr>
                <p:sp>
                  <p:nvSpPr>
                    <p:cNvPr id="224" name="Rectangle 223">
                      <a:extLst>
                        <a:ext uri="{FF2B5EF4-FFF2-40B4-BE49-F238E27FC236}">
                          <a16:creationId xmlns:a16="http://schemas.microsoft.com/office/drawing/2014/main" id="{A8B87331-6365-4800-9D14-C69AC6E2608E}"/>
                        </a:ext>
                      </a:extLst>
                    </p:cNvPr>
                    <p:cNvSpPr/>
                    <p:nvPr/>
                  </p:nvSpPr>
                  <p:spPr bwMode="auto">
                    <a:xfrm>
                      <a:off x="4704698" y="4257359"/>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Rectangle 224">
                      <a:extLst>
                        <a:ext uri="{FF2B5EF4-FFF2-40B4-BE49-F238E27FC236}">
                          <a16:creationId xmlns:a16="http://schemas.microsoft.com/office/drawing/2014/main" id="{78081067-F23B-460F-8AC9-637A22CD97EB}"/>
                        </a:ext>
                      </a:extLst>
                    </p:cNvPr>
                    <p:cNvSpPr/>
                    <p:nvPr/>
                  </p:nvSpPr>
                  <p:spPr bwMode="auto">
                    <a:xfrm>
                      <a:off x="4796029" y="4257359"/>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25">
                      <a:extLst>
                        <a:ext uri="{FF2B5EF4-FFF2-40B4-BE49-F238E27FC236}">
                          <a16:creationId xmlns:a16="http://schemas.microsoft.com/office/drawing/2014/main" id="{A8665950-CF1E-4A09-9C32-B5DAA5ABBF8A}"/>
                        </a:ext>
                      </a:extLst>
                    </p:cNvPr>
                    <p:cNvSpPr/>
                    <p:nvPr/>
                  </p:nvSpPr>
                  <p:spPr bwMode="auto">
                    <a:xfrm>
                      <a:off x="4631656" y="4257359"/>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16A891EB-9100-4EC0-A3E3-3AC2F1B54DA1}"/>
                    </a:ext>
                  </a:extLst>
                </p:cNvPr>
                <p:cNvGrpSpPr/>
                <p:nvPr/>
              </p:nvGrpSpPr>
              <p:grpSpPr>
                <a:xfrm>
                  <a:off x="3755548" y="4560882"/>
                  <a:ext cx="1333308" cy="45719"/>
                  <a:chOff x="3755548" y="4560882"/>
                  <a:chExt cx="1333308" cy="45719"/>
                </a:xfrm>
              </p:grpSpPr>
              <p:sp>
                <p:nvSpPr>
                  <p:cNvPr id="220" name="Rectangle 219">
                    <a:extLst>
                      <a:ext uri="{FF2B5EF4-FFF2-40B4-BE49-F238E27FC236}">
                        <a16:creationId xmlns:a16="http://schemas.microsoft.com/office/drawing/2014/main" id="{9AFD462F-8794-496F-AC9B-516AC36DB565}"/>
                      </a:ext>
                    </a:extLst>
                  </p:cNvPr>
                  <p:cNvSpPr/>
                  <p:nvPr/>
                </p:nvSpPr>
                <p:spPr bwMode="auto">
                  <a:xfrm>
                    <a:off x="3755548" y="4560882"/>
                    <a:ext cx="585216" cy="45719"/>
                  </a:xfrm>
                  <a:prstGeom prst="rect">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Rectangle 220">
                    <a:extLst>
                      <a:ext uri="{FF2B5EF4-FFF2-40B4-BE49-F238E27FC236}">
                        <a16:creationId xmlns:a16="http://schemas.microsoft.com/office/drawing/2014/main" id="{F05DFBF1-A3C3-4815-B07D-96AD3EB4E965}"/>
                      </a:ext>
                    </a:extLst>
                  </p:cNvPr>
                  <p:cNvSpPr/>
                  <p:nvPr/>
                </p:nvSpPr>
                <p:spPr bwMode="auto">
                  <a:xfrm>
                    <a:off x="4631656" y="4560882"/>
                    <a:ext cx="457200" cy="45719"/>
                  </a:xfrm>
                  <a:prstGeom prst="rect">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7" name="Group 186">
                  <a:extLst>
                    <a:ext uri="{FF2B5EF4-FFF2-40B4-BE49-F238E27FC236}">
                      <a16:creationId xmlns:a16="http://schemas.microsoft.com/office/drawing/2014/main" id="{7461E17E-3E6F-4738-AAB9-F760642D745B}"/>
                    </a:ext>
                  </a:extLst>
                </p:cNvPr>
                <p:cNvGrpSpPr/>
                <p:nvPr/>
              </p:nvGrpSpPr>
              <p:grpSpPr>
                <a:xfrm>
                  <a:off x="3755548" y="4966293"/>
                  <a:ext cx="1333308" cy="45719"/>
                  <a:chOff x="3755548" y="4966293"/>
                  <a:chExt cx="1333308" cy="45719"/>
                </a:xfrm>
              </p:grpSpPr>
              <p:sp>
                <p:nvSpPr>
                  <p:cNvPr id="218" name="Rectangle 217">
                    <a:extLst>
                      <a:ext uri="{FF2B5EF4-FFF2-40B4-BE49-F238E27FC236}">
                        <a16:creationId xmlns:a16="http://schemas.microsoft.com/office/drawing/2014/main" id="{A03944F1-B1B3-4F19-8BA8-E777B006B12D}"/>
                      </a:ext>
                    </a:extLst>
                  </p:cNvPr>
                  <p:cNvSpPr/>
                  <p:nvPr/>
                </p:nvSpPr>
                <p:spPr bwMode="auto">
                  <a:xfrm>
                    <a:off x="3755548" y="4966293"/>
                    <a:ext cx="548640" cy="45719"/>
                  </a:xfrm>
                  <a:prstGeom prst="rect">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Rectangle 218">
                    <a:extLst>
                      <a:ext uri="{FF2B5EF4-FFF2-40B4-BE49-F238E27FC236}">
                        <a16:creationId xmlns:a16="http://schemas.microsoft.com/office/drawing/2014/main" id="{2023B8B2-55BF-4A18-91BB-C8D49098831B}"/>
                      </a:ext>
                    </a:extLst>
                  </p:cNvPr>
                  <p:cNvSpPr/>
                  <p:nvPr/>
                </p:nvSpPr>
                <p:spPr bwMode="auto">
                  <a:xfrm>
                    <a:off x="4631656" y="4966293"/>
                    <a:ext cx="457200" cy="45719"/>
                  </a:xfrm>
                  <a:prstGeom prst="rect">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8" name="Group 187">
                  <a:extLst>
                    <a:ext uri="{FF2B5EF4-FFF2-40B4-BE49-F238E27FC236}">
                      <a16:creationId xmlns:a16="http://schemas.microsoft.com/office/drawing/2014/main" id="{8B22CA86-5F0B-48B7-85AA-57EE2ED01949}"/>
                    </a:ext>
                  </a:extLst>
                </p:cNvPr>
                <p:cNvGrpSpPr/>
                <p:nvPr/>
              </p:nvGrpSpPr>
              <p:grpSpPr>
                <a:xfrm>
                  <a:off x="3755548" y="5056569"/>
                  <a:ext cx="1311775" cy="64008"/>
                  <a:chOff x="3755548" y="5056569"/>
                  <a:chExt cx="1311775" cy="64008"/>
                </a:xfrm>
              </p:grpSpPr>
              <p:grpSp>
                <p:nvGrpSpPr>
                  <p:cNvPr id="204" name="Group 203">
                    <a:extLst>
                      <a:ext uri="{FF2B5EF4-FFF2-40B4-BE49-F238E27FC236}">
                        <a16:creationId xmlns:a16="http://schemas.microsoft.com/office/drawing/2014/main" id="{7D2BA06C-A713-4BCC-A0A8-69B1719E32FE}"/>
                      </a:ext>
                    </a:extLst>
                  </p:cNvPr>
                  <p:cNvGrpSpPr/>
                  <p:nvPr/>
                </p:nvGrpSpPr>
                <p:grpSpPr>
                  <a:xfrm>
                    <a:off x="3755548" y="5056569"/>
                    <a:ext cx="437058" cy="64008"/>
                    <a:chOff x="3755548" y="5056569"/>
                    <a:chExt cx="437058" cy="64008"/>
                  </a:xfrm>
                </p:grpSpPr>
                <p:sp>
                  <p:nvSpPr>
                    <p:cNvPr id="212" name="Rectangle 211">
                      <a:extLst>
                        <a:ext uri="{FF2B5EF4-FFF2-40B4-BE49-F238E27FC236}">
                          <a16:creationId xmlns:a16="http://schemas.microsoft.com/office/drawing/2014/main" id="{F09A699D-8430-48D1-A8C9-D6337A9233C8}"/>
                        </a:ext>
                      </a:extLst>
                    </p:cNvPr>
                    <p:cNvSpPr/>
                    <p:nvPr/>
                  </p:nvSpPr>
                  <p:spPr bwMode="auto">
                    <a:xfrm>
                      <a:off x="3824672" y="5056569"/>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3" name="Rectangle 212">
                      <a:extLst>
                        <a:ext uri="{FF2B5EF4-FFF2-40B4-BE49-F238E27FC236}">
                          <a16:creationId xmlns:a16="http://schemas.microsoft.com/office/drawing/2014/main" id="{BCEFFC45-9AE8-4254-8071-AF32B62B8F43}"/>
                        </a:ext>
                      </a:extLst>
                    </p:cNvPr>
                    <p:cNvSpPr/>
                    <p:nvPr/>
                  </p:nvSpPr>
                  <p:spPr bwMode="auto">
                    <a:xfrm>
                      <a:off x="4050332" y="5056569"/>
                      <a:ext cx="54864"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4" name="Rectangle 213">
                      <a:extLst>
                        <a:ext uri="{FF2B5EF4-FFF2-40B4-BE49-F238E27FC236}">
                          <a16:creationId xmlns:a16="http://schemas.microsoft.com/office/drawing/2014/main" id="{BCBE8542-85BA-4839-9915-16101E6D308D}"/>
                        </a:ext>
                      </a:extLst>
                    </p:cNvPr>
                    <p:cNvSpPr/>
                    <p:nvPr/>
                  </p:nvSpPr>
                  <p:spPr bwMode="auto">
                    <a:xfrm>
                      <a:off x="3912084" y="5056569"/>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5" name="Rectangle 214">
                      <a:extLst>
                        <a:ext uri="{FF2B5EF4-FFF2-40B4-BE49-F238E27FC236}">
                          <a16:creationId xmlns:a16="http://schemas.microsoft.com/office/drawing/2014/main" id="{C69FB531-F59B-481A-A525-68F665677C8D}"/>
                        </a:ext>
                      </a:extLst>
                    </p:cNvPr>
                    <p:cNvSpPr/>
                    <p:nvPr/>
                  </p:nvSpPr>
                  <p:spPr bwMode="auto">
                    <a:xfrm>
                      <a:off x="3755548" y="5056569"/>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6" name="Rectangle 215">
                      <a:extLst>
                        <a:ext uri="{FF2B5EF4-FFF2-40B4-BE49-F238E27FC236}">
                          <a16:creationId xmlns:a16="http://schemas.microsoft.com/office/drawing/2014/main" id="{79571CDE-D65C-47A3-A301-81A674C3E48C}"/>
                        </a:ext>
                      </a:extLst>
                    </p:cNvPr>
                    <p:cNvSpPr/>
                    <p:nvPr/>
                  </p:nvSpPr>
                  <p:spPr bwMode="auto">
                    <a:xfrm>
                      <a:off x="4146886" y="5056569"/>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Rectangle 216">
                      <a:extLst>
                        <a:ext uri="{FF2B5EF4-FFF2-40B4-BE49-F238E27FC236}">
                          <a16:creationId xmlns:a16="http://schemas.microsoft.com/office/drawing/2014/main" id="{F0B66DFB-5661-4445-8CF6-D6B97DB30861}"/>
                        </a:ext>
                      </a:extLst>
                    </p:cNvPr>
                    <p:cNvSpPr/>
                    <p:nvPr/>
                  </p:nvSpPr>
                  <p:spPr bwMode="auto">
                    <a:xfrm>
                      <a:off x="3981208" y="5056569"/>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05" name="Group 204">
                    <a:extLst>
                      <a:ext uri="{FF2B5EF4-FFF2-40B4-BE49-F238E27FC236}">
                        <a16:creationId xmlns:a16="http://schemas.microsoft.com/office/drawing/2014/main" id="{B4A20081-BD0F-4388-892D-281731B3A689}"/>
                      </a:ext>
                    </a:extLst>
                  </p:cNvPr>
                  <p:cNvGrpSpPr/>
                  <p:nvPr/>
                </p:nvGrpSpPr>
                <p:grpSpPr>
                  <a:xfrm flipH="1">
                    <a:off x="4630265" y="5056569"/>
                    <a:ext cx="437058" cy="64008"/>
                    <a:chOff x="3755548" y="4658793"/>
                    <a:chExt cx="437058" cy="64008"/>
                  </a:xfrm>
                </p:grpSpPr>
                <p:sp>
                  <p:nvSpPr>
                    <p:cNvPr id="206" name="Rectangle 205">
                      <a:extLst>
                        <a:ext uri="{FF2B5EF4-FFF2-40B4-BE49-F238E27FC236}">
                          <a16:creationId xmlns:a16="http://schemas.microsoft.com/office/drawing/2014/main" id="{607CF03D-FFC8-47A6-84B3-5EFDC531396E}"/>
                        </a:ext>
                      </a:extLst>
                    </p:cNvPr>
                    <p:cNvSpPr/>
                    <p:nvPr/>
                  </p:nvSpPr>
                  <p:spPr bwMode="auto">
                    <a:xfrm>
                      <a:off x="3824672" y="4658793"/>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Rectangle 206">
                      <a:extLst>
                        <a:ext uri="{FF2B5EF4-FFF2-40B4-BE49-F238E27FC236}">
                          <a16:creationId xmlns:a16="http://schemas.microsoft.com/office/drawing/2014/main" id="{286B5CB8-A45B-4BC2-B225-910A135BA99A}"/>
                        </a:ext>
                      </a:extLst>
                    </p:cNvPr>
                    <p:cNvSpPr/>
                    <p:nvPr/>
                  </p:nvSpPr>
                  <p:spPr bwMode="auto">
                    <a:xfrm>
                      <a:off x="3912084" y="4658793"/>
                      <a:ext cx="54864"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8" name="Rectangle 207">
                      <a:extLst>
                        <a:ext uri="{FF2B5EF4-FFF2-40B4-BE49-F238E27FC236}">
                          <a16:creationId xmlns:a16="http://schemas.microsoft.com/office/drawing/2014/main" id="{06FC1637-24F9-42D3-8B64-64EB3CDB1C98}"/>
                        </a:ext>
                      </a:extLst>
                    </p:cNvPr>
                    <p:cNvSpPr/>
                    <p:nvPr/>
                  </p:nvSpPr>
                  <p:spPr bwMode="auto">
                    <a:xfrm>
                      <a:off x="4008640" y="465879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Rectangle 208">
                      <a:extLst>
                        <a:ext uri="{FF2B5EF4-FFF2-40B4-BE49-F238E27FC236}">
                          <a16:creationId xmlns:a16="http://schemas.microsoft.com/office/drawing/2014/main" id="{D4324559-6CED-4435-8C46-82A9B1AAD365}"/>
                        </a:ext>
                      </a:extLst>
                    </p:cNvPr>
                    <p:cNvSpPr/>
                    <p:nvPr/>
                  </p:nvSpPr>
                  <p:spPr bwMode="auto">
                    <a:xfrm>
                      <a:off x="3755548" y="465879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0" name="Rectangle 209">
                      <a:extLst>
                        <a:ext uri="{FF2B5EF4-FFF2-40B4-BE49-F238E27FC236}">
                          <a16:creationId xmlns:a16="http://schemas.microsoft.com/office/drawing/2014/main" id="{AD601BC6-B1F8-4144-8DD2-BB60D32F5417}"/>
                        </a:ext>
                      </a:extLst>
                    </p:cNvPr>
                    <p:cNvSpPr/>
                    <p:nvPr/>
                  </p:nvSpPr>
                  <p:spPr bwMode="auto">
                    <a:xfrm>
                      <a:off x="4146886" y="4658793"/>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1" name="Rectangle 210">
                      <a:extLst>
                        <a:ext uri="{FF2B5EF4-FFF2-40B4-BE49-F238E27FC236}">
                          <a16:creationId xmlns:a16="http://schemas.microsoft.com/office/drawing/2014/main" id="{9102BF34-4292-47F0-B853-8FB44546AD8D}"/>
                        </a:ext>
                      </a:extLst>
                    </p:cNvPr>
                    <p:cNvSpPr/>
                    <p:nvPr/>
                  </p:nvSpPr>
                  <p:spPr bwMode="auto">
                    <a:xfrm>
                      <a:off x="4077764" y="465879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89" name="Group 188">
                  <a:extLst>
                    <a:ext uri="{FF2B5EF4-FFF2-40B4-BE49-F238E27FC236}">
                      <a16:creationId xmlns:a16="http://schemas.microsoft.com/office/drawing/2014/main" id="{3C5567AE-12CA-457E-BBFA-EE3A1B53E4AF}"/>
                    </a:ext>
                  </a:extLst>
                </p:cNvPr>
                <p:cNvGrpSpPr/>
                <p:nvPr/>
              </p:nvGrpSpPr>
              <p:grpSpPr>
                <a:xfrm>
                  <a:off x="3755548" y="4654027"/>
                  <a:ext cx="1311775" cy="64008"/>
                  <a:chOff x="3755548" y="4654027"/>
                  <a:chExt cx="1311775" cy="64008"/>
                </a:xfrm>
              </p:grpSpPr>
              <p:grpSp>
                <p:nvGrpSpPr>
                  <p:cNvPr id="190" name="Group 189">
                    <a:extLst>
                      <a:ext uri="{FF2B5EF4-FFF2-40B4-BE49-F238E27FC236}">
                        <a16:creationId xmlns:a16="http://schemas.microsoft.com/office/drawing/2014/main" id="{546D81BD-5E09-46AC-90A3-1B1D18BC1DCC}"/>
                      </a:ext>
                    </a:extLst>
                  </p:cNvPr>
                  <p:cNvGrpSpPr/>
                  <p:nvPr/>
                </p:nvGrpSpPr>
                <p:grpSpPr>
                  <a:xfrm>
                    <a:off x="3755548" y="4654027"/>
                    <a:ext cx="437058" cy="64008"/>
                    <a:chOff x="3755548" y="4658793"/>
                    <a:chExt cx="437058" cy="64008"/>
                  </a:xfrm>
                </p:grpSpPr>
                <p:sp>
                  <p:nvSpPr>
                    <p:cNvPr id="198" name="Rectangle 197">
                      <a:extLst>
                        <a:ext uri="{FF2B5EF4-FFF2-40B4-BE49-F238E27FC236}">
                          <a16:creationId xmlns:a16="http://schemas.microsoft.com/office/drawing/2014/main" id="{846FC084-EA59-4125-8CED-2BA02D640605}"/>
                        </a:ext>
                      </a:extLst>
                    </p:cNvPr>
                    <p:cNvSpPr/>
                    <p:nvPr/>
                  </p:nvSpPr>
                  <p:spPr bwMode="auto">
                    <a:xfrm>
                      <a:off x="3824672" y="4658793"/>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Rectangle 198">
                      <a:extLst>
                        <a:ext uri="{FF2B5EF4-FFF2-40B4-BE49-F238E27FC236}">
                          <a16:creationId xmlns:a16="http://schemas.microsoft.com/office/drawing/2014/main" id="{16DFFF92-1FCC-47D5-AF8D-D51279981E10}"/>
                        </a:ext>
                      </a:extLst>
                    </p:cNvPr>
                    <p:cNvSpPr/>
                    <p:nvPr/>
                  </p:nvSpPr>
                  <p:spPr bwMode="auto">
                    <a:xfrm>
                      <a:off x="3912084" y="4658793"/>
                      <a:ext cx="54864"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76170507-E858-43D9-B687-EA177C41DAAC}"/>
                        </a:ext>
                      </a:extLst>
                    </p:cNvPr>
                    <p:cNvSpPr/>
                    <p:nvPr/>
                  </p:nvSpPr>
                  <p:spPr bwMode="auto">
                    <a:xfrm>
                      <a:off x="4008640" y="465879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1" name="Rectangle 200">
                      <a:extLst>
                        <a:ext uri="{FF2B5EF4-FFF2-40B4-BE49-F238E27FC236}">
                          <a16:creationId xmlns:a16="http://schemas.microsoft.com/office/drawing/2014/main" id="{3C3EFDF0-379A-4544-9D4E-BA91B7859B72}"/>
                        </a:ext>
                      </a:extLst>
                    </p:cNvPr>
                    <p:cNvSpPr/>
                    <p:nvPr/>
                  </p:nvSpPr>
                  <p:spPr bwMode="auto">
                    <a:xfrm>
                      <a:off x="3755548" y="465879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2" name="Rectangle 201">
                      <a:extLst>
                        <a:ext uri="{FF2B5EF4-FFF2-40B4-BE49-F238E27FC236}">
                          <a16:creationId xmlns:a16="http://schemas.microsoft.com/office/drawing/2014/main" id="{8FAD29E6-712B-48EB-BB1F-2D346E201051}"/>
                        </a:ext>
                      </a:extLst>
                    </p:cNvPr>
                    <p:cNvSpPr/>
                    <p:nvPr/>
                  </p:nvSpPr>
                  <p:spPr bwMode="auto">
                    <a:xfrm>
                      <a:off x="4146886" y="4658793"/>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3" name="Rectangle 202">
                      <a:extLst>
                        <a:ext uri="{FF2B5EF4-FFF2-40B4-BE49-F238E27FC236}">
                          <a16:creationId xmlns:a16="http://schemas.microsoft.com/office/drawing/2014/main" id="{8B899EF5-1369-4C09-AFB0-00D54A373C47}"/>
                        </a:ext>
                      </a:extLst>
                    </p:cNvPr>
                    <p:cNvSpPr/>
                    <p:nvPr/>
                  </p:nvSpPr>
                  <p:spPr bwMode="auto">
                    <a:xfrm>
                      <a:off x="4077764" y="465879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91" name="Group 190">
                    <a:extLst>
                      <a:ext uri="{FF2B5EF4-FFF2-40B4-BE49-F238E27FC236}">
                        <a16:creationId xmlns:a16="http://schemas.microsoft.com/office/drawing/2014/main" id="{8EFE2B50-F0E6-4AE1-97B6-FDFF8A40FC22}"/>
                      </a:ext>
                    </a:extLst>
                  </p:cNvPr>
                  <p:cNvGrpSpPr/>
                  <p:nvPr/>
                </p:nvGrpSpPr>
                <p:grpSpPr>
                  <a:xfrm>
                    <a:off x="4630265" y="4654027"/>
                    <a:ext cx="437058" cy="64008"/>
                    <a:chOff x="3755548" y="4658793"/>
                    <a:chExt cx="437058" cy="64008"/>
                  </a:xfrm>
                </p:grpSpPr>
                <p:sp>
                  <p:nvSpPr>
                    <p:cNvPr id="192" name="Rectangle 191">
                      <a:extLst>
                        <a:ext uri="{FF2B5EF4-FFF2-40B4-BE49-F238E27FC236}">
                          <a16:creationId xmlns:a16="http://schemas.microsoft.com/office/drawing/2014/main" id="{AE389B22-16BA-451D-B377-F05216528350}"/>
                        </a:ext>
                      </a:extLst>
                    </p:cNvPr>
                    <p:cNvSpPr/>
                    <p:nvPr/>
                  </p:nvSpPr>
                  <p:spPr bwMode="auto">
                    <a:xfrm>
                      <a:off x="3824672" y="4658793"/>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Rectangle 192">
                      <a:extLst>
                        <a:ext uri="{FF2B5EF4-FFF2-40B4-BE49-F238E27FC236}">
                          <a16:creationId xmlns:a16="http://schemas.microsoft.com/office/drawing/2014/main" id="{10C62D88-5C65-4A6A-B482-E31F8DA63B75}"/>
                        </a:ext>
                      </a:extLst>
                    </p:cNvPr>
                    <p:cNvSpPr/>
                    <p:nvPr/>
                  </p:nvSpPr>
                  <p:spPr bwMode="auto">
                    <a:xfrm>
                      <a:off x="3912084" y="4658793"/>
                      <a:ext cx="54864"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4" name="Rectangle 193">
                      <a:extLst>
                        <a:ext uri="{FF2B5EF4-FFF2-40B4-BE49-F238E27FC236}">
                          <a16:creationId xmlns:a16="http://schemas.microsoft.com/office/drawing/2014/main" id="{C570102C-B806-4617-9028-F6FDE4F14581}"/>
                        </a:ext>
                      </a:extLst>
                    </p:cNvPr>
                    <p:cNvSpPr/>
                    <p:nvPr/>
                  </p:nvSpPr>
                  <p:spPr bwMode="auto">
                    <a:xfrm>
                      <a:off x="4008640" y="465879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5" name="Rectangle 194">
                      <a:extLst>
                        <a:ext uri="{FF2B5EF4-FFF2-40B4-BE49-F238E27FC236}">
                          <a16:creationId xmlns:a16="http://schemas.microsoft.com/office/drawing/2014/main" id="{F3924E67-798F-413E-8C3B-533AB9C344C9}"/>
                        </a:ext>
                      </a:extLst>
                    </p:cNvPr>
                    <p:cNvSpPr/>
                    <p:nvPr/>
                  </p:nvSpPr>
                  <p:spPr bwMode="auto">
                    <a:xfrm>
                      <a:off x="3755548" y="465879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6" name="Rectangle 195">
                      <a:extLst>
                        <a:ext uri="{FF2B5EF4-FFF2-40B4-BE49-F238E27FC236}">
                          <a16:creationId xmlns:a16="http://schemas.microsoft.com/office/drawing/2014/main" id="{FB2F604E-193E-4704-87E4-D4BA2C5E3BF5}"/>
                        </a:ext>
                      </a:extLst>
                    </p:cNvPr>
                    <p:cNvSpPr/>
                    <p:nvPr/>
                  </p:nvSpPr>
                  <p:spPr bwMode="auto">
                    <a:xfrm>
                      <a:off x="4146886" y="4658793"/>
                      <a:ext cx="4572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A04B85DF-9EBF-4FED-AA21-4A7856216E3A}"/>
                        </a:ext>
                      </a:extLst>
                    </p:cNvPr>
                    <p:cNvSpPr/>
                    <p:nvPr/>
                  </p:nvSpPr>
                  <p:spPr bwMode="auto">
                    <a:xfrm>
                      <a:off x="4077764" y="4658793"/>
                      <a:ext cx="27432"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grpSp>
            <p:nvGrpSpPr>
              <p:cNvPr id="113" name="Group 112">
                <a:extLst>
                  <a:ext uri="{FF2B5EF4-FFF2-40B4-BE49-F238E27FC236}">
                    <a16:creationId xmlns:a16="http://schemas.microsoft.com/office/drawing/2014/main" id="{DF904A4F-8FD4-40CE-8D15-8CDCA0B7F039}"/>
                  </a:ext>
                </a:extLst>
              </p:cNvPr>
              <p:cNvGrpSpPr/>
              <p:nvPr/>
            </p:nvGrpSpPr>
            <p:grpSpPr>
              <a:xfrm>
                <a:off x="5494489" y="2308860"/>
                <a:ext cx="1664993" cy="845820"/>
                <a:chOff x="5494489" y="2308860"/>
                <a:chExt cx="1664993" cy="845820"/>
              </a:xfrm>
            </p:grpSpPr>
            <p:sp>
              <p:nvSpPr>
                <p:cNvPr id="172" name="Rectangle 171">
                  <a:extLst>
                    <a:ext uri="{FF2B5EF4-FFF2-40B4-BE49-F238E27FC236}">
                      <a16:creationId xmlns:a16="http://schemas.microsoft.com/office/drawing/2014/main" id="{EC4FEDDB-D201-48D4-A419-98F46A68C0B0}"/>
                    </a:ext>
                  </a:extLst>
                </p:cNvPr>
                <p:cNvSpPr/>
                <p:nvPr/>
              </p:nvSpPr>
              <p:spPr bwMode="auto">
                <a:xfrm>
                  <a:off x="5494489" y="2308860"/>
                  <a:ext cx="1664993" cy="845820"/>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3" name="Group 172">
                  <a:extLst>
                    <a:ext uri="{FF2B5EF4-FFF2-40B4-BE49-F238E27FC236}">
                      <a16:creationId xmlns:a16="http://schemas.microsoft.com/office/drawing/2014/main" id="{85C3BF73-340D-4244-A72E-62A32567534C}"/>
                    </a:ext>
                  </a:extLst>
                </p:cNvPr>
                <p:cNvGrpSpPr/>
                <p:nvPr/>
              </p:nvGrpSpPr>
              <p:grpSpPr>
                <a:xfrm>
                  <a:off x="5571901" y="2390500"/>
                  <a:ext cx="1439981" cy="682540"/>
                  <a:chOff x="5571901" y="2390500"/>
                  <a:chExt cx="1439981" cy="682540"/>
                </a:xfrm>
              </p:grpSpPr>
              <p:sp>
                <p:nvSpPr>
                  <p:cNvPr id="174" name="Rectangle 173">
                    <a:extLst>
                      <a:ext uri="{FF2B5EF4-FFF2-40B4-BE49-F238E27FC236}">
                        <a16:creationId xmlns:a16="http://schemas.microsoft.com/office/drawing/2014/main" id="{87A4033B-4C4F-44E8-9528-86F5E9B7942E}"/>
                      </a:ext>
                    </a:extLst>
                  </p:cNvPr>
                  <p:cNvSpPr/>
                  <p:nvPr/>
                </p:nvSpPr>
                <p:spPr bwMode="auto">
                  <a:xfrm>
                    <a:off x="5571901" y="2546509"/>
                    <a:ext cx="365760" cy="4571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Rectangle 174">
                    <a:extLst>
                      <a:ext uri="{FF2B5EF4-FFF2-40B4-BE49-F238E27FC236}">
                        <a16:creationId xmlns:a16="http://schemas.microsoft.com/office/drawing/2014/main" id="{8C559EB4-50DA-40A0-8302-AA2D9E75D012}"/>
                      </a:ext>
                    </a:extLst>
                  </p:cNvPr>
                  <p:cNvSpPr/>
                  <p:nvPr/>
                </p:nvSpPr>
                <p:spPr bwMode="auto">
                  <a:xfrm>
                    <a:off x="5571901" y="2642848"/>
                    <a:ext cx="557784" cy="4571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6" name="Rectangle 175">
                    <a:extLst>
                      <a:ext uri="{FF2B5EF4-FFF2-40B4-BE49-F238E27FC236}">
                        <a16:creationId xmlns:a16="http://schemas.microsoft.com/office/drawing/2014/main" id="{CF662B4C-0C21-46A1-85D5-ADA8D2365B26}"/>
                      </a:ext>
                    </a:extLst>
                  </p:cNvPr>
                  <p:cNvSpPr/>
                  <p:nvPr/>
                </p:nvSpPr>
                <p:spPr bwMode="auto">
                  <a:xfrm>
                    <a:off x="5571901" y="2745718"/>
                    <a:ext cx="365760" cy="4571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7" name="Rectangle 176">
                    <a:extLst>
                      <a:ext uri="{FF2B5EF4-FFF2-40B4-BE49-F238E27FC236}">
                        <a16:creationId xmlns:a16="http://schemas.microsoft.com/office/drawing/2014/main" id="{5DC984A4-6CC7-47E2-BE4A-34479C759C1E}"/>
                      </a:ext>
                    </a:extLst>
                  </p:cNvPr>
                  <p:cNvSpPr/>
                  <p:nvPr/>
                </p:nvSpPr>
                <p:spPr bwMode="auto">
                  <a:xfrm>
                    <a:off x="5571901" y="2842057"/>
                    <a:ext cx="576072" cy="4571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Circle: Hollow 177">
                    <a:extLst>
                      <a:ext uri="{FF2B5EF4-FFF2-40B4-BE49-F238E27FC236}">
                        <a16:creationId xmlns:a16="http://schemas.microsoft.com/office/drawing/2014/main" id="{9610F489-266A-4BC6-AA15-56497CAA7C16}"/>
                      </a:ext>
                    </a:extLst>
                  </p:cNvPr>
                  <p:cNvSpPr/>
                  <p:nvPr/>
                </p:nvSpPr>
                <p:spPr bwMode="auto">
                  <a:xfrm>
                    <a:off x="6329341" y="2390500"/>
                    <a:ext cx="682540" cy="682540"/>
                  </a:xfrm>
                  <a:prstGeom prst="donut">
                    <a:avLst>
                      <a:gd name="adj" fmla="val 859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9" name="Freeform: Shape 178">
                    <a:extLst>
                      <a:ext uri="{FF2B5EF4-FFF2-40B4-BE49-F238E27FC236}">
                        <a16:creationId xmlns:a16="http://schemas.microsoft.com/office/drawing/2014/main" id="{3EBA640E-980E-43DB-893C-EC5CDF9044ED}"/>
                      </a:ext>
                    </a:extLst>
                  </p:cNvPr>
                  <p:cNvSpPr/>
                  <p:nvPr/>
                </p:nvSpPr>
                <p:spPr bwMode="auto">
                  <a:xfrm>
                    <a:off x="6663789" y="2390500"/>
                    <a:ext cx="348093" cy="578502"/>
                  </a:xfrm>
                  <a:custGeom>
                    <a:avLst/>
                    <a:gdLst>
                      <a:gd name="connsiteX0" fmla="*/ 6823 w 348093"/>
                      <a:gd name="connsiteY0" fmla="*/ 0 h 578502"/>
                      <a:gd name="connsiteX1" fmla="*/ 348093 w 348093"/>
                      <a:gd name="connsiteY1" fmla="*/ 341270 h 578502"/>
                      <a:gd name="connsiteX2" fmla="*/ 289810 w 348093"/>
                      <a:gd name="connsiteY2" fmla="*/ 532077 h 578502"/>
                      <a:gd name="connsiteX3" fmla="*/ 251506 w 348093"/>
                      <a:gd name="connsiteY3" fmla="*/ 578502 h 578502"/>
                      <a:gd name="connsiteX4" fmla="*/ 207110 w 348093"/>
                      <a:gd name="connsiteY4" fmla="*/ 540530 h 578502"/>
                      <a:gd name="connsiteX5" fmla="*/ 241153 w 348093"/>
                      <a:gd name="connsiteY5" fmla="*/ 499270 h 578502"/>
                      <a:gd name="connsiteX6" fmla="*/ 289415 w 348093"/>
                      <a:gd name="connsiteY6" fmla="*/ 341270 h 578502"/>
                      <a:gd name="connsiteX7" fmla="*/ 6823 w 348093"/>
                      <a:gd name="connsiteY7" fmla="*/ 58678 h 578502"/>
                      <a:gd name="connsiteX8" fmla="*/ 0 w 348093"/>
                      <a:gd name="connsiteY8" fmla="*/ 59366 h 578502"/>
                      <a:gd name="connsiteX9" fmla="*/ 0 w 348093"/>
                      <a:gd name="connsiteY9" fmla="*/ 688 h 57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093" h="578502">
                        <a:moveTo>
                          <a:pt x="6823" y="0"/>
                        </a:moveTo>
                        <a:cubicBezTo>
                          <a:pt x="195301" y="0"/>
                          <a:pt x="348093" y="152792"/>
                          <a:pt x="348093" y="341270"/>
                        </a:cubicBezTo>
                        <a:cubicBezTo>
                          <a:pt x="348093" y="411949"/>
                          <a:pt x="326607" y="477610"/>
                          <a:pt x="289810" y="532077"/>
                        </a:cubicBezTo>
                        <a:lnTo>
                          <a:pt x="251506" y="578502"/>
                        </a:lnTo>
                        <a:lnTo>
                          <a:pt x="207110" y="540530"/>
                        </a:lnTo>
                        <a:lnTo>
                          <a:pt x="241153" y="499270"/>
                        </a:lnTo>
                        <a:cubicBezTo>
                          <a:pt x="271623" y="454168"/>
                          <a:pt x="289415" y="399797"/>
                          <a:pt x="289415" y="341270"/>
                        </a:cubicBezTo>
                        <a:cubicBezTo>
                          <a:pt x="289415" y="185199"/>
                          <a:pt x="162894" y="58678"/>
                          <a:pt x="6823" y="58678"/>
                        </a:cubicBezTo>
                        <a:lnTo>
                          <a:pt x="0" y="59366"/>
                        </a:lnTo>
                        <a:lnTo>
                          <a:pt x="0" y="688"/>
                        </a:lnTo>
                        <a:close/>
                      </a:path>
                    </a:pathLst>
                  </a:cu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14" name="Group 113">
                <a:extLst>
                  <a:ext uri="{FF2B5EF4-FFF2-40B4-BE49-F238E27FC236}">
                    <a16:creationId xmlns:a16="http://schemas.microsoft.com/office/drawing/2014/main" id="{B7DFFA82-C43E-4188-82AA-2DEB63A68A5A}"/>
                  </a:ext>
                </a:extLst>
              </p:cNvPr>
              <p:cNvGrpSpPr/>
              <p:nvPr/>
            </p:nvGrpSpPr>
            <p:grpSpPr>
              <a:xfrm>
                <a:off x="5494489" y="3257550"/>
                <a:ext cx="1664993" cy="1920240"/>
                <a:chOff x="5494489" y="3257550"/>
                <a:chExt cx="1664993" cy="1920240"/>
              </a:xfrm>
            </p:grpSpPr>
            <p:sp>
              <p:nvSpPr>
                <p:cNvPr id="132" name="Rectangle 131">
                  <a:extLst>
                    <a:ext uri="{FF2B5EF4-FFF2-40B4-BE49-F238E27FC236}">
                      <a16:creationId xmlns:a16="http://schemas.microsoft.com/office/drawing/2014/main" id="{EC774678-10C9-4324-97C1-41BF61CBC49F}"/>
                    </a:ext>
                  </a:extLst>
                </p:cNvPr>
                <p:cNvSpPr/>
                <p:nvPr/>
              </p:nvSpPr>
              <p:spPr bwMode="auto">
                <a:xfrm>
                  <a:off x="5494489" y="3257550"/>
                  <a:ext cx="1664993" cy="1920240"/>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3" name="Rectangle 132">
                  <a:extLst>
                    <a:ext uri="{FF2B5EF4-FFF2-40B4-BE49-F238E27FC236}">
                      <a16:creationId xmlns:a16="http://schemas.microsoft.com/office/drawing/2014/main" id="{B8EE3082-FA2B-4D7C-AD85-4FF4FC6129A0}"/>
                    </a:ext>
                  </a:extLst>
                </p:cNvPr>
                <p:cNvSpPr/>
                <p:nvPr/>
              </p:nvSpPr>
              <p:spPr bwMode="auto">
                <a:xfrm>
                  <a:off x="5603432" y="3354448"/>
                  <a:ext cx="182880" cy="4571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Rectangle 133">
                  <a:extLst>
                    <a:ext uri="{FF2B5EF4-FFF2-40B4-BE49-F238E27FC236}">
                      <a16:creationId xmlns:a16="http://schemas.microsoft.com/office/drawing/2014/main" id="{D6554102-0AF0-4D95-B2F6-66BC251F1123}"/>
                    </a:ext>
                  </a:extLst>
                </p:cNvPr>
                <p:cNvSpPr/>
                <p:nvPr/>
              </p:nvSpPr>
              <p:spPr bwMode="auto">
                <a:xfrm>
                  <a:off x="6572349" y="3354448"/>
                  <a:ext cx="182880" cy="4571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C2CCDB02-184B-4510-8610-06F678F04ECA}"/>
                    </a:ext>
                  </a:extLst>
                </p:cNvPr>
                <p:cNvSpPr/>
                <p:nvPr/>
              </p:nvSpPr>
              <p:spPr bwMode="auto">
                <a:xfrm>
                  <a:off x="6885173" y="3354448"/>
                  <a:ext cx="182880" cy="4571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6" name="Group 135">
                  <a:extLst>
                    <a:ext uri="{FF2B5EF4-FFF2-40B4-BE49-F238E27FC236}">
                      <a16:creationId xmlns:a16="http://schemas.microsoft.com/office/drawing/2014/main" id="{45CE97F9-5B82-4F35-AAB6-51AFF853D9A6}"/>
                    </a:ext>
                  </a:extLst>
                </p:cNvPr>
                <p:cNvGrpSpPr/>
                <p:nvPr/>
              </p:nvGrpSpPr>
              <p:grpSpPr>
                <a:xfrm>
                  <a:off x="5586758" y="3473900"/>
                  <a:ext cx="1374154" cy="73152"/>
                  <a:chOff x="5586758" y="3473900"/>
                  <a:chExt cx="1374154" cy="73152"/>
                </a:xfrm>
              </p:grpSpPr>
              <p:sp>
                <p:nvSpPr>
                  <p:cNvPr id="169" name="Rectangle: Rounded Corners 168">
                    <a:extLst>
                      <a:ext uri="{FF2B5EF4-FFF2-40B4-BE49-F238E27FC236}">
                        <a16:creationId xmlns:a16="http://schemas.microsoft.com/office/drawing/2014/main" id="{C216EC37-A2C3-4E40-B36E-89690D34A188}"/>
                      </a:ext>
                    </a:extLst>
                  </p:cNvPr>
                  <p:cNvSpPr/>
                  <p:nvPr/>
                </p:nvSpPr>
                <p:spPr bwMode="auto">
                  <a:xfrm>
                    <a:off x="5586758" y="3483044"/>
                    <a:ext cx="886968"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0" name="Rectangle: Rounded Corners 169">
                    <a:extLst>
                      <a:ext uri="{FF2B5EF4-FFF2-40B4-BE49-F238E27FC236}">
                        <a16:creationId xmlns:a16="http://schemas.microsoft.com/office/drawing/2014/main" id="{C4229EA3-513D-4C1F-886A-0F5623803576}"/>
                      </a:ext>
                    </a:extLst>
                  </p:cNvPr>
                  <p:cNvSpPr/>
                  <p:nvPr/>
                </p:nvSpPr>
                <p:spPr bwMode="auto">
                  <a:xfrm>
                    <a:off x="6572349" y="3483044"/>
                    <a:ext cx="128016"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Oval 170">
                    <a:extLst>
                      <a:ext uri="{FF2B5EF4-FFF2-40B4-BE49-F238E27FC236}">
                        <a16:creationId xmlns:a16="http://schemas.microsoft.com/office/drawing/2014/main" id="{15B54A17-BE68-45E9-BBD4-657D025855F6}"/>
                      </a:ext>
                    </a:extLst>
                  </p:cNvPr>
                  <p:cNvSpPr/>
                  <p:nvPr/>
                </p:nvSpPr>
                <p:spPr bwMode="auto">
                  <a:xfrm>
                    <a:off x="6887760" y="3473900"/>
                    <a:ext cx="73152" cy="73152"/>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37" name="Group 136">
                  <a:extLst>
                    <a:ext uri="{FF2B5EF4-FFF2-40B4-BE49-F238E27FC236}">
                      <a16:creationId xmlns:a16="http://schemas.microsoft.com/office/drawing/2014/main" id="{848E6963-C909-4497-BB66-71B0502B0289}"/>
                    </a:ext>
                  </a:extLst>
                </p:cNvPr>
                <p:cNvGrpSpPr/>
                <p:nvPr/>
              </p:nvGrpSpPr>
              <p:grpSpPr>
                <a:xfrm>
                  <a:off x="5586758" y="3666072"/>
                  <a:ext cx="1374154" cy="73152"/>
                  <a:chOff x="5586758" y="3473900"/>
                  <a:chExt cx="1374154" cy="73152"/>
                </a:xfrm>
              </p:grpSpPr>
              <p:sp>
                <p:nvSpPr>
                  <p:cNvPr id="166" name="Rectangle: Rounded Corners 165">
                    <a:extLst>
                      <a:ext uri="{FF2B5EF4-FFF2-40B4-BE49-F238E27FC236}">
                        <a16:creationId xmlns:a16="http://schemas.microsoft.com/office/drawing/2014/main" id="{F9097633-F214-4030-BDF8-063DD71B7AF8}"/>
                      </a:ext>
                    </a:extLst>
                  </p:cNvPr>
                  <p:cNvSpPr/>
                  <p:nvPr/>
                </p:nvSpPr>
                <p:spPr bwMode="auto">
                  <a:xfrm>
                    <a:off x="5586758" y="3483044"/>
                    <a:ext cx="886968"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7" name="Rectangle: Rounded Corners 166">
                    <a:extLst>
                      <a:ext uri="{FF2B5EF4-FFF2-40B4-BE49-F238E27FC236}">
                        <a16:creationId xmlns:a16="http://schemas.microsoft.com/office/drawing/2014/main" id="{325A3DC6-3294-41A5-B7A7-BECF429A2FBD}"/>
                      </a:ext>
                    </a:extLst>
                  </p:cNvPr>
                  <p:cNvSpPr/>
                  <p:nvPr/>
                </p:nvSpPr>
                <p:spPr bwMode="auto">
                  <a:xfrm>
                    <a:off x="6572349" y="3483044"/>
                    <a:ext cx="128016"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8" name="Oval 167">
                    <a:extLst>
                      <a:ext uri="{FF2B5EF4-FFF2-40B4-BE49-F238E27FC236}">
                        <a16:creationId xmlns:a16="http://schemas.microsoft.com/office/drawing/2014/main" id="{B2E53860-4286-4D32-9522-2F7F9D20519C}"/>
                      </a:ext>
                    </a:extLst>
                  </p:cNvPr>
                  <p:cNvSpPr/>
                  <p:nvPr/>
                </p:nvSpPr>
                <p:spPr bwMode="auto">
                  <a:xfrm>
                    <a:off x="6887760" y="3473900"/>
                    <a:ext cx="73152" cy="73152"/>
                  </a:xfrm>
                  <a:prstGeom prst="ellipse">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853DF5EE-2C55-4BE5-865D-B443B1723E1A}"/>
                    </a:ext>
                  </a:extLst>
                </p:cNvPr>
                <p:cNvGrpSpPr/>
                <p:nvPr/>
              </p:nvGrpSpPr>
              <p:grpSpPr>
                <a:xfrm>
                  <a:off x="5586758" y="3858244"/>
                  <a:ext cx="1374154" cy="73152"/>
                  <a:chOff x="5586758" y="3473900"/>
                  <a:chExt cx="1374154" cy="73152"/>
                </a:xfrm>
              </p:grpSpPr>
              <p:sp>
                <p:nvSpPr>
                  <p:cNvPr id="163" name="Rectangle: Rounded Corners 162">
                    <a:extLst>
                      <a:ext uri="{FF2B5EF4-FFF2-40B4-BE49-F238E27FC236}">
                        <a16:creationId xmlns:a16="http://schemas.microsoft.com/office/drawing/2014/main" id="{AD6DCF95-9EEF-4254-A106-63560E577EB6}"/>
                      </a:ext>
                    </a:extLst>
                  </p:cNvPr>
                  <p:cNvSpPr/>
                  <p:nvPr/>
                </p:nvSpPr>
                <p:spPr bwMode="auto">
                  <a:xfrm>
                    <a:off x="5586758" y="3483044"/>
                    <a:ext cx="886968"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4" name="Rectangle: Rounded Corners 163">
                    <a:extLst>
                      <a:ext uri="{FF2B5EF4-FFF2-40B4-BE49-F238E27FC236}">
                        <a16:creationId xmlns:a16="http://schemas.microsoft.com/office/drawing/2014/main" id="{A7FA7980-38A5-43BF-A701-0F185CD267A2}"/>
                      </a:ext>
                    </a:extLst>
                  </p:cNvPr>
                  <p:cNvSpPr/>
                  <p:nvPr/>
                </p:nvSpPr>
                <p:spPr bwMode="auto">
                  <a:xfrm>
                    <a:off x="6572349" y="3483044"/>
                    <a:ext cx="128016"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5" name="Oval 164">
                    <a:extLst>
                      <a:ext uri="{FF2B5EF4-FFF2-40B4-BE49-F238E27FC236}">
                        <a16:creationId xmlns:a16="http://schemas.microsoft.com/office/drawing/2014/main" id="{D13262BE-C1FD-4FC3-A13F-079F92E11E87}"/>
                      </a:ext>
                    </a:extLst>
                  </p:cNvPr>
                  <p:cNvSpPr/>
                  <p:nvPr/>
                </p:nvSpPr>
                <p:spPr bwMode="auto">
                  <a:xfrm>
                    <a:off x="6887760" y="3473900"/>
                    <a:ext cx="73152" cy="73152"/>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39" name="Group 138">
                  <a:extLst>
                    <a:ext uri="{FF2B5EF4-FFF2-40B4-BE49-F238E27FC236}">
                      <a16:creationId xmlns:a16="http://schemas.microsoft.com/office/drawing/2014/main" id="{F42ECBE7-6701-4C14-A668-AAEF38ED7B54}"/>
                    </a:ext>
                  </a:extLst>
                </p:cNvPr>
                <p:cNvGrpSpPr/>
                <p:nvPr/>
              </p:nvGrpSpPr>
              <p:grpSpPr>
                <a:xfrm>
                  <a:off x="5586758" y="4050416"/>
                  <a:ext cx="1374154" cy="73152"/>
                  <a:chOff x="5586758" y="3473900"/>
                  <a:chExt cx="1374154" cy="73152"/>
                </a:xfrm>
              </p:grpSpPr>
              <p:sp>
                <p:nvSpPr>
                  <p:cNvPr id="160" name="Rectangle: Rounded Corners 159">
                    <a:extLst>
                      <a:ext uri="{FF2B5EF4-FFF2-40B4-BE49-F238E27FC236}">
                        <a16:creationId xmlns:a16="http://schemas.microsoft.com/office/drawing/2014/main" id="{F06E969C-7A89-4941-859B-C8797B5D5025}"/>
                      </a:ext>
                    </a:extLst>
                  </p:cNvPr>
                  <p:cNvSpPr/>
                  <p:nvPr/>
                </p:nvSpPr>
                <p:spPr bwMode="auto">
                  <a:xfrm>
                    <a:off x="5586758" y="3483044"/>
                    <a:ext cx="886968"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1" name="Rectangle: Rounded Corners 160">
                    <a:extLst>
                      <a:ext uri="{FF2B5EF4-FFF2-40B4-BE49-F238E27FC236}">
                        <a16:creationId xmlns:a16="http://schemas.microsoft.com/office/drawing/2014/main" id="{0938928D-E57E-41FE-AF38-66639E4CCAAB}"/>
                      </a:ext>
                    </a:extLst>
                  </p:cNvPr>
                  <p:cNvSpPr/>
                  <p:nvPr/>
                </p:nvSpPr>
                <p:spPr bwMode="auto">
                  <a:xfrm>
                    <a:off x="6572349" y="3483044"/>
                    <a:ext cx="128016"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1084ADAA-938E-4BC6-A163-E728941B07D3}"/>
                      </a:ext>
                    </a:extLst>
                  </p:cNvPr>
                  <p:cNvSpPr/>
                  <p:nvPr/>
                </p:nvSpPr>
                <p:spPr bwMode="auto">
                  <a:xfrm>
                    <a:off x="6887760" y="3473900"/>
                    <a:ext cx="73152" cy="73152"/>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40" name="Group 139">
                  <a:extLst>
                    <a:ext uri="{FF2B5EF4-FFF2-40B4-BE49-F238E27FC236}">
                      <a16:creationId xmlns:a16="http://schemas.microsoft.com/office/drawing/2014/main" id="{8962D4AD-87B7-416F-9836-0467301A8B39}"/>
                    </a:ext>
                  </a:extLst>
                </p:cNvPr>
                <p:cNvGrpSpPr/>
                <p:nvPr/>
              </p:nvGrpSpPr>
              <p:grpSpPr>
                <a:xfrm>
                  <a:off x="5586758" y="4242588"/>
                  <a:ext cx="1374154" cy="73152"/>
                  <a:chOff x="5586758" y="3473900"/>
                  <a:chExt cx="1374154" cy="73152"/>
                </a:xfrm>
              </p:grpSpPr>
              <p:sp>
                <p:nvSpPr>
                  <p:cNvPr id="157" name="Rectangle: Rounded Corners 156">
                    <a:extLst>
                      <a:ext uri="{FF2B5EF4-FFF2-40B4-BE49-F238E27FC236}">
                        <a16:creationId xmlns:a16="http://schemas.microsoft.com/office/drawing/2014/main" id="{AA0720DB-B9B6-4CE6-B844-CC1B92E85E43}"/>
                      </a:ext>
                    </a:extLst>
                  </p:cNvPr>
                  <p:cNvSpPr/>
                  <p:nvPr/>
                </p:nvSpPr>
                <p:spPr bwMode="auto">
                  <a:xfrm>
                    <a:off x="5586758" y="3483044"/>
                    <a:ext cx="886968"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8" name="Rectangle: Rounded Corners 157">
                    <a:extLst>
                      <a:ext uri="{FF2B5EF4-FFF2-40B4-BE49-F238E27FC236}">
                        <a16:creationId xmlns:a16="http://schemas.microsoft.com/office/drawing/2014/main" id="{B89D2A5D-A72E-4AEF-8779-451FDF19E4C3}"/>
                      </a:ext>
                    </a:extLst>
                  </p:cNvPr>
                  <p:cNvSpPr/>
                  <p:nvPr/>
                </p:nvSpPr>
                <p:spPr bwMode="auto">
                  <a:xfrm>
                    <a:off x="6572349" y="3483044"/>
                    <a:ext cx="128016"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9" name="Oval 158">
                    <a:extLst>
                      <a:ext uri="{FF2B5EF4-FFF2-40B4-BE49-F238E27FC236}">
                        <a16:creationId xmlns:a16="http://schemas.microsoft.com/office/drawing/2014/main" id="{D5A0C2C6-475B-4C09-808C-D16A0ED4780A}"/>
                      </a:ext>
                    </a:extLst>
                  </p:cNvPr>
                  <p:cNvSpPr/>
                  <p:nvPr/>
                </p:nvSpPr>
                <p:spPr bwMode="auto">
                  <a:xfrm>
                    <a:off x="6887760" y="3473900"/>
                    <a:ext cx="73152" cy="73152"/>
                  </a:xfrm>
                  <a:prstGeom prst="ellipse">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41" name="Group 140">
                  <a:extLst>
                    <a:ext uri="{FF2B5EF4-FFF2-40B4-BE49-F238E27FC236}">
                      <a16:creationId xmlns:a16="http://schemas.microsoft.com/office/drawing/2014/main" id="{DD30E1EE-8964-4871-B077-F91BF49F0B13}"/>
                    </a:ext>
                  </a:extLst>
                </p:cNvPr>
                <p:cNvGrpSpPr/>
                <p:nvPr/>
              </p:nvGrpSpPr>
              <p:grpSpPr>
                <a:xfrm>
                  <a:off x="5586758" y="4434760"/>
                  <a:ext cx="1374154" cy="73152"/>
                  <a:chOff x="5586758" y="3473900"/>
                  <a:chExt cx="1374154" cy="73152"/>
                </a:xfrm>
              </p:grpSpPr>
              <p:sp>
                <p:nvSpPr>
                  <p:cNvPr id="154" name="Rectangle: Rounded Corners 153">
                    <a:extLst>
                      <a:ext uri="{FF2B5EF4-FFF2-40B4-BE49-F238E27FC236}">
                        <a16:creationId xmlns:a16="http://schemas.microsoft.com/office/drawing/2014/main" id="{D7C2C858-A9A7-4163-A257-C7EA7373F2EA}"/>
                      </a:ext>
                    </a:extLst>
                  </p:cNvPr>
                  <p:cNvSpPr/>
                  <p:nvPr/>
                </p:nvSpPr>
                <p:spPr bwMode="auto">
                  <a:xfrm>
                    <a:off x="5586758" y="3483044"/>
                    <a:ext cx="886968"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5" name="Rectangle: Rounded Corners 154">
                    <a:extLst>
                      <a:ext uri="{FF2B5EF4-FFF2-40B4-BE49-F238E27FC236}">
                        <a16:creationId xmlns:a16="http://schemas.microsoft.com/office/drawing/2014/main" id="{AB15F444-40A6-4651-9167-F509865A3BA7}"/>
                      </a:ext>
                    </a:extLst>
                  </p:cNvPr>
                  <p:cNvSpPr/>
                  <p:nvPr/>
                </p:nvSpPr>
                <p:spPr bwMode="auto">
                  <a:xfrm>
                    <a:off x="6572349" y="3483044"/>
                    <a:ext cx="128016"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6" name="Oval 155">
                    <a:extLst>
                      <a:ext uri="{FF2B5EF4-FFF2-40B4-BE49-F238E27FC236}">
                        <a16:creationId xmlns:a16="http://schemas.microsoft.com/office/drawing/2014/main" id="{A966D893-2D9F-4F8A-B4CF-3F440A9138B7}"/>
                      </a:ext>
                    </a:extLst>
                  </p:cNvPr>
                  <p:cNvSpPr/>
                  <p:nvPr/>
                </p:nvSpPr>
                <p:spPr bwMode="auto">
                  <a:xfrm>
                    <a:off x="6887760" y="3473900"/>
                    <a:ext cx="73152" cy="73152"/>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42" name="Group 141">
                  <a:extLst>
                    <a:ext uri="{FF2B5EF4-FFF2-40B4-BE49-F238E27FC236}">
                      <a16:creationId xmlns:a16="http://schemas.microsoft.com/office/drawing/2014/main" id="{D098BF2A-75CE-4EF6-B948-379946F8354A}"/>
                    </a:ext>
                  </a:extLst>
                </p:cNvPr>
                <p:cNvGrpSpPr/>
                <p:nvPr/>
              </p:nvGrpSpPr>
              <p:grpSpPr>
                <a:xfrm>
                  <a:off x="5586758" y="4626932"/>
                  <a:ext cx="1374154" cy="73152"/>
                  <a:chOff x="5586758" y="3473900"/>
                  <a:chExt cx="1374154" cy="73152"/>
                </a:xfrm>
              </p:grpSpPr>
              <p:sp>
                <p:nvSpPr>
                  <p:cNvPr id="151" name="Rectangle: Rounded Corners 150">
                    <a:extLst>
                      <a:ext uri="{FF2B5EF4-FFF2-40B4-BE49-F238E27FC236}">
                        <a16:creationId xmlns:a16="http://schemas.microsoft.com/office/drawing/2014/main" id="{BFE9FBA9-F11C-4494-BB3F-6A9526C0B1F5}"/>
                      </a:ext>
                    </a:extLst>
                  </p:cNvPr>
                  <p:cNvSpPr/>
                  <p:nvPr/>
                </p:nvSpPr>
                <p:spPr bwMode="auto">
                  <a:xfrm>
                    <a:off x="5586758" y="3483044"/>
                    <a:ext cx="886968"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D26950E8-ABD5-439D-B1C7-0D2D80D350CC}"/>
                      </a:ext>
                    </a:extLst>
                  </p:cNvPr>
                  <p:cNvSpPr/>
                  <p:nvPr/>
                </p:nvSpPr>
                <p:spPr bwMode="auto">
                  <a:xfrm>
                    <a:off x="6572349" y="3483044"/>
                    <a:ext cx="128016"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3" name="Oval 152">
                    <a:extLst>
                      <a:ext uri="{FF2B5EF4-FFF2-40B4-BE49-F238E27FC236}">
                        <a16:creationId xmlns:a16="http://schemas.microsoft.com/office/drawing/2014/main" id="{5D025A58-E831-447A-8F7E-D0A0720B7AA1}"/>
                      </a:ext>
                    </a:extLst>
                  </p:cNvPr>
                  <p:cNvSpPr/>
                  <p:nvPr/>
                </p:nvSpPr>
                <p:spPr bwMode="auto">
                  <a:xfrm>
                    <a:off x="6887760" y="3473900"/>
                    <a:ext cx="73152" cy="73152"/>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43" name="Group 142">
                  <a:extLst>
                    <a:ext uri="{FF2B5EF4-FFF2-40B4-BE49-F238E27FC236}">
                      <a16:creationId xmlns:a16="http://schemas.microsoft.com/office/drawing/2014/main" id="{1B353F28-E6B8-4CF8-B753-7A5436E36E44}"/>
                    </a:ext>
                  </a:extLst>
                </p:cNvPr>
                <p:cNvGrpSpPr/>
                <p:nvPr/>
              </p:nvGrpSpPr>
              <p:grpSpPr>
                <a:xfrm>
                  <a:off x="5586758" y="4819104"/>
                  <a:ext cx="1374154" cy="73152"/>
                  <a:chOff x="5586758" y="3473900"/>
                  <a:chExt cx="1374154" cy="73152"/>
                </a:xfrm>
              </p:grpSpPr>
              <p:sp>
                <p:nvSpPr>
                  <p:cNvPr id="148" name="Rectangle: Rounded Corners 147">
                    <a:extLst>
                      <a:ext uri="{FF2B5EF4-FFF2-40B4-BE49-F238E27FC236}">
                        <a16:creationId xmlns:a16="http://schemas.microsoft.com/office/drawing/2014/main" id="{974ED7ED-3A7F-4656-BB0F-5758F54294D7}"/>
                      </a:ext>
                    </a:extLst>
                  </p:cNvPr>
                  <p:cNvSpPr/>
                  <p:nvPr/>
                </p:nvSpPr>
                <p:spPr bwMode="auto">
                  <a:xfrm>
                    <a:off x="5586758" y="3483044"/>
                    <a:ext cx="886968"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61D65F7A-6507-4BE3-B8B8-207BA8411418}"/>
                      </a:ext>
                    </a:extLst>
                  </p:cNvPr>
                  <p:cNvSpPr/>
                  <p:nvPr/>
                </p:nvSpPr>
                <p:spPr bwMode="auto">
                  <a:xfrm>
                    <a:off x="6572349" y="3483044"/>
                    <a:ext cx="128016"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0" name="Oval 149">
                    <a:extLst>
                      <a:ext uri="{FF2B5EF4-FFF2-40B4-BE49-F238E27FC236}">
                        <a16:creationId xmlns:a16="http://schemas.microsoft.com/office/drawing/2014/main" id="{AEFCF806-B60C-48E7-B522-ED0FF7C618D9}"/>
                      </a:ext>
                    </a:extLst>
                  </p:cNvPr>
                  <p:cNvSpPr/>
                  <p:nvPr/>
                </p:nvSpPr>
                <p:spPr bwMode="auto">
                  <a:xfrm>
                    <a:off x="6887760" y="3473900"/>
                    <a:ext cx="73152" cy="73152"/>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8C572323-6D38-4A18-8CE8-51F57621C93A}"/>
                    </a:ext>
                  </a:extLst>
                </p:cNvPr>
                <p:cNvGrpSpPr/>
                <p:nvPr/>
              </p:nvGrpSpPr>
              <p:grpSpPr>
                <a:xfrm>
                  <a:off x="5586758" y="5011274"/>
                  <a:ext cx="1374154" cy="73152"/>
                  <a:chOff x="5586758" y="3473900"/>
                  <a:chExt cx="1374154" cy="73152"/>
                </a:xfrm>
              </p:grpSpPr>
              <p:sp>
                <p:nvSpPr>
                  <p:cNvPr id="145" name="Rectangle: Rounded Corners 144">
                    <a:extLst>
                      <a:ext uri="{FF2B5EF4-FFF2-40B4-BE49-F238E27FC236}">
                        <a16:creationId xmlns:a16="http://schemas.microsoft.com/office/drawing/2014/main" id="{570C7842-A397-4408-9095-704D7AF9F520}"/>
                      </a:ext>
                    </a:extLst>
                  </p:cNvPr>
                  <p:cNvSpPr/>
                  <p:nvPr/>
                </p:nvSpPr>
                <p:spPr bwMode="auto">
                  <a:xfrm>
                    <a:off x="5586758" y="3483044"/>
                    <a:ext cx="886968"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4263C394-0045-4989-8AD8-77B8C0EDF0DB}"/>
                      </a:ext>
                    </a:extLst>
                  </p:cNvPr>
                  <p:cNvSpPr/>
                  <p:nvPr/>
                </p:nvSpPr>
                <p:spPr bwMode="auto">
                  <a:xfrm>
                    <a:off x="6572349" y="3483044"/>
                    <a:ext cx="128016" cy="54864"/>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7" name="Oval 146">
                    <a:extLst>
                      <a:ext uri="{FF2B5EF4-FFF2-40B4-BE49-F238E27FC236}">
                        <a16:creationId xmlns:a16="http://schemas.microsoft.com/office/drawing/2014/main" id="{06E37BCF-176C-46C8-B9CC-42DAAD773455}"/>
                      </a:ext>
                    </a:extLst>
                  </p:cNvPr>
                  <p:cNvSpPr/>
                  <p:nvPr/>
                </p:nvSpPr>
                <p:spPr bwMode="auto">
                  <a:xfrm>
                    <a:off x="6887760" y="3473900"/>
                    <a:ext cx="73152" cy="73152"/>
                  </a:xfrm>
                  <a:prstGeom prst="ellipse">
                    <a:avLst/>
                  </a:prstGeom>
                  <a:solidFill>
                    <a:srgbClr val="C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15" name="Group 114">
                <a:extLst>
                  <a:ext uri="{FF2B5EF4-FFF2-40B4-BE49-F238E27FC236}">
                    <a16:creationId xmlns:a16="http://schemas.microsoft.com/office/drawing/2014/main" id="{CE721DE8-26DA-4587-8153-72224BB80EBE}"/>
                  </a:ext>
                </a:extLst>
              </p:cNvPr>
              <p:cNvGrpSpPr/>
              <p:nvPr/>
            </p:nvGrpSpPr>
            <p:grpSpPr>
              <a:xfrm>
                <a:off x="7293571" y="2308860"/>
                <a:ext cx="1668533" cy="2868930"/>
                <a:chOff x="7293571" y="2308860"/>
                <a:chExt cx="1668533" cy="2868930"/>
              </a:xfrm>
            </p:grpSpPr>
            <p:grpSp>
              <p:nvGrpSpPr>
                <p:cNvPr id="117" name="Group 116">
                  <a:extLst>
                    <a:ext uri="{FF2B5EF4-FFF2-40B4-BE49-F238E27FC236}">
                      <a16:creationId xmlns:a16="http://schemas.microsoft.com/office/drawing/2014/main" id="{26424F6E-FC65-4D8B-8250-CA8E862CC8CE}"/>
                    </a:ext>
                  </a:extLst>
                </p:cNvPr>
                <p:cNvGrpSpPr/>
                <p:nvPr/>
              </p:nvGrpSpPr>
              <p:grpSpPr>
                <a:xfrm>
                  <a:off x="7297111" y="2308860"/>
                  <a:ext cx="1664993" cy="845820"/>
                  <a:chOff x="7297111" y="2308860"/>
                  <a:chExt cx="1664993" cy="845820"/>
                </a:xfrm>
              </p:grpSpPr>
              <p:sp>
                <p:nvSpPr>
                  <p:cNvPr id="124" name="Rectangle 123">
                    <a:extLst>
                      <a:ext uri="{FF2B5EF4-FFF2-40B4-BE49-F238E27FC236}">
                        <a16:creationId xmlns:a16="http://schemas.microsoft.com/office/drawing/2014/main" id="{E4683959-B95A-4C88-AADE-B88577D3A28E}"/>
                      </a:ext>
                    </a:extLst>
                  </p:cNvPr>
                  <p:cNvSpPr/>
                  <p:nvPr/>
                </p:nvSpPr>
                <p:spPr bwMode="auto">
                  <a:xfrm>
                    <a:off x="7297111" y="2308860"/>
                    <a:ext cx="1664993" cy="845820"/>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25" name="Group 124">
                    <a:extLst>
                      <a:ext uri="{FF2B5EF4-FFF2-40B4-BE49-F238E27FC236}">
                        <a16:creationId xmlns:a16="http://schemas.microsoft.com/office/drawing/2014/main" id="{76039EEB-A4C0-4F66-BE06-F0E0018C9F8C}"/>
                      </a:ext>
                    </a:extLst>
                  </p:cNvPr>
                  <p:cNvGrpSpPr/>
                  <p:nvPr/>
                </p:nvGrpSpPr>
                <p:grpSpPr>
                  <a:xfrm>
                    <a:off x="7490344" y="2514596"/>
                    <a:ext cx="548639" cy="548640"/>
                    <a:chOff x="7490344" y="2514596"/>
                    <a:chExt cx="548639" cy="548640"/>
                  </a:xfrm>
                </p:grpSpPr>
                <p:sp>
                  <p:nvSpPr>
                    <p:cNvPr id="130" name="Circle: Hollow 129">
                      <a:extLst>
                        <a:ext uri="{FF2B5EF4-FFF2-40B4-BE49-F238E27FC236}">
                          <a16:creationId xmlns:a16="http://schemas.microsoft.com/office/drawing/2014/main" id="{6672CB6D-EB71-4390-9310-151EA9240FB2}"/>
                        </a:ext>
                      </a:extLst>
                    </p:cNvPr>
                    <p:cNvSpPr/>
                    <p:nvPr/>
                  </p:nvSpPr>
                  <p:spPr bwMode="auto">
                    <a:xfrm>
                      <a:off x="7490344" y="2514596"/>
                      <a:ext cx="548639" cy="548640"/>
                    </a:xfrm>
                    <a:prstGeom prst="donut">
                      <a:avLst>
                        <a:gd name="adj" fmla="val 859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Freeform: Shape 130">
                      <a:extLst>
                        <a:ext uri="{FF2B5EF4-FFF2-40B4-BE49-F238E27FC236}">
                          <a16:creationId xmlns:a16="http://schemas.microsoft.com/office/drawing/2014/main" id="{71540FB4-88B1-464E-A568-F98123C12F5E}"/>
                        </a:ext>
                      </a:extLst>
                    </p:cNvPr>
                    <p:cNvSpPr/>
                    <p:nvPr/>
                  </p:nvSpPr>
                  <p:spPr bwMode="auto">
                    <a:xfrm>
                      <a:off x="7759179" y="2514596"/>
                      <a:ext cx="279804" cy="277838"/>
                    </a:xfrm>
                    <a:custGeom>
                      <a:avLst/>
                      <a:gdLst>
                        <a:gd name="connsiteX0" fmla="*/ 5485 w 279804"/>
                        <a:gd name="connsiteY0" fmla="*/ 0 h 277838"/>
                        <a:gd name="connsiteX1" fmla="*/ 279804 w 279804"/>
                        <a:gd name="connsiteY1" fmla="*/ 274320 h 277838"/>
                        <a:gd name="connsiteX2" fmla="*/ 279272 w 279804"/>
                        <a:gd name="connsiteY2" fmla="*/ 277838 h 277838"/>
                        <a:gd name="connsiteX3" fmla="*/ 232106 w 279804"/>
                        <a:gd name="connsiteY3" fmla="*/ 277838 h 277838"/>
                        <a:gd name="connsiteX4" fmla="*/ 232638 w 279804"/>
                        <a:gd name="connsiteY4" fmla="*/ 274320 h 277838"/>
                        <a:gd name="connsiteX5" fmla="*/ 5485 w 279804"/>
                        <a:gd name="connsiteY5" fmla="*/ 47167 h 277838"/>
                        <a:gd name="connsiteX6" fmla="*/ 0 w 279804"/>
                        <a:gd name="connsiteY6" fmla="*/ 47720 h 277838"/>
                        <a:gd name="connsiteX7" fmla="*/ 0 w 279804"/>
                        <a:gd name="connsiteY7" fmla="*/ 553 h 27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804" h="277838">
                          <a:moveTo>
                            <a:pt x="5485" y="0"/>
                          </a:moveTo>
                          <a:cubicBezTo>
                            <a:pt x="156987" y="0"/>
                            <a:pt x="279804" y="122818"/>
                            <a:pt x="279804" y="274320"/>
                          </a:cubicBezTo>
                          <a:lnTo>
                            <a:pt x="279272" y="277838"/>
                          </a:lnTo>
                          <a:lnTo>
                            <a:pt x="232106" y="277838"/>
                          </a:lnTo>
                          <a:lnTo>
                            <a:pt x="232638" y="274320"/>
                          </a:lnTo>
                          <a:cubicBezTo>
                            <a:pt x="232638" y="148867"/>
                            <a:pt x="130938" y="47167"/>
                            <a:pt x="5485" y="47167"/>
                          </a:cubicBezTo>
                          <a:lnTo>
                            <a:pt x="0" y="47720"/>
                          </a:lnTo>
                          <a:lnTo>
                            <a:pt x="0" y="553"/>
                          </a:lnTo>
                          <a:close/>
                        </a:path>
                      </a:pathLst>
                    </a:cu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26" name="Rectangle 125">
                    <a:extLst>
                      <a:ext uri="{FF2B5EF4-FFF2-40B4-BE49-F238E27FC236}">
                        <a16:creationId xmlns:a16="http://schemas.microsoft.com/office/drawing/2014/main" id="{6BC37A2C-729D-41A1-BBF2-0CEA1161A5E8}"/>
                      </a:ext>
                    </a:extLst>
                  </p:cNvPr>
                  <p:cNvSpPr/>
                  <p:nvPr/>
                </p:nvSpPr>
                <p:spPr bwMode="auto">
                  <a:xfrm>
                    <a:off x="7382553" y="2371489"/>
                    <a:ext cx="822960" cy="4571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27" name="Group 126">
                    <a:extLst>
                      <a:ext uri="{FF2B5EF4-FFF2-40B4-BE49-F238E27FC236}">
                        <a16:creationId xmlns:a16="http://schemas.microsoft.com/office/drawing/2014/main" id="{A8C5545A-A583-45B8-92CE-2749B59676ED}"/>
                      </a:ext>
                    </a:extLst>
                  </p:cNvPr>
                  <p:cNvGrpSpPr/>
                  <p:nvPr/>
                </p:nvGrpSpPr>
                <p:grpSpPr>
                  <a:xfrm>
                    <a:off x="8176612" y="2514596"/>
                    <a:ext cx="548639" cy="548640"/>
                    <a:chOff x="8176612" y="2514596"/>
                    <a:chExt cx="548639" cy="548640"/>
                  </a:xfrm>
                </p:grpSpPr>
                <p:sp>
                  <p:nvSpPr>
                    <p:cNvPr id="128" name="Circle: Hollow 127">
                      <a:extLst>
                        <a:ext uri="{FF2B5EF4-FFF2-40B4-BE49-F238E27FC236}">
                          <a16:creationId xmlns:a16="http://schemas.microsoft.com/office/drawing/2014/main" id="{195DE46D-C536-49F4-99CC-489609C9E62B}"/>
                        </a:ext>
                      </a:extLst>
                    </p:cNvPr>
                    <p:cNvSpPr/>
                    <p:nvPr/>
                  </p:nvSpPr>
                  <p:spPr bwMode="auto">
                    <a:xfrm>
                      <a:off x="8176612" y="2514596"/>
                      <a:ext cx="548639" cy="548640"/>
                    </a:xfrm>
                    <a:prstGeom prst="donut">
                      <a:avLst>
                        <a:gd name="adj" fmla="val 859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9" name="Freeform: Shape 128">
                      <a:extLst>
                        <a:ext uri="{FF2B5EF4-FFF2-40B4-BE49-F238E27FC236}">
                          <a16:creationId xmlns:a16="http://schemas.microsoft.com/office/drawing/2014/main" id="{B7B7C316-6D63-470F-9C44-789C914944A3}"/>
                        </a:ext>
                      </a:extLst>
                    </p:cNvPr>
                    <p:cNvSpPr/>
                    <p:nvPr/>
                  </p:nvSpPr>
                  <p:spPr bwMode="auto">
                    <a:xfrm>
                      <a:off x="8450930" y="2514596"/>
                      <a:ext cx="274321" cy="548640"/>
                    </a:xfrm>
                    <a:custGeom>
                      <a:avLst/>
                      <a:gdLst>
                        <a:gd name="connsiteX0" fmla="*/ 1 w 274321"/>
                        <a:gd name="connsiteY0" fmla="*/ 0 h 548640"/>
                        <a:gd name="connsiteX1" fmla="*/ 274321 w 274321"/>
                        <a:gd name="connsiteY1" fmla="*/ 274320 h 548640"/>
                        <a:gd name="connsiteX2" fmla="*/ 1 w 274321"/>
                        <a:gd name="connsiteY2" fmla="*/ 548640 h 548640"/>
                        <a:gd name="connsiteX3" fmla="*/ 0 w 274321"/>
                        <a:gd name="connsiteY3" fmla="*/ 548640 h 548640"/>
                        <a:gd name="connsiteX4" fmla="*/ 0 w 274321"/>
                        <a:gd name="connsiteY4" fmla="*/ 501474 h 548640"/>
                        <a:gd name="connsiteX5" fmla="*/ 227153 w 274321"/>
                        <a:gd name="connsiteY5" fmla="*/ 274320 h 548640"/>
                        <a:gd name="connsiteX6" fmla="*/ 0 w 274321"/>
                        <a:gd name="connsiteY6" fmla="*/ 47166 h 548640"/>
                        <a:gd name="connsiteX7" fmla="*/ 0 w 274321"/>
                        <a:gd name="connsiteY7"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1" h="548640">
                          <a:moveTo>
                            <a:pt x="1" y="0"/>
                          </a:moveTo>
                          <a:cubicBezTo>
                            <a:pt x="151504" y="0"/>
                            <a:pt x="274321" y="122817"/>
                            <a:pt x="274321" y="274320"/>
                          </a:cubicBezTo>
                          <a:cubicBezTo>
                            <a:pt x="274321" y="425823"/>
                            <a:pt x="151504" y="548640"/>
                            <a:pt x="1" y="548640"/>
                          </a:cubicBezTo>
                          <a:lnTo>
                            <a:pt x="0" y="548640"/>
                          </a:lnTo>
                          <a:lnTo>
                            <a:pt x="0" y="501474"/>
                          </a:lnTo>
                          <a:cubicBezTo>
                            <a:pt x="125453" y="501474"/>
                            <a:pt x="227153" y="399774"/>
                            <a:pt x="227153" y="274320"/>
                          </a:cubicBezTo>
                          <a:cubicBezTo>
                            <a:pt x="227153" y="148866"/>
                            <a:pt x="125453" y="47166"/>
                            <a:pt x="0" y="47166"/>
                          </a:cubicBezTo>
                          <a:lnTo>
                            <a:pt x="0" y="0"/>
                          </a:lnTo>
                          <a:close/>
                        </a:path>
                      </a:pathLst>
                    </a:cu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18" name="Group 117">
                  <a:extLst>
                    <a:ext uri="{FF2B5EF4-FFF2-40B4-BE49-F238E27FC236}">
                      <a16:creationId xmlns:a16="http://schemas.microsoft.com/office/drawing/2014/main" id="{47DD3839-CC10-4357-96C7-47103858569E}"/>
                    </a:ext>
                  </a:extLst>
                </p:cNvPr>
                <p:cNvGrpSpPr/>
                <p:nvPr/>
              </p:nvGrpSpPr>
              <p:grpSpPr>
                <a:xfrm>
                  <a:off x="7293571" y="3257550"/>
                  <a:ext cx="1664993" cy="1920240"/>
                  <a:chOff x="7293571" y="3257550"/>
                  <a:chExt cx="1664993" cy="1920240"/>
                </a:xfrm>
              </p:grpSpPr>
              <p:sp>
                <p:nvSpPr>
                  <p:cNvPr id="119" name="Rectangle 118">
                    <a:extLst>
                      <a:ext uri="{FF2B5EF4-FFF2-40B4-BE49-F238E27FC236}">
                        <a16:creationId xmlns:a16="http://schemas.microsoft.com/office/drawing/2014/main" id="{EFA1C8DD-BC6B-483D-8D5D-6F7C640A51A0}"/>
                      </a:ext>
                    </a:extLst>
                  </p:cNvPr>
                  <p:cNvSpPr/>
                  <p:nvPr/>
                </p:nvSpPr>
                <p:spPr bwMode="auto">
                  <a:xfrm>
                    <a:off x="7293571" y="3257550"/>
                    <a:ext cx="1664993" cy="1920240"/>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0" name="Rectangle 119">
                    <a:extLst>
                      <a:ext uri="{FF2B5EF4-FFF2-40B4-BE49-F238E27FC236}">
                        <a16:creationId xmlns:a16="http://schemas.microsoft.com/office/drawing/2014/main" id="{1A46ACE8-7681-47FC-9ABF-0E4717DBCCAD}"/>
                      </a:ext>
                    </a:extLst>
                  </p:cNvPr>
                  <p:cNvSpPr/>
                  <p:nvPr/>
                </p:nvSpPr>
                <p:spPr bwMode="auto">
                  <a:xfrm>
                    <a:off x="7378140" y="3354448"/>
                    <a:ext cx="822960" cy="4571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4D26D27B-1D4D-408A-BE57-E0E82C34D6F7}"/>
                      </a:ext>
                    </a:extLst>
                  </p:cNvPr>
                  <p:cNvSpPr/>
                  <p:nvPr/>
                </p:nvSpPr>
                <p:spPr bwMode="auto">
                  <a:xfrm rot="19775791" flipH="1">
                    <a:off x="7443000" y="3642019"/>
                    <a:ext cx="1275421" cy="551564"/>
                  </a:xfrm>
                  <a:custGeom>
                    <a:avLst/>
                    <a:gdLst>
                      <a:gd name="connsiteX0" fmla="*/ 817014 w 1275421"/>
                      <a:gd name="connsiteY0" fmla="*/ 5665 h 551564"/>
                      <a:gd name="connsiteX1" fmla="*/ 802349 w 1275421"/>
                      <a:gd name="connsiteY1" fmla="*/ 61979 h 551564"/>
                      <a:gd name="connsiteX2" fmla="*/ 808518 w 1275421"/>
                      <a:gd name="connsiteY2" fmla="*/ 66644 h 551564"/>
                      <a:gd name="connsiteX3" fmla="*/ 700410 w 1275421"/>
                      <a:gd name="connsiteY3" fmla="*/ 394686 h 551564"/>
                      <a:gd name="connsiteX4" fmla="*/ 684257 w 1275421"/>
                      <a:gd name="connsiteY4" fmla="*/ 396929 h 551564"/>
                      <a:gd name="connsiteX5" fmla="*/ 665262 w 1275421"/>
                      <a:gd name="connsiteY5" fmla="*/ 422049 h 551564"/>
                      <a:gd name="connsiteX6" fmla="*/ 665649 w 1275421"/>
                      <a:gd name="connsiteY6" fmla="*/ 424843 h 551564"/>
                      <a:gd name="connsiteX7" fmla="*/ 421412 w 1275421"/>
                      <a:gd name="connsiteY7" fmla="*/ 481135 h 551564"/>
                      <a:gd name="connsiteX8" fmla="*/ 407467 w 1275421"/>
                      <a:gd name="connsiteY8" fmla="*/ 470590 h 551564"/>
                      <a:gd name="connsiteX9" fmla="*/ 376272 w 1275421"/>
                      <a:gd name="connsiteY9" fmla="*/ 474921 h 551564"/>
                      <a:gd name="connsiteX10" fmla="*/ 365532 w 1275421"/>
                      <a:gd name="connsiteY10" fmla="*/ 489124 h 551564"/>
                      <a:gd name="connsiteX11" fmla="*/ 76827 w 1275421"/>
                      <a:gd name="connsiteY11" fmla="*/ 489124 h 551564"/>
                      <a:gd name="connsiteX12" fmla="*/ 76644 w 1275421"/>
                      <a:gd name="connsiteY12" fmla="*/ 487807 h 551564"/>
                      <a:gd name="connsiteX13" fmla="*/ 20330 w 1275421"/>
                      <a:gd name="connsiteY13" fmla="*/ 473142 h 551564"/>
                      <a:gd name="connsiteX14" fmla="*/ 5665 w 1275421"/>
                      <a:gd name="connsiteY14" fmla="*/ 529455 h 551564"/>
                      <a:gd name="connsiteX15" fmla="*/ 61979 w 1275421"/>
                      <a:gd name="connsiteY15" fmla="*/ 544120 h 551564"/>
                      <a:gd name="connsiteX16" fmla="*/ 75908 w 1275421"/>
                      <a:gd name="connsiteY16" fmla="*/ 525700 h 551564"/>
                      <a:gd name="connsiteX17" fmla="*/ 360839 w 1275421"/>
                      <a:gd name="connsiteY17" fmla="*/ 525700 h 551564"/>
                      <a:gd name="connsiteX18" fmla="*/ 361607 w 1275421"/>
                      <a:gd name="connsiteY18" fmla="*/ 531235 h 551564"/>
                      <a:gd name="connsiteX19" fmla="*/ 417921 w 1275421"/>
                      <a:gd name="connsiteY19" fmla="*/ 545900 h 551564"/>
                      <a:gd name="connsiteX20" fmla="*/ 436917 w 1275421"/>
                      <a:gd name="connsiteY20" fmla="*/ 520780 h 551564"/>
                      <a:gd name="connsiteX21" fmla="*/ 436152 w 1275421"/>
                      <a:gd name="connsiteY21" fmla="*/ 515273 h 551564"/>
                      <a:gd name="connsiteX22" fmla="*/ 677929 w 1275421"/>
                      <a:gd name="connsiteY22" fmla="*/ 459547 h 551564"/>
                      <a:gd name="connsiteX23" fmla="*/ 694711 w 1275421"/>
                      <a:gd name="connsiteY23" fmla="*/ 472238 h 551564"/>
                      <a:gd name="connsiteX24" fmla="*/ 706019 w 1275421"/>
                      <a:gd name="connsiteY24" fmla="*/ 470668 h 551564"/>
                      <a:gd name="connsiteX25" fmla="*/ 708296 w 1275421"/>
                      <a:gd name="connsiteY25" fmla="*/ 470499 h 551564"/>
                      <a:gd name="connsiteX26" fmla="*/ 708440 w 1275421"/>
                      <a:gd name="connsiteY26" fmla="*/ 470332 h 551564"/>
                      <a:gd name="connsiteX27" fmla="*/ 725906 w 1275421"/>
                      <a:gd name="connsiteY27" fmla="*/ 467908 h 551564"/>
                      <a:gd name="connsiteX28" fmla="*/ 740571 w 1275421"/>
                      <a:gd name="connsiteY28" fmla="*/ 411594 h 551564"/>
                      <a:gd name="connsiteX29" fmla="*/ 734789 w 1275421"/>
                      <a:gd name="connsiteY29" fmla="*/ 407222 h 551564"/>
                      <a:gd name="connsiteX30" fmla="*/ 843019 w 1275421"/>
                      <a:gd name="connsiteY30" fmla="*/ 78815 h 551564"/>
                      <a:gd name="connsiteX31" fmla="*/ 858663 w 1275421"/>
                      <a:gd name="connsiteY31" fmla="*/ 76644 h 551564"/>
                      <a:gd name="connsiteX32" fmla="*/ 864342 w 1275421"/>
                      <a:gd name="connsiteY32" fmla="*/ 69133 h 551564"/>
                      <a:gd name="connsiteX33" fmla="*/ 1197512 w 1275421"/>
                      <a:gd name="connsiteY33" fmla="*/ 133611 h 551564"/>
                      <a:gd name="connsiteX34" fmla="*/ 1198778 w 1275421"/>
                      <a:gd name="connsiteY34" fmla="*/ 142728 h 551564"/>
                      <a:gd name="connsiteX35" fmla="*/ 1255092 w 1275421"/>
                      <a:gd name="connsiteY35" fmla="*/ 157393 h 551564"/>
                      <a:gd name="connsiteX36" fmla="*/ 1269757 w 1275421"/>
                      <a:gd name="connsiteY36" fmla="*/ 101079 h 551564"/>
                      <a:gd name="connsiteX37" fmla="*/ 1213443 w 1275421"/>
                      <a:gd name="connsiteY37" fmla="*/ 86414 h 551564"/>
                      <a:gd name="connsiteX38" fmla="*/ 1204850 w 1275421"/>
                      <a:gd name="connsiteY38" fmla="*/ 97777 h 551564"/>
                      <a:gd name="connsiteX39" fmla="*/ 875223 w 1275421"/>
                      <a:gd name="connsiteY39" fmla="*/ 33984 h 551564"/>
                      <a:gd name="connsiteX40" fmla="*/ 873328 w 1275421"/>
                      <a:gd name="connsiteY40" fmla="*/ 20330 h 551564"/>
                      <a:gd name="connsiteX41" fmla="*/ 817014 w 1275421"/>
                      <a:gd name="connsiteY41" fmla="*/ 5665 h 551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75421" h="551564">
                        <a:moveTo>
                          <a:pt x="817014" y="5665"/>
                        </a:moveTo>
                        <a:cubicBezTo>
                          <a:pt x="797414" y="17166"/>
                          <a:pt x="790848" y="42379"/>
                          <a:pt x="802349" y="61979"/>
                        </a:cubicBezTo>
                        <a:lnTo>
                          <a:pt x="808518" y="66644"/>
                        </a:lnTo>
                        <a:lnTo>
                          <a:pt x="700410" y="394686"/>
                        </a:lnTo>
                        <a:lnTo>
                          <a:pt x="684257" y="396929"/>
                        </a:lnTo>
                        <a:cubicBezTo>
                          <a:pt x="674457" y="402679"/>
                          <a:pt x="667915" y="411858"/>
                          <a:pt x="665262" y="422049"/>
                        </a:cubicBezTo>
                        <a:lnTo>
                          <a:pt x="665649" y="424843"/>
                        </a:lnTo>
                        <a:lnTo>
                          <a:pt x="421412" y="481135"/>
                        </a:lnTo>
                        <a:lnTo>
                          <a:pt x="407467" y="470590"/>
                        </a:lnTo>
                        <a:cubicBezTo>
                          <a:pt x="397276" y="467936"/>
                          <a:pt x="386072" y="469170"/>
                          <a:pt x="376272" y="474921"/>
                        </a:cubicBezTo>
                        <a:lnTo>
                          <a:pt x="365532" y="489124"/>
                        </a:lnTo>
                        <a:lnTo>
                          <a:pt x="76827" y="489124"/>
                        </a:lnTo>
                        <a:lnTo>
                          <a:pt x="76644" y="487807"/>
                        </a:lnTo>
                        <a:cubicBezTo>
                          <a:pt x="65143" y="468207"/>
                          <a:pt x="39930" y="461641"/>
                          <a:pt x="20330" y="473142"/>
                        </a:cubicBezTo>
                        <a:cubicBezTo>
                          <a:pt x="730" y="484642"/>
                          <a:pt x="-5836" y="509856"/>
                          <a:pt x="5665" y="529455"/>
                        </a:cubicBezTo>
                        <a:cubicBezTo>
                          <a:pt x="17166" y="549055"/>
                          <a:pt x="42379" y="555621"/>
                          <a:pt x="61979" y="544120"/>
                        </a:cubicBezTo>
                        <a:lnTo>
                          <a:pt x="75908" y="525700"/>
                        </a:lnTo>
                        <a:lnTo>
                          <a:pt x="360839" y="525700"/>
                        </a:lnTo>
                        <a:lnTo>
                          <a:pt x="361607" y="531235"/>
                        </a:lnTo>
                        <a:cubicBezTo>
                          <a:pt x="373108" y="550834"/>
                          <a:pt x="398321" y="557400"/>
                          <a:pt x="417921" y="545900"/>
                        </a:cubicBezTo>
                        <a:cubicBezTo>
                          <a:pt x="427721" y="540149"/>
                          <a:pt x="434263" y="530971"/>
                          <a:pt x="436917" y="520780"/>
                        </a:cubicBezTo>
                        <a:lnTo>
                          <a:pt x="436152" y="515273"/>
                        </a:lnTo>
                        <a:lnTo>
                          <a:pt x="677929" y="459547"/>
                        </a:lnTo>
                        <a:lnTo>
                          <a:pt x="694711" y="472238"/>
                        </a:lnTo>
                        <a:lnTo>
                          <a:pt x="706019" y="470668"/>
                        </a:lnTo>
                        <a:lnTo>
                          <a:pt x="708296" y="470499"/>
                        </a:lnTo>
                        <a:lnTo>
                          <a:pt x="708440" y="470332"/>
                        </a:lnTo>
                        <a:lnTo>
                          <a:pt x="725906" y="467908"/>
                        </a:lnTo>
                        <a:cubicBezTo>
                          <a:pt x="745506" y="456407"/>
                          <a:pt x="752072" y="431194"/>
                          <a:pt x="740571" y="411594"/>
                        </a:cubicBezTo>
                        <a:lnTo>
                          <a:pt x="734789" y="407222"/>
                        </a:lnTo>
                        <a:lnTo>
                          <a:pt x="843019" y="78815"/>
                        </a:lnTo>
                        <a:lnTo>
                          <a:pt x="858663" y="76644"/>
                        </a:lnTo>
                        <a:lnTo>
                          <a:pt x="864342" y="69133"/>
                        </a:lnTo>
                        <a:lnTo>
                          <a:pt x="1197512" y="133611"/>
                        </a:lnTo>
                        <a:lnTo>
                          <a:pt x="1198778" y="142728"/>
                        </a:lnTo>
                        <a:cubicBezTo>
                          <a:pt x="1210279" y="162328"/>
                          <a:pt x="1235492" y="168894"/>
                          <a:pt x="1255092" y="157393"/>
                        </a:cubicBezTo>
                        <a:cubicBezTo>
                          <a:pt x="1274692" y="145892"/>
                          <a:pt x="1281257" y="120679"/>
                          <a:pt x="1269757" y="101079"/>
                        </a:cubicBezTo>
                        <a:cubicBezTo>
                          <a:pt x="1258256" y="81479"/>
                          <a:pt x="1233043" y="74913"/>
                          <a:pt x="1213443" y="86414"/>
                        </a:cubicBezTo>
                        <a:lnTo>
                          <a:pt x="1204850" y="97777"/>
                        </a:lnTo>
                        <a:lnTo>
                          <a:pt x="875223" y="33984"/>
                        </a:lnTo>
                        <a:lnTo>
                          <a:pt x="873328" y="20330"/>
                        </a:lnTo>
                        <a:cubicBezTo>
                          <a:pt x="861827" y="730"/>
                          <a:pt x="836614" y="-5836"/>
                          <a:pt x="817014" y="5665"/>
                        </a:cubicBezTo>
                        <a:close/>
                      </a:path>
                    </a:pathLst>
                  </a:custGeom>
                  <a:solidFill>
                    <a:srgbClr val="C4E5FF"/>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Freeform: Shape 121">
                    <a:extLst>
                      <a:ext uri="{FF2B5EF4-FFF2-40B4-BE49-F238E27FC236}">
                        <a16:creationId xmlns:a16="http://schemas.microsoft.com/office/drawing/2014/main" id="{A5008ED3-86BA-428F-99D0-106DBC87BB83}"/>
                      </a:ext>
                    </a:extLst>
                  </p:cNvPr>
                  <p:cNvSpPr/>
                  <p:nvPr/>
                </p:nvSpPr>
                <p:spPr bwMode="auto">
                  <a:xfrm rot="1020000" flipH="1">
                    <a:off x="7486908" y="4202342"/>
                    <a:ext cx="1227571" cy="525397"/>
                  </a:xfrm>
                  <a:custGeom>
                    <a:avLst/>
                    <a:gdLst>
                      <a:gd name="connsiteX0" fmla="*/ 936537 w 1227571"/>
                      <a:gd name="connsiteY0" fmla="*/ 271875 h 525397"/>
                      <a:gd name="connsiteX1" fmla="*/ 905188 w 1227571"/>
                      <a:gd name="connsiteY1" fmla="*/ 274894 h 525397"/>
                      <a:gd name="connsiteX2" fmla="*/ 895950 w 1227571"/>
                      <a:gd name="connsiteY2" fmla="*/ 286101 h 525397"/>
                      <a:gd name="connsiteX3" fmla="*/ 636048 w 1227571"/>
                      <a:gd name="connsiteY3" fmla="*/ 286101 h 525397"/>
                      <a:gd name="connsiteX4" fmla="*/ 635993 w 1227571"/>
                      <a:gd name="connsiteY4" fmla="*/ 285534 h 525397"/>
                      <a:gd name="connsiteX5" fmla="*/ 611692 w 1227571"/>
                      <a:gd name="connsiteY5" fmla="*/ 265501 h 525397"/>
                      <a:gd name="connsiteX6" fmla="*/ 580344 w 1227571"/>
                      <a:gd name="connsiteY6" fmla="*/ 268520 h 525397"/>
                      <a:gd name="connsiteX7" fmla="*/ 568474 w 1227571"/>
                      <a:gd name="connsiteY7" fmla="*/ 282919 h 525397"/>
                      <a:gd name="connsiteX8" fmla="*/ 315735 w 1227571"/>
                      <a:gd name="connsiteY8" fmla="*/ 275154 h 525397"/>
                      <a:gd name="connsiteX9" fmla="*/ 294939 w 1227571"/>
                      <a:gd name="connsiteY9" fmla="*/ 258011 h 525397"/>
                      <a:gd name="connsiteX10" fmla="*/ 274484 w 1227571"/>
                      <a:gd name="connsiteY10" fmla="*/ 259981 h 525397"/>
                      <a:gd name="connsiteX11" fmla="*/ 80059 w 1227571"/>
                      <a:gd name="connsiteY11" fmla="*/ 48520 h 525397"/>
                      <a:gd name="connsiteX12" fmla="*/ 77489 w 1227571"/>
                      <a:gd name="connsiteY12" fmla="*/ 21841 h 525397"/>
                      <a:gd name="connsiteX13" fmla="*/ 53188 w 1227571"/>
                      <a:gd name="connsiteY13" fmla="*/ 1808 h 525397"/>
                      <a:gd name="connsiteX14" fmla="*/ 1808 w 1227571"/>
                      <a:gd name="connsiteY14" fmla="*/ 29128 h 525397"/>
                      <a:gd name="connsiteX15" fmla="*/ 29127 w 1227571"/>
                      <a:gd name="connsiteY15" fmla="*/ 80509 h 525397"/>
                      <a:gd name="connsiteX16" fmla="*/ 57290 w 1227571"/>
                      <a:gd name="connsiteY16" fmla="*/ 77796 h 525397"/>
                      <a:gd name="connsiteX17" fmla="*/ 245708 w 1227571"/>
                      <a:gd name="connsiteY17" fmla="*/ 282725 h 525397"/>
                      <a:gd name="connsiteX18" fmla="*/ 243559 w 1227571"/>
                      <a:gd name="connsiteY18" fmla="*/ 285331 h 525397"/>
                      <a:gd name="connsiteX19" fmla="*/ 270878 w 1227571"/>
                      <a:gd name="connsiteY19" fmla="*/ 336712 h 525397"/>
                      <a:gd name="connsiteX20" fmla="*/ 302227 w 1227571"/>
                      <a:gd name="connsiteY20" fmla="*/ 333693 h 525397"/>
                      <a:gd name="connsiteX21" fmla="*/ 320204 w 1227571"/>
                      <a:gd name="connsiteY21" fmla="*/ 311885 h 525397"/>
                      <a:gd name="connsiteX22" fmla="*/ 562865 w 1227571"/>
                      <a:gd name="connsiteY22" fmla="*/ 319340 h 525397"/>
                      <a:gd name="connsiteX23" fmla="*/ 563330 w 1227571"/>
                      <a:gd name="connsiteY23" fmla="*/ 324169 h 525397"/>
                      <a:gd name="connsiteX24" fmla="*/ 587631 w 1227571"/>
                      <a:gd name="connsiteY24" fmla="*/ 344201 h 525397"/>
                      <a:gd name="connsiteX25" fmla="*/ 618979 w 1227571"/>
                      <a:gd name="connsiteY25" fmla="*/ 341183 h 525397"/>
                      <a:gd name="connsiteX26" fmla="*/ 634234 w 1227571"/>
                      <a:gd name="connsiteY26" fmla="*/ 322677 h 525397"/>
                      <a:gd name="connsiteX27" fmla="*/ 887417 w 1227571"/>
                      <a:gd name="connsiteY27" fmla="*/ 322677 h 525397"/>
                      <a:gd name="connsiteX28" fmla="*/ 888175 w 1227571"/>
                      <a:gd name="connsiteY28" fmla="*/ 330543 h 525397"/>
                      <a:gd name="connsiteX29" fmla="*/ 912476 w 1227571"/>
                      <a:gd name="connsiteY29" fmla="*/ 350575 h 525397"/>
                      <a:gd name="connsiteX30" fmla="*/ 943824 w 1227571"/>
                      <a:gd name="connsiteY30" fmla="*/ 347557 h 525397"/>
                      <a:gd name="connsiteX31" fmla="*/ 946404 w 1227571"/>
                      <a:gd name="connsiteY31" fmla="*/ 344427 h 525397"/>
                      <a:gd name="connsiteX32" fmla="*/ 949532 w 1227571"/>
                      <a:gd name="connsiteY32" fmla="*/ 348979 h 525397"/>
                      <a:gd name="connsiteX33" fmla="*/ 1147581 w 1227571"/>
                      <a:gd name="connsiteY33" fmla="*/ 477593 h 525397"/>
                      <a:gd name="connsiteX34" fmla="*/ 1150081 w 1227571"/>
                      <a:gd name="connsiteY34" fmla="*/ 503557 h 525397"/>
                      <a:gd name="connsiteX35" fmla="*/ 1174382 w 1227571"/>
                      <a:gd name="connsiteY35" fmla="*/ 523589 h 525397"/>
                      <a:gd name="connsiteX36" fmla="*/ 1225763 w 1227571"/>
                      <a:gd name="connsiteY36" fmla="*/ 496270 h 525397"/>
                      <a:gd name="connsiteX37" fmla="*/ 1198443 w 1227571"/>
                      <a:gd name="connsiteY37" fmla="*/ 444889 h 525397"/>
                      <a:gd name="connsiteX38" fmla="*/ 1168776 w 1227571"/>
                      <a:gd name="connsiteY38" fmla="*/ 447746 h 525397"/>
                      <a:gd name="connsiteX39" fmla="*/ 969453 w 1227571"/>
                      <a:gd name="connsiteY39" fmla="*/ 318304 h 525397"/>
                      <a:gd name="connsiteX40" fmla="*/ 963269 w 1227571"/>
                      <a:gd name="connsiteY40" fmla="*/ 317158 h 525397"/>
                      <a:gd name="connsiteX41" fmla="*/ 960838 w 1227571"/>
                      <a:gd name="connsiteY41" fmla="*/ 291907 h 525397"/>
                      <a:gd name="connsiteX42" fmla="*/ 936537 w 1227571"/>
                      <a:gd name="connsiteY42" fmla="*/ 271875 h 5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27571" h="525397">
                        <a:moveTo>
                          <a:pt x="936537" y="271875"/>
                        </a:moveTo>
                        <a:cubicBezTo>
                          <a:pt x="925671" y="268553"/>
                          <a:pt x="914487" y="269950"/>
                          <a:pt x="905188" y="274894"/>
                        </a:cubicBezTo>
                        <a:lnTo>
                          <a:pt x="895950" y="286101"/>
                        </a:lnTo>
                        <a:lnTo>
                          <a:pt x="636048" y="286101"/>
                        </a:lnTo>
                        <a:lnTo>
                          <a:pt x="635993" y="285534"/>
                        </a:lnTo>
                        <a:cubicBezTo>
                          <a:pt x="631049" y="276236"/>
                          <a:pt x="622558" y="268823"/>
                          <a:pt x="611692" y="265501"/>
                        </a:cubicBezTo>
                        <a:cubicBezTo>
                          <a:pt x="600826" y="262179"/>
                          <a:pt x="589642" y="263576"/>
                          <a:pt x="580344" y="268520"/>
                        </a:cubicBezTo>
                        <a:lnTo>
                          <a:pt x="568474" y="282919"/>
                        </a:lnTo>
                        <a:lnTo>
                          <a:pt x="315735" y="275154"/>
                        </a:lnTo>
                        <a:lnTo>
                          <a:pt x="294939" y="258011"/>
                        </a:lnTo>
                        <a:lnTo>
                          <a:pt x="274484" y="259981"/>
                        </a:lnTo>
                        <a:lnTo>
                          <a:pt x="80059" y="48520"/>
                        </a:lnTo>
                        <a:lnTo>
                          <a:pt x="77489" y="21841"/>
                        </a:lnTo>
                        <a:cubicBezTo>
                          <a:pt x="72546" y="12543"/>
                          <a:pt x="64055" y="5131"/>
                          <a:pt x="53188" y="1808"/>
                        </a:cubicBezTo>
                        <a:cubicBezTo>
                          <a:pt x="31456" y="-4836"/>
                          <a:pt x="8452" y="7396"/>
                          <a:pt x="1808" y="29128"/>
                        </a:cubicBezTo>
                        <a:cubicBezTo>
                          <a:pt x="-4836" y="50860"/>
                          <a:pt x="7395" y="73864"/>
                          <a:pt x="29127" y="80509"/>
                        </a:cubicBezTo>
                        <a:lnTo>
                          <a:pt x="57290" y="77796"/>
                        </a:lnTo>
                        <a:lnTo>
                          <a:pt x="245708" y="282725"/>
                        </a:lnTo>
                        <a:lnTo>
                          <a:pt x="243559" y="285331"/>
                        </a:lnTo>
                        <a:cubicBezTo>
                          <a:pt x="236915" y="307063"/>
                          <a:pt x="249146" y="330067"/>
                          <a:pt x="270878" y="336712"/>
                        </a:cubicBezTo>
                        <a:cubicBezTo>
                          <a:pt x="281744" y="340033"/>
                          <a:pt x="292928" y="338637"/>
                          <a:pt x="302227" y="333693"/>
                        </a:cubicBezTo>
                        <a:lnTo>
                          <a:pt x="320204" y="311885"/>
                        </a:lnTo>
                        <a:lnTo>
                          <a:pt x="562865" y="319340"/>
                        </a:lnTo>
                        <a:lnTo>
                          <a:pt x="563330" y="324169"/>
                        </a:lnTo>
                        <a:cubicBezTo>
                          <a:pt x="568274" y="333467"/>
                          <a:pt x="576765" y="340879"/>
                          <a:pt x="587631" y="344201"/>
                        </a:cubicBezTo>
                        <a:cubicBezTo>
                          <a:pt x="598497" y="347523"/>
                          <a:pt x="609681" y="346126"/>
                          <a:pt x="618979" y="341183"/>
                        </a:cubicBezTo>
                        <a:lnTo>
                          <a:pt x="634234" y="322677"/>
                        </a:lnTo>
                        <a:lnTo>
                          <a:pt x="887417" y="322677"/>
                        </a:lnTo>
                        <a:lnTo>
                          <a:pt x="888175" y="330543"/>
                        </a:lnTo>
                        <a:cubicBezTo>
                          <a:pt x="893119" y="339841"/>
                          <a:pt x="901610" y="347253"/>
                          <a:pt x="912476" y="350575"/>
                        </a:cubicBezTo>
                        <a:cubicBezTo>
                          <a:pt x="923342" y="353897"/>
                          <a:pt x="934526" y="352501"/>
                          <a:pt x="943824" y="347557"/>
                        </a:cubicBezTo>
                        <a:lnTo>
                          <a:pt x="946404" y="344427"/>
                        </a:lnTo>
                        <a:lnTo>
                          <a:pt x="949532" y="348979"/>
                        </a:lnTo>
                        <a:lnTo>
                          <a:pt x="1147581" y="477593"/>
                        </a:lnTo>
                        <a:lnTo>
                          <a:pt x="1150081" y="503557"/>
                        </a:lnTo>
                        <a:cubicBezTo>
                          <a:pt x="1155026" y="512855"/>
                          <a:pt x="1163516" y="520267"/>
                          <a:pt x="1174382" y="523589"/>
                        </a:cubicBezTo>
                        <a:cubicBezTo>
                          <a:pt x="1196114" y="530233"/>
                          <a:pt x="1219119" y="518002"/>
                          <a:pt x="1225763" y="496270"/>
                        </a:cubicBezTo>
                        <a:cubicBezTo>
                          <a:pt x="1232407" y="474538"/>
                          <a:pt x="1220175" y="451533"/>
                          <a:pt x="1198443" y="444889"/>
                        </a:cubicBezTo>
                        <a:lnTo>
                          <a:pt x="1168776" y="447746"/>
                        </a:lnTo>
                        <a:lnTo>
                          <a:pt x="969453" y="318304"/>
                        </a:lnTo>
                        <a:lnTo>
                          <a:pt x="963269" y="317158"/>
                        </a:lnTo>
                        <a:lnTo>
                          <a:pt x="960838" y="291907"/>
                        </a:lnTo>
                        <a:cubicBezTo>
                          <a:pt x="955894" y="282610"/>
                          <a:pt x="947403" y="275197"/>
                          <a:pt x="936537" y="271875"/>
                        </a:cubicBezTo>
                        <a:close/>
                      </a:path>
                    </a:pathLst>
                  </a:custGeom>
                  <a:solidFill>
                    <a:srgbClr val="C4E5FF"/>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Freeform: Shape 122">
                    <a:extLst>
                      <a:ext uri="{FF2B5EF4-FFF2-40B4-BE49-F238E27FC236}">
                        <a16:creationId xmlns:a16="http://schemas.microsoft.com/office/drawing/2014/main" id="{C78DEE88-8419-4340-B7A0-76F41457C052}"/>
                      </a:ext>
                    </a:extLst>
                  </p:cNvPr>
                  <p:cNvSpPr/>
                  <p:nvPr/>
                </p:nvSpPr>
                <p:spPr bwMode="auto">
                  <a:xfrm rot="900000">
                    <a:off x="7468023" y="4732319"/>
                    <a:ext cx="1265340" cy="399305"/>
                  </a:xfrm>
                  <a:custGeom>
                    <a:avLst/>
                    <a:gdLst>
                      <a:gd name="connsiteX0" fmla="*/ 30508 w 1265340"/>
                      <a:gd name="connsiteY0" fmla="*/ 318402 h 399305"/>
                      <a:gd name="connsiteX1" fmla="*/ 61732 w 1265340"/>
                      <a:gd name="connsiteY1" fmla="*/ 322513 h 399305"/>
                      <a:gd name="connsiteX2" fmla="*/ 73340 w 1265340"/>
                      <a:gd name="connsiteY2" fmla="*/ 337641 h 399305"/>
                      <a:gd name="connsiteX3" fmla="*/ 316655 w 1265340"/>
                      <a:gd name="connsiteY3" fmla="*/ 337641 h 399305"/>
                      <a:gd name="connsiteX4" fmla="*/ 316837 w 1265340"/>
                      <a:gd name="connsiteY4" fmla="*/ 336258 h 399305"/>
                      <a:gd name="connsiteX5" fmla="*/ 341822 w 1265340"/>
                      <a:gd name="connsiteY5" fmla="*/ 317086 h 399305"/>
                      <a:gd name="connsiteX6" fmla="*/ 373046 w 1265340"/>
                      <a:gd name="connsiteY6" fmla="*/ 321197 h 399305"/>
                      <a:gd name="connsiteX7" fmla="*/ 376924 w 1265340"/>
                      <a:gd name="connsiteY7" fmla="*/ 326252 h 399305"/>
                      <a:gd name="connsiteX8" fmla="*/ 382406 w 1265340"/>
                      <a:gd name="connsiteY8" fmla="*/ 318903 h 399305"/>
                      <a:gd name="connsiteX9" fmla="*/ 586656 w 1265340"/>
                      <a:gd name="connsiteY9" fmla="*/ 197230 h 399305"/>
                      <a:gd name="connsiteX10" fmla="*/ 595925 w 1265340"/>
                      <a:gd name="connsiteY10" fmla="*/ 195882 h 399305"/>
                      <a:gd name="connsiteX11" fmla="*/ 598177 w 1265340"/>
                      <a:gd name="connsiteY11" fmla="*/ 178773 h 399305"/>
                      <a:gd name="connsiteX12" fmla="*/ 623162 w 1265340"/>
                      <a:gd name="connsiteY12" fmla="*/ 159601 h 399305"/>
                      <a:gd name="connsiteX13" fmla="*/ 654386 w 1265340"/>
                      <a:gd name="connsiteY13" fmla="*/ 163711 h 399305"/>
                      <a:gd name="connsiteX14" fmla="*/ 658074 w 1265340"/>
                      <a:gd name="connsiteY14" fmla="*/ 168519 h 399305"/>
                      <a:gd name="connsiteX15" fmla="*/ 661728 w 1265340"/>
                      <a:gd name="connsiteY15" fmla="*/ 165815 h 399305"/>
                      <a:gd name="connsiteX16" fmla="*/ 891743 w 1265340"/>
                      <a:gd name="connsiteY16" fmla="*/ 108466 h 399305"/>
                      <a:gd name="connsiteX17" fmla="*/ 892883 w 1265340"/>
                      <a:gd name="connsiteY17" fmla="*/ 99806 h 399305"/>
                      <a:gd name="connsiteX18" fmla="*/ 917868 w 1265340"/>
                      <a:gd name="connsiteY18" fmla="*/ 80635 h 399305"/>
                      <a:gd name="connsiteX19" fmla="*/ 949092 w 1265340"/>
                      <a:gd name="connsiteY19" fmla="*/ 84745 h 399305"/>
                      <a:gd name="connsiteX20" fmla="*/ 955403 w 1265340"/>
                      <a:gd name="connsiteY20" fmla="*/ 92969 h 399305"/>
                      <a:gd name="connsiteX21" fmla="*/ 1187194 w 1265340"/>
                      <a:gd name="connsiteY21" fmla="*/ 30861 h 399305"/>
                      <a:gd name="connsiteX22" fmla="*/ 1188547 w 1265340"/>
                      <a:gd name="connsiteY22" fmla="*/ 20583 h 399305"/>
                      <a:gd name="connsiteX23" fmla="*/ 1213532 w 1265340"/>
                      <a:gd name="connsiteY23" fmla="*/ 1412 h 399305"/>
                      <a:gd name="connsiteX24" fmla="*/ 1263928 w 1265340"/>
                      <a:gd name="connsiteY24" fmla="*/ 30508 h 399305"/>
                      <a:gd name="connsiteX25" fmla="*/ 1234832 w 1265340"/>
                      <a:gd name="connsiteY25" fmla="*/ 80903 h 399305"/>
                      <a:gd name="connsiteX26" fmla="*/ 1203608 w 1265340"/>
                      <a:gd name="connsiteY26" fmla="*/ 76793 h 399305"/>
                      <a:gd name="connsiteX27" fmla="*/ 1195675 w 1265340"/>
                      <a:gd name="connsiteY27" fmla="*/ 66455 h 399305"/>
                      <a:gd name="connsiteX28" fmla="*/ 965854 w 1265340"/>
                      <a:gd name="connsiteY28" fmla="*/ 128035 h 399305"/>
                      <a:gd name="connsiteX29" fmla="*/ 964153 w 1265340"/>
                      <a:gd name="connsiteY29" fmla="*/ 140954 h 399305"/>
                      <a:gd name="connsiteX30" fmla="*/ 939168 w 1265340"/>
                      <a:gd name="connsiteY30" fmla="*/ 160126 h 399305"/>
                      <a:gd name="connsiteX31" fmla="*/ 907944 w 1265340"/>
                      <a:gd name="connsiteY31" fmla="*/ 156016 h 399305"/>
                      <a:gd name="connsiteX32" fmla="*/ 898996 w 1265340"/>
                      <a:gd name="connsiteY32" fmla="*/ 144354 h 399305"/>
                      <a:gd name="connsiteX33" fmla="*/ 671943 w 1265340"/>
                      <a:gd name="connsiteY33" fmla="*/ 200964 h 399305"/>
                      <a:gd name="connsiteX34" fmla="*/ 669447 w 1265340"/>
                      <a:gd name="connsiteY34" fmla="*/ 219921 h 399305"/>
                      <a:gd name="connsiteX35" fmla="*/ 644462 w 1265340"/>
                      <a:gd name="connsiteY35" fmla="*/ 239093 h 399305"/>
                      <a:gd name="connsiteX36" fmla="*/ 613238 w 1265340"/>
                      <a:gd name="connsiteY36" fmla="*/ 234982 h 399305"/>
                      <a:gd name="connsiteX37" fmla="*/ 606858 w 1265340"/>
                      <a:gd name="connsiteY37" fmla="*/ 226666 h 399305"/>
                      <a:gd name="connsiteX38" fmla="*/ 605375 w 1265340"/>
                      <a:gd name="connsiteY38" fmla="*/ 228654 h 399305"/>
                      <a:gd name="connsiteX39" fmla="*/ 401125 w 1265340"/>
                      <a:gd name="connsiteY39" fmla="*/ 350326 h 399305"/>
                      <a:gd name="connsiteX40" fmla="*/ 391487 w 1265340"/>
                      <a:gd name="connsiteY40" fmla="*/ 351729 h 399305"/>
                      <a:gd name="connsiteX41" fmla="*/ 388107 w 1265340"/>
                      <a:gd name="connsiteY41" fmla="*/ 377406 h 399305"/>
                      <a:gd name="connsiteX42" fmla="*/ 363122 w 1265340"/>
                      <a:gd name="connsiteY42" fmla="*/ 396578 h 399305"/>
                      <a:gd name="connsiteX43" fmla="*/ 331898 w 1265340"/>
                      <a:gd name="connsiteY43" fmla="*/ 392467 h 399305"/>
                      <a:gd name="connsiteX44" fmla="*/ 317894 w 1265340"/>
                      <a:gd name="connsiteY44" fmla="*/ 374217 h 399305"/>
                      <a:gd name="connsiteX45" fmla="*/ 77386 w 1265340"/>
                      <a:gd name="connsiteY45" fmla="*/ 374217 h 399305"/>
                      <a:gd name="connsiteX46" fmla="*/ 76793 w 1265340"/>
                      <a:gd name="connsiteY46" fmla="*/ 378722 h 399305"/>
                      <a:gd name="connsiteX47" fmla="*/ 51808 w 1265340"/>
                      <a:gd name="connsiteY47" fmla="*/ 397894 h 399305"/>
                      <a:gd name="connsiteX48" fmla="*/ 1412 w 1265340"/>
                      <a:gd name="connsiteY48" fmla="*/ 368798 h 399305"/>
                      <a:gd name="connsiteX49" fmla="*/ 30508 w 1265340"/>
                      <a:gd name="connsiteY49" fmla="*/ 318402 h 399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265340" h="399305">
                        <a:moveTo>
                          <a:pt x="30508" y="318402"/>
                        </a:moveTo>
                        <a:cubicBezTo>
                          <a:pt x="41483" y="315461"/>
                          <a:pt x="52612" y="317248"/>
                          <a:pt x="61732" y="322513"/>
                        </a:cubicBezTo>
                        <a:lnTo>
                          <a:pt x="73340" y="337641"/>
                        </a:lnTo>
                        <a:lnTo>
                          <a:pt x="316655" y="337641"/>
                        </a:lnTo>
                        <a:lnTo>
                          <a:pt x="316837" y="336258"/>
                        </a:lnTo>
                        <a:cubicBezTo>
                          <a:pt x="322102" y="327138"/>
                          <a:pt x="330847" y="320027"/>
                          <a:pt x="341822" y="317086"/>
                        </a:cubicBezTo>
                        <a:cubicBezTo>
                          <a:pt x="352797" y="314145"/>
                          <a:pt x="363926" y="315932"/>
                          <a:pt x="373046" y="321197"/>
                        </a:cubicBezTo>
                        <a:lnTo>
                          <a:pt x="376924" y="326252"/>
                        </a:lnTo>
                        <a:lnTo>
                          <a:pt x="382406" y="318903"/>
                        </a:lnTo>
                        <a:lnTo>
                          <a:pt x="586656" y="197230"/>
                        </a:lnTo>
                        <a:lnTo>
                          <a:pt x="595925" y="195882"/>
                        </a:lnTo>
                        <a:lnTo>
                          <a:pt x="598177" y="178773"/>
                        </a:lnTo>
                        <a:cubicBezTo>
                          <a:pt x="603443" y="169653"/>
                          <a:pt x="612187" y="162542"/>
                          <a:pt x="623162" y="159601"/>
                        </a:cubicBezTo>
                        <a:cubicBezTo>
                          <a:pt x="634138" y="156660"/>
                          <a:pt x="645266" y="158446"/>
                          <a:pt x="654386" y="163711"/>
                        </a:cubicBezTo>
                        <a:lnTo>
                          <a:pt x="658074" y="168519"/>
                        </a:lnTo>
                        <a:lnTo>
                          <a:pt x="661728" y="165815"/>
                        </a:lnTo>
                        <a:lnTo>
                          <a:pt x="891743" y="108466"/>
                        </a:lnTo>
                        <a:lnTo>
                          <a:pt x="892883" y="99806"/>
                        </a:lnTo>
                        <a:cubicBezTo>
                          <a:pt x="898148" y="90687"/>
                          <a:pt x="906893" y="83575"/>
                          <a:pt x="917868" y="80635"/>
                        </a:cubicBezTo>
                        <a:cubicBezTo>
                          <a:pt x="928843" y="77694"/>
                          <a:pt x="939972" y="79480"/>
                          <a:pt x="949092" y="84745"/>
                        </a:cubicBezTo>
                        <a:lnTo>
                          <a:pt x="955403" y="92969"/>
                        </a:lnTo>
                        <a:lnTo>
                          <a:pt x="1187194" y="30861"/>
                        </a:lnTo>
                        <a:lnTo>
                          <a:pt x="1188547" y="20583"/>
                        </a:lnTo>
                        <a:cubicBezTo>
                          <a:pt x="1193812" y="11464"/>
                          <a:pt x="1202556" y="4353"/>
                          <a:pt x="1213532" y="1412"/>
                        </a:cubicBezTo>
                        <a:cubicBezTo>
                          <a:pt x="1235483" y="-4470"/>
                          <a:pt x="1258046" y="8557"/>
                          <a:pt x="1263928" y="30508"/>
                        </a:cubicBezTo>
                        <a:cubicBezTo>
                          <a:pt x="1269810" y="52458"/>
                          <a:pt x="1256783" y="75022"/>
                          <a:pt x="1234832" y="80903"/>
                        </a:cubicBezTo>
                        <a:cubicBezTo>
                          <a:pt x="1223856" y="83844"/>
                          <a:pt x="1212728" y="82058"/>
                          <a:pt x="1203608" y="76793"/>
                        </a:cubicBezTo>
                        <a:lnTo>
                          <a:pt x="1195675" y="66455"/>
                        </a:lnTo>
                        <a:lnTo>
                          <a:pt x="965854" y="128035"/>
                        </a:lnTo>
                        <a:lnTo>
                          <a:pt x="964153" y="140954"/>
                        </a:lnTo>
                        <a:cubicBezTo>
                          <a:pt x="958887" y="150075"/>
                          <a:pt x="950143" y="157186"/>
                          <a:pt x="939168" y="160126"/>
                        </a:cubicBezTo>
                        <a:cubicBezTo>
                          <a:pt x="928193" y="163067"/>
                          <a:pt x="917064" y="161281"/>
                          <a:pt x="907944" y="156016"/>
                        </a:cubicBezTo>
                        <a:lnTo>
                          <a:pt x="898996" y="144354"/>
                        </a:lnTo>
                        <a:lnTo>
                          <a:pt x="671943" y="200964"/>
                        </a:lnTo>
                        <a:lnTo>
                          <a:pt x="669447" y="219921"/>
                        </a:lnTo>
                        <a:cubicBezTo>
                          <a:pt x="664182" y="229041"/>
                          <a:pt x="655437" y="236152"/>
                          <a:pt x="644462" y="239093"/>
                        </a:cubicBezTo>
                        <a:cubicBezTo>
                          <a:pt x="633487" y="242033"/>
                          <a:pt x="622358" y="240247"/>
                          <a:pt x="613238" y="234982"/>
                        </a:cubicBezTo>
                        <a:lnTo>
                          <a:pt x="606858" y="226666"/>
                        </a:lnTo>
                        <a:lnTo>
                          <a:pt x="605375" y="228654"/>
                        </a:lnTo>
                        <a:lnTo>
                          <a:pt x="401125" y="350326"/>
                        </a:lnTo>
                        <a:lnTo>
                          <a:pt x="391487" y="351729"/>
                        </a:lnTo>
                        <a:lnTo>
                          <a:pt x="388107" y="377406"/>
                        </a:lnTo>
                        <a:cubicBezTo>
                          <a:pt x="382841" y="386526"/>
                          <a:pt x="374097" y="393637"/>
                          <a:pt x="363122" y="396578"/>
                        </a:cubicBezTo>
                        <a:cubicBezTo>
                          <a:pt x="352146" y="399519"/>
                          <a:pt x="341018" y="397732"/>
                          <a:pt x="331898" y="392467"/>
                        </a:cubicBezTo>
                        <a:lnTo>
                          <a:pt x="317894" y="374217"/>
                        </a:lnTo>
                        <a:lnTo>
                          <a:pt x="77386" y="374217"/>
                        </a:lnTo>
                        <a:lnTo>
                          <a:pt x="76793" y="378722"/>
                        </a:lnTo>
                        <a:cubicBezTo>
                          <a:pt x="71527" y="387842"/>
                          <a:pt x="62783" y="394953"/>
                          <a:pt x="51808" y="397894"/>
                        </a:cubicBezTo>
                        <a:cubicBezTo>
                          <a:pt x="29857" y="403775"/>
                          <a:pt x="7293" y="390748"/>
                          <a:pt x="1412" y="368798"/>
                        </a:cubicBezTo>
                        <a:cubicBezTo>
                          <a:pt x="-4470" y="346847"/>
                          <a:pt x="8557" y="324284"/>
                          <a:pt x="30508" y="318402"/>
                        </a:cubicBezTo>
                        <a:close/>
                      </a:path>
                    </a:pathLst>
                  </a:custGeom>
                  <a:solidFill>
                    <a:srgbClr val="C4E5FF"/>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116" name="Freeform: Shape 115">
                <a:extLst>
                  <a:ext uri="{FF2B5EF4-FFF2-40B4-BE49-F238E27FC236}">
                    <a16:creationId xmlns:a16="http://schemas.microsoft.com/office/drawing/2014/main" id="{63ED0197-5184-413C-9095-6B24509AA606}"/>
                  </a:ext>
                </a:extLst>
              </p:cNvPr>
              <p:cNvSpPr/>
              <p:nvPr/>
            </p:nvSpPr>
            <p:spPr bwMode="auto">
              <a:xfrm>
                <a:off x="3437254" y="1704700"/>
                <a:ext cx="5678424" cy="3657600"/>
              </a:xfrm>
              <a:custGeom>
                <a:avLst/>
                <a:gdLst>
                  <a:gd name="connsiteX0" fmla="*/ 60314 w 5678424"/>
                  <a:gd name="connsiteY0" fmla="*/ 410596 h 3657600"/>
                  <a:gd name="connsiteX1" fmla="*/ 60314 w 5678424"/>
                  <a:gd name="connsiteY1" fmla="*/ 3597286 h 3657600"/>
                  <a:gd name="connsiteX2" fmla="*/ 5618110 w 5678424"/>
                  <a:gd name="connsiteY2" fmla="*/ 3597286 h 3657600"/>
                  <a:gd name="connsiteX3" fmla="*/ 5618110 w 5678424"/>
                  <a:gd name="connsiteY3" fmla="*/ 410596 h 3657600"/>
                  <a:gd name="connsiteX4" fmla="*/ 60314 w 5678424"/>
                  <a:gd name="connsiteY4" fmla="*/ 60314 h 3657600"/>
                  <a:gd name="connsiteX5" fmla="*/ 60314 w 5678424"/>
                  <a:gd name="connsiteY5" fmla="*/ 355732 h 3657600"/>
                  <a:gd name="connsiteX6" fmla="*/ 5618110 w 5678424"/>
                  <a:gd name="connsiteY6" fmla="*/ 355732 h 3657600"/>
                  <a:gd name="connsiteX7" fmla="*/ 5618110 w 5678424"/>
                  <a:gd name="connsiteY7" fmla="*/ 60314 h 3657600"/>
                  <a:gd name="connsiteX8" fmla="*/ 0 w 5678424"/>
                  <a:gd name="connsiteY8" fmla="*/ 0 h 3657600"/>
                  <a:gd name="connsiteX9" fmla="*/ 5678424 w 5678424"/>
                  <a:gd name="connsiteY9" fmla="*/ 0 h 3657600"/>
                  <a:gd name="connsiteX10" fmla="*/ 5678424 w 5678424"/>
                  <a:gd name="connsiteY10" fmla="*/ 3657600 h 3657600"/>
                  <a:gd name="connsiteX11" fmla="*/ 0 w 5678424"/>
                  <a:gd name="connsiteY11" fmla="*/ 3657600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78424" h="3657600">
                    <a:moveTo>
                      <a:pt x="60314" y="410596"/>
                    </a:moveTo>
                    <a:lnTo>
                      <a:pt x="60314" y="3597286"/>
                    </a:lnTo>
                    <a:lnTo>
                      <a:pt x="5618110" y="3597286"/>
                    </a:lnTo>
                    <a:lnTo>
                      <a:pt x="5618110" y="410596"/>
                    </a:lnTo>
                    <a:close/>
                    <a:moveTo>
                      <a:pt x="60314" y="60314"/>
                    </a:moveTo>
                    <a:lnTo>
                      <a:pt x="60314" y="355732"/>
                    </a:lnTo>
                    <a:lnTo>
                      <a:pt x="5618110" y="355732"/>
                    </a:lnTo>
                    <a:lnTo>
                      <a:pt x="5618110" y="60314"/>
                    </a:lnTo>
                    <a:close/>
                    <a:moveTo>
                      <a:pt x="0" y="0"/>
                    </a:moveTo>
                    <a:lnTo>
                      <a:pt x="5678424" y="0"/>
                    </a:lnTo>
                    <a:lnTo>
                      <a:pt x="5678424" y="3657600"/>
                    </a:lnTo>
                    <a:lnTo>
                      <a:pt x="0" y="36576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268" name="Group 267">
            <a:extLst>
              <a:ext uri="{FF2B5EF4-FFF2-40B4-BE49-F238E27FC236}">
                <a16:creationId xmlns:a16="http://schemas.microsoft.com/office/drawing/2014/main" id="{B4CB58D9-9104-4F86-8E33-BCE490655C2C}"/>
              </a:ext>
            </a:extLst>
          </p:cNvPr>
          <p:cNvGrpSpPr/>
          <p:nvPr/>
        </p:nvGrpSpPr>
        <p:grpSpPr>
          <a:xfrm>
            <a:off x="4454676" y="2860031"/>
            <a:ext cx="4065514" cy="256092"/>
            <a:chOff x="4454676" y="2860031"/>
            <a:chExt cx="4065514" cy="256092"/>
          </a:xfrm>
        </p:grpSpPr>
        <p:grpSp>
          <p:nvGrpSpPr>
            <p:cNvPr id="269" name="Group 268">
              <a:extLst>
                <a:ext uri="{FF2B5EF4-FFF2-40B4-BE49-F238E27FC236}">
                  <a16:creationId xmlns:a16="http://schemas.microsoft.com/office/drawing/2014/main" id="{E995AF6C-7044-466A-AC6A-456E3E97C3B7}"/>
                </a:ext>
              </a:extLst>
            </p:cNvPr>
            <p:cNvGrpSpPr/>
            <p:nvPr/>
          </p:nvGrpSpPr>
          <p:grpSpPr>
            <a:xfrm>
              <a:off x="4454676" y="2860031"/>
              <a:ext cx="668475" cy="256092"/>
              <a:chOff x="7147278" y="3439948"/>
              <a:chExt cx="299213" cy="114628"/>
            </a:xfrm>
          </p:grpSpPr>
          <p:sp>
            <p:nvSpPr>
              <p:cNvPr id="273" name="Rectangle 3">
                <a:extLst>
                  <a:ext uri="{FF2B5EF4-FFF2-40B4-BE49-F238E27FC236}">
                    <a16:creationId xmlns:a16="http://schemas.microsoft.com/office/drawing/2014/main" id="{B1E636E5-E14C-4B42-B5DE-0D78B40EBE71}"/>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EF7A90BF-2832-44C6-AFDE-1FA390BB7554}"/>
                  </a:ext>
                </a:extLst>
              </p:cNvPr>
              <p:cNvCxnSpPr>
                <a:cxnSpLocks/>
              </p:cNvCxnSpPr>
              <p:nvPr/>
            </p:nvCxnSpPr>
            <p:spPr>
              <a:xfrm flipH="1">
                <a:off x="7147278" y="3497262"/>
                <a:ext cx="299213" cy="0"/>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70" name="Group 269">
              <a:extLst>
                <a:ext uri="{FF2B5EF4-FFF2-40B4-BE49-F238E27FC236}">
                  <a16:creationId xmlns:a16="http://schemas.microsoft.com/office/drawing/2014/main" id="{632F1951-3F1A-42CD-9B9E-4D0EA92224D3}"/>
                </a:ext>
              </a:extLst>
            </p:cNvPr>
            <p:cNvGrpSpPr/>
            <p:nvPr/>
          </p:nvGrpSpPr>
          <p:grpSpPr>
            <a:xfrm>
              <a:off x="7851715" y="2860031"/>
              <a:ext cx="668475" cy="256092"/>
              <a:chOff x="7147279" y="3439948"/>
              <a:chExt cx="299213" cy="114628"/>
            </a:xfrm>
          </p:grpSpPr>
          <p:sp>
            <p:nvSpPr>
              <p:cNvPr id="271" name="Rectangle 3">
                <a:extLst>
                  <a:ext uri="{FF2B5EF4-FFF2-40B4-BE49-F238E27FC236}">
                    <a16:creationId xmlns:a16="http://schemas.microsoft.com/office/drawing/2014/main" id="{642661C6-C81E-4487-8754-B2D82CDC8EBB}"/>
                  </a:ext>
                </a:extLst>
              </p:cNvPr>
              <p:cNvSpPr/>
              <p:nvPr/>
            </p:nvSpPr>
            <p:spPr bwMode="auto">
              <a:xfrm rot="2700000">
                <a:off x="7308120"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272" name="Straight Connector 271">
                <a:extLst>
                  <a:ext uri="{FF2B5EF4-FFF2-40B4-BE49-F238E27FC236}">
                    <a16:creationId xmlns:a16="http://schemas.microsoft.com/office/drawing/2014/main" id="{F6B7A0CB-5110-47A3-A691-E8BABFC0540E}"/>
                  </a:ext>
                </a:extLst>
              </p:cNvPr>
              <p:cNvCxnSpPr>
                <a:cxnSpLocks/>
              </p:cNvCxnSpPr>
              <p:nvPr/>
            </p:nvCxnSpPr>
            <p:spPr>
              <a:xfrm flipH="1">
                <a:off x="7147279" y="3497262"/>
                <a:ext cx="299213" cy="0"/>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275" name="globe_2">
            <a:extLst>
              <a:ext uri="{FF2B5EF4-FFF2-40B4-BE49-F238E27FC236}">
                <a16:creationId xmlns:a16="http://schemas.microsoft.com/office/drawing/2014/main" id="{B598DFE6-155D-4EA9-91CD-79122E289E11}"/>
              </a:ext>
            </a:extLst>
          </p:cNvPr>
          <p:cNvSpPr>
            <a:spLocks noChangeAspect="1" noEditPoints="1"/>
          </p:cNvSpPr>
          <p:nvPr/>
        </p:nvSpPr>
        <p:spPr bwMode="auto">
          <a:xfrm>
            <a:off x="1252559" y="4831684"/>
            <a:ext cx="2090073" cy="2090073"/>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POI_ECAF">
            <a:extLst>
              <a:ext uri="{FF2B5EF4-FFF2-40B4-BE49-F238E27FC236}">
                <a16:creationId xmlns:a16="http://schemas.microsoft.com/office/drawing/2014/main" id="{AFD41DAF-9079-4844-A8A4-5F589205B3CB}"/>
              </a:ext>
            </a:extLst>
          </p:cNvPr>
          <p:cNvSpPr>
            <a:spLocks noChangeAspect="1" noEditPoints="1"/>
          </p:cNvSpPr>
          <p:nvPr/>
        </p:nvSpPr>
        <p:spPr bwMode="auto">
          <a:xfrm>
            <a:off x="2306491" y="4507515"/>
            <a:ext cx="204743" cy="32762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rgbClr val="4CAF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7" name="POI_ECAF">
            <a:extLst>
              <a:ext uri="{FF2B5EF4-FFF2-40B4-BE49-F238E27FC236}">
                <a16:creationId xmlns:a16="http://schemas.microsoft.com/office/drawing/2014/main" id="{F7E9ABD6-0E88-4C92-B3AE-B71605E06C7E}"/>
              </a:ext>
            </a:extLst>
          </p:cNvPr>
          <p:cNvSpPr>
            <a:spLocks noChangeAspect="1" noEditPoints="1"/>
          </p:cNvSpPr>
          <p:nvPr/>
        </p:nvSpPr>
        <p:spPr bwMode="auto">
          <a:xfrm>
            <a:off x="1579432" y="5240564"/>
            <a:ext cx="204743" cy="32762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rgbClr val="3B599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8" name="POI_ECAF">
            <a:extLst>
              <a:ext uri="{FF2B5EF4-FFF2-40B4-BE49-F238E27FC236}">
                <a16:creationId xmlns:a16="http://schemas.microsoft.com/office/drawing/2014/main" id="{5CD5C0D9-7A55-4570-B72E-8A92FE9C5D07}"/>
              </a:ext>
            </a:extLst>
          </p:cNvPr>
          <p:cNvSpPr>
            <a:spLocks noChangeAspect="1" noEditPoints="1"/>
          </p:cNvSpPr>
          <p:nvPr/>
        </p:nvSpPr>
        <p:spPr bwMode="auto">
          <a:xfrm>
            <a:off x="2712386" y="5977726"/>
            <a:ext cx="204743" cy="32762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rgbClr val="5ACB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9" name="POI_ECAF">
            <a:extLst>
              <a:ext uri="{FF2B5EF4-FFF2-40B4-BE49-F238E27FC236}">
                <a16:creationId xmlns:a16="http://schemas.microsoft.com/office/drawing/2014/main" id="{C6851D2D-9947-44B7-92A1-B32EE976D15F}"/>
              </a:ext>
            </a:extLst>
          </p:cNvPr>
          <p:cNvSpPr>
            <a:spLocks noChangeAspect="1" noEditPoints="1"/>
          </p:cNvSpPr>
          <p:nvPr/>
        </p:nvSpPr>
        <p:spPr bwMode="auto">
          <a:xfrm>
            <a:off x="3045456" y="5991850"/>
            <a:ext cx="204743" cy="32762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80" name="POI_ECAF">
            <a:extLst>
              <a:ext uri="{FF2B5EF4-FFF2-40B4-BE49-F238E27FC236}">
                <a16:creationId xmlns:a16="http://schemas.microsoft.com/office/drawing/2014/main" id="{92FAB43F-A034-44F1-8734-F2F47860E4BD}"/>
              </a:ext>
            </a:extLst>
          </p:cNvPr>
          <p:cNvSpPr>
            <a:spLocks noChangeAspect="1" noEditPoints="1"/>
          </p:cNvSpPr>
          <p:nvPr/>
        </p:nvSpPr>
        <p:spPr bwMode="auto">
          <a:xfrm>
            <a:off x="1458365" y="5863632"/>
            <a:ext cx="204743" cy="32762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rgbClr val="29A9E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81" name="POI_ECAF">
            <a:extLst>
              <a:ext uri="{FF2B5EF4-FFF2-40B4-BE49-F238E27FC236}">
                <a16:creationId xmlns:a16="http://schemas.microsoft.com/office/drawing/2014/main" id="{B220461F-86F6-434E-B4A1-5885ED9DE89C}"/>
              </a:ext>
            </a:extLst>
          </p:cNvPr>
          <p:cNvSpPr>
            <a:spLocks noChangeAspect="1" noEditPoints="1"/>
          </p:cNvSpPr>
          <p:nvPr/>
        </p:nvSpPr>
        <p:spPr bwMode="auto">
          <a:xfrm>
            <a:off x="2465736" y="5730524"/>
            <a:ext cx="204743" cy="32762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rgbClr val="3B00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82" name="POI_ECAF">
            <a:extLst>
              <a:ext uri="{FF2B5EF4-FFF2-40B4-BE49-F238E27FC236}">
                <a16:creationId xmlns:a16="http://schemas.microsoft.com/office/drawing/2014/main" id="{055960B7-71E0-4378-9B86-90157BBE9A37}"/>
              </a:ext>
            </a:extLst>
          </p:cNvPr>
          <p:cNvSpPr>
            <a:spLocks noChangeAspect="1" noEditPoints="1"/>
          </p:cNvSpPr>
          <p:nvPr/>
        </p:nvSpPr>
        <p:spPr bwMode="auto">
          <a:xfrm>
            <a:off x="2147105" y="5144535"/>
            <a:ext cx="204743" cy="32762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rgbClr val="F2652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83" name="POI_ECAF">
            <a:extLst>
              <a:ext uri="{FF2B5EF4-FFF2-40B4-BE49-F238E27FC236}">
                <a16:creationId xmlns:a16="http://schemas.microsoft.com/office/drawing/2014/main" id="{27067126-7965-43F7-A980-1822B36BC10C}"/>
              </a:ext>
            </a:extLst>
          </p:cNvPr>
          <p:cNvSpPr>
            <a:spLocks noChangeAspect="1" noEditPoints="1"/>
          </p:cNvSpPr>
          <p:nvPr/>
        </p:nvSpPr>
        <p:spPr bwMode="auto">
          <a:xfrm>
            <a:off x="3045456" y="4763016"/>
            <a:ext cx="204743" cy="32762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09815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cBhvr additive="base">
                                        <p:cTn id="7" dur="500" fill="hold"/>
                                        <p:tgtEl>
                                          <p:spTgt spid="275"/>
                                        </p:tgtEl>
                                        <p:attrNameLst>
                                          <p:attrName>ppt_x</p:attrName>
                                        </p:attrNameLst>
                                      </p:cBhvr>
                                      <p:tavLst>
                                        <p:tav tm="0">
                                          <p:val>
                                            <p:strVal val="#ppt_x"/>
                                          </p:val>
                                        </p:tav>
                                        <p:tav tm="100000">
                                          <p:val>
                                            <p:strVal val="#ppt_x"/>
                                          </p:val>
                                        </p:tav>
                                      </p:tavLst>
                                    </p:anim>
                                    <p:anim calcmode="lin" valueType="num">
                                      <p:cBhvr additive="base">
                                        <p:cTn id="8" dur="500" fill="hold"/>
                                        <p:tgtEl>
                                          <p:spTgt spid="275"/>
                                        </p:tgtEl>
                                        <p:attrNameLst>
                                          <p:attrName>ppt_y</p:attrName>
                                        </p:attrNameLst>
                                      </p:cBhvr>
                                      <p:tavLst>
                                        <p:tav tm="0">
                                          <p:val>
                                            <p:strVal val="1+#ppt_h/2"/>
                                          </p:val>
                                        </p:tav>
                                        <p:tav tm="100000">
                                          <p:val>
                                            <p:strVal val="#ppt_y"/>
                                          </p:val>
                                        </p:tav>
                                      </p:tavLst>
                                    </p:anim>
                                  </p:childTnLst>
                                </p:cTn>
                              </p:par>
                              <p:par>
                                <p:cTn id="9" presetID="21" presetClass="entr" presetSubtype="1" fill="hold" grpId="0" nodeType="withEffect">
                                  <p:stCondLst>
                                    <p:cond delay="600"/>
                                  </p:stCondLst>
                                  <p:childTnLst>
                                    <p:set>
                                      <p:cBhvr>
                                        <p:cTn id="10" dur="1" fill="hold">
                                          <p:stCondLst>
                                            <p:cond delay="0"/>
                                          </p:stCondLst>
                                        </p:cTn>
                                        <p:tgtEl>
                                          <p:spTgt spid="88"/>
                                        </p:tgtEl>
                                        <p:attrNameLst>
                                          <p:attrName>style.visibility</p:attrName>
                                        </p:attrNameLst>
                                      </p:cBhvr>
                                      <p:to>
                                        <p:strVal val="visible"/>
                                      </p:to>
                                    </p:set>
                                    <p:animEffect transition="in" filter="wheel(1)">
                                      <p:cBhvr>
                                        <p:cTn id="11" dur="750"/>
                                        <p:tgtEl>
                                          <p:spTgt spid="88"/>
                                        </p:tgtEl>
                                      </p:cBhvr>
                                    </p:animEffect>
                                  </p:childTnLst>
                                </p:cTn>
                              </p:par>
                              <p:par>
                                <p:cTn id="12" presetID="10" presetClass="entr" presetSubtype="0" fill="hold" grpId="0" nodeType="withEffect">
                                  <p:stCondLst>
                                    <p:cond delay="400"/>
                                  </p:stCondLst>
                                  <p:childTnLst>
                                    <p:set>
                                      <p:cBhvr>
                                        <p:cTn id="13" dur="1" fill="hold">
                                          <p:stCondLst>
                                            <p:cond delay="0"/>
                                          </p:stCondLst>
                                        </p:cTn>
                                        <p:tgtEl>
                                          <p:spTgt spid="90"/>
                                        </p:tgtEl>
                                        <p:attrNameLst>
                                          <p:attrName>style.visibility</p:attrName>
                                        </p:attrNameLst>
                                      </p:cBhvr>
                                      <p:to>
                                        <p:strVal val="visible"/>
                                      </p:to>
                                    </p:set>
                                    <p:animEffect transition="in" filter="fade">
                                      <p:cBhvr>
                                        <p:cTn id="14" dur="400"/>
                                        <p:tgtEl>
                                          <p:spTgt spid="90"/>
                                        </p:tgtEl>
                                      </p:cBhvr>
                                    </p:animEffect>
                                  </p:childTnLst>
                                </p:cTn>
                              </p:par>
                              <p:par>
                                <p:cTn id="15" presetID="42" presetClass="path" presetSubtype="0" decel="100000" fill="hold" grpId="1" nodeType="withEffect">
                                  <p:stCondLst>
                                    <p:cond delay="100"/>
                                  </p:stCondLst>
                                  <p:childTnLst>
                                    <p:animMotion origin="layout" path="M -2.08333E-6 -3.7037E-7 L -2.08333E-6 0.0963 " pathEditMode="relative" rAng="0" ptsTypes="AA">
                                      <p:cBhvr>
                                        <p:cTn id="16" dur="700" spd="-100000" fill="hold"/>
                                        <p:tgtEl>
                                          <p:spTgt spid="90"/>
                                        </p:tgtEl>
                                        <p:attrNameLst>
                                          <p:attrName>ppt_x</p:attrName>
                                          <p:attrName>ppt_y</p:attrName>
                                        </p:attrNameLst>
                                      </p:cBhvr>
                                      <p:rCtr x="0" y="4815"/>
                                    </p:animMotion>
                                  </p:childTnLst>
                                </p:cTn>
                              </p:par>
                            </p:childTnLst>
                          </p:cTn>
                        </p:par>
                        <p:par>
                          <p:cTn id="17" fill="hold">
                            <p:stCondLst>
                              <p:cond delay="1350"/>
                            </p:stCondLst>
                            <p:childTnLst>
                              <p:par>
                                <p:cTn id="18" presetID="10" presetClass="entr" presetSubtype="0" fill="hold" grpId="0" nodeType="afterEffect">
                                  <p:stCondLst>
                                    <p:cond delay="0"/>
                                  </p:stCondLst>
                                  <p:childTnLst>
                                    <p:set>
                                      <p:cBhvr>
                                        <p:cTn id="19" dur="1" fill="hold">
                                          <p:stCondLst>
                                            <p:cond delay="0"/>
                                          </p:stCondLst>
                                        </p:cTn>
                                        <p:tgtEl>
                                          <p:spTgt spid="280"/>
                                        </p:tgtEl>
                                        <p:attrNameLst>
                                          <p:attrName>style.visibility</p:attrName>
                                        </p:attrNameLst>
                                      </p:cBhvr>
                                      <p:to>
                                        <p:strVal val="visible"/>
                                      </p:to>
                                    </p:set>
                                    <p:animEffect transition="in" filter="fade">
                                      <p:cBhvr>
                                        <p:cTn id="20" dur="220"/>
                                        <p:tgtEl>
                                          <p:spTgt spid="280"/>
                                        </p:tgtEl>
                                      </p:cBhvr>
                                    </p:animEffect>
                                  </p:childTnLst>
                                </p:cTn>
                              </p:par>
                              <p:par>
                                <p:cTn id="21" presetID="10" presetClass="entr" presetSubtype="0" fill="hold" nodeType="with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fade">
                                      <p:cBhvr>
                                        <p:cTn id="23" dur="220"/>
                                        <p:tgtEl>
                                          <p:spTgt spid="52"/>
                                        </p:tgtEl>
                                      </p:cBhvr>
                                    </p:animEffect>
                                  </p:childTnLst>
                                </p:cTn>
                              </p:par>
                              <p:par>
                                <p:cTn id="24" presetID="10" presetClass="entr" presetSubtype="0" fill="hold" grpId="0" nodeType="withEffect">
                                  <p:stCondLst>
                                    <p:cond delay="220"/>
                                  </p:stCondLst>
                                  <p:childTnLst>
                                    <p:set>
                                      <p:cBhvr>
                                        <p:cTn id="25" dur="1" fill="hold">
                                          <p:stCondLst>
                                            <p:cond delay="0"/>
                                          </p:stCondLst>
                                        </p:cTn>
                                        <p:tgtEl>
                                          <p:spTgt spid="277"/>
                                        </p:tgtEl>
                                        <p:attrNameLst>
                                          <p:attrName>style.visibility</p:attrName>
                                        </p:attrNameLst>
                                      </p:cBhvr>
                                      <p:to>
                                        <p:strVal val="visible"/>
                                      </p:to>
                                    </p:set>
                                    <p:animEffect transition="in" filter="fade">
                                      <p:cBhvr>
                                        <p:cTn id="26" dur="220"/>
                                        <p:tgtEl>
                                          <p:spTgt spid="277"/>
                                        </p:tgtEl>
                                      </p:cBhvr>
                                    </p:animEffect>
                                  </p:childTnLst>
                                </p:cTn>
                              </p:par>
                              <p:par>
                                <p:cTn id="27" presetID="10" presetClass="entr" presetSubtype="0" fill="hold" nodeType="withEffect">
                                  <p:stCondLst>
                                    <p:cond delay="22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220"/>
                                        <p:tgtEl>
                                          <p:spTgt spid="46"/>
                                        </p:tgtEl>
                                      </p:cBhvr>
                                    </p:animEffect>
                                  </p:childTnLst>
                                </p:cTn>
                              </p:par>
                              <p:par>
                                <p:cTn id="30" presetID="10" presetClass="entr" presetSubtype="0" fill="hold" grpId="0" nodeType="withEffect">
                                  <p:stCondLst>
                                    <p:cond delay="440"/>
                                  </p:stCondLst>
                                  <p:childTnLst>
                                    <p:set>
                                      <p:cBhvr>
                                        <p:cTn id="31" dur="1" fill="hold">
                                          <p:stCondLst>
                                            <p:cond delay="0"/>
                                          </p:stCondLst>
                                        </p:cTn>
                                        <p:tgtEl>
                                          <p:spTgt spid="282"/>
                                        </p:tgtEl>
                                        <p:attrNameLst>
                                          <p:attrName>style.visibility</p:attrName>
                                        </p:attrNameLst>
                                      </p:cBhvr>
                                      <p:to>
                                        <p:strVal val="visible"/>
                                      </p:to>
                                    </p:set>
                                    <p:animEffect transition="in" filter="fade">
                                      <p:cBhvr>
                                        <p:cTn id="32" dur="220"/>
                                        <p:tgtEl>
                                          <p:spTgt spid="282"/>
                                        </p:tgtEl>
                                      </p:cBhvr>
                                    </p:animEffect>
                                  </p:childTnLst>
                                </p:cTn>
                              </p:par>
                              <p:par>
                                <p:cTn id="33" presetID="10" presetClass="entr" presetSubtype="0" fill="hold" nodeType="withEffect">
                                  <p:stCondLst>
                                    <p:cond delay="440"/>
                                  </p:stCondLst>
                                  <p:childTnLst>
                                    <p:set>
                                      <p:cBhvr>
                                        <p:cTn id="34" dur="1" fill="hold">
                                          <p:stCondLst>
                                            <p:cond delay="0"/>
                                          </p:stCondLst>
                                        </p:cTn>
                                        <p:tgtEl>
                                          <p:spTgt spid="49"/>
                                        </p:tgtEl>
                                        <p:attrNameLst>
                                          <p:attrName>style.visibility</p:attrName>
                                        </p:attrNameLst>
                                      </p:cBhvr>
                                      <p:to>
                                        <p:strVal val="visible"/>
                                      </p:to>
                                    </p:set>
                                    <p:animEffect transition="in" filter="fade">
                                      <p:cBhvr>
                                        <p:cTn id="35" dur="220"/>
                                        <p:tgtEl>
                                          <p:spTgt spid="49"/>
                                        </p:tgtEl>
                                      </p:cBhvr>
                                    </p:animEffect>
                                  </p:childTnLst>
                                </p:cTn>
                              </p:par>
                              <p:par>
                                <p:cTn id="36" presetID="10" presetClass="entr" presetSubtype="0" fill="hold" grpId="0" nodeType="withEffect">
                                  <p:stCondLst>
                                    <p:cond delay="660"/>
                                  </p:stCondLst>
                                  <p:childTnLst>
                                    <p:set>
                                      <p:cBhvr>
                                        <p:cTn id="37" dur="1" fill="hold">
                                          <p:stCondLst>
                                            <p:cond delay="0"/>
                                          </p:stCondLst>
                                        </p:cTn>
                                        <p:tgtEl>
                                          <p:spTgt spid="276"/>
                                        </p:tgtEl>
                                        <p:attrNameLst>
                                          <p:attrName>style.visibility</p:attrName>
                                        </p:attrNameLst>
                                      </p:cBhvr>
                                      <p:to>
                                        <p:strVal val="visible"/>
                                      </p:to>
                                    </p:set>
                                    <p:animEffect transition="in" filter="fade">
                                      <p:cBhvr>
                                        <p:cTn id="38" dur="220"/>
                                        <p:tgtEl>
                                          <p:spTgt spid="276"/>
                                        </p:tgtEl>
                                      </p:cBhvr>
                                    </p:animEffect>
                                  </p:childTnLst>
                                </p:cTn>
                              </p:par>
                              <p:par>
                                <p:cTn id="39" presetID="10" presetClass="entr" presetSubtype="0" fill="hold" nodeType="withEffect">
                                  <p:stCondLst>
                                    <p:cond delay="660"/>
                                  </p:stCondLst>
                                  <p:childTnLst>
                                    <p:set>
                                      <p:cBhvr>
                                        <p:cTn id="40" dur="1" fill="hold">
                                          <p:stCondLst>
                                            <p:cond delay="0"/>
                                          </p:stCondLst>
                                        </p:cTn>
                                        <p:tgtEl>
                                          <p:spTgt spid="41"/>
                                        </p:tgtEl>
                                        <p:attrNameLst>
                                          <p:attrName>style.visibility</p:attrName>
                                        </p:attrNameLst>
                                      </p:cBhvr>
                                      <p:to>
                                        <p:strVal val="visible"/>
                                      </p:to>
                                    </p:set>
                                    <p:animEffect transition="in" filter="fade">
                                      <p:cBhvr>
                                        <p:cTn id="41" dur="220"/>
                                        <p:tgtEl>
                                          <p:spTgt spid="41"/>
                                        </p:tgtEl>
                                      </p:cBhvr>
                                    </p:animEffect>
                                  </p:childTnLst>
                                </p:cTn>
                              </p:par>
                              <p:par>
                                <p:cTn id="42" presetID="10" presetClass="entr" presetSubtype="0" fill="hold" grpId="0" nodeType="withEffect">
                                  <p:stCondLst>
                                    <p:cond delay="66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220"/>
                                        <p:tgtEl>
                                          <p:spTgt spid="40"/>
                                        </p:tgtEl>
                                      </p:cBhvr>
                                    </p:animEffect>
                                  </p:childTnLst>
                                </p:cTn>
                              </p:par>
                              <p:par>
                                <p:cTn id="45" presetID="10" presetClass="entr" presetSubtype="0" fill="hold" grpId="0" nodeType="withEffect">
                                  <p:stCondLst>
                                    <p:cond delay="880"/>
                                  </p:stCondLst>
                                  <p:childTnLst>
                                    <p:set>
                                      <p:cBhvr>
                                        <p:cTn id="46" dur="1" fill="hold">
                                          <p:stCondLst>
                                            <p:cond delay="0"/>
                                          </p:stCondLst>
                                        </p:cTn>
                                        <p:tgtEl>
                                          <p:spTgt spid="281"/>
                                        </p:tgtEl>
                                        <p:attrNameLst>
                                          <p:attrName>style.visibility</p:attrName>
                                        </p:attrNameLst>
                                      </p:cBhvr>
                                      <p:to>
                                        <p:strVal val="visible"/>
                                      </p:to>
                                    </p:set>
                                    <p:animEffect transition="in" filter="fade">
                                      <p:cBhvr>
                                        <p:cTn id="47" dur="220"/>
                                        <p:tgtEl>
                                          <p:spTgt spid="281"/>
                                        </p:tgtEl>
                                      </p:cBhvr>
                                    </p:animEffect>
                                  </p:childTnLst>
                                </p:cTn>
                              </p:par>
                              <p:par>
                                <p:cTn id="48" presetID="10" presetClass="entr" presetSubtype="0" fill="hold" nodeType="withEffect">
                                  <p:stCondLst>
                                    <p:cond delay="88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220"/>
                                        <p:tgtEl>
                                          <p:spTgt spid="85"/>
                                        </p:tgtEl>
                                      </p:cBhvr>
                                    </p:animEffect>
                                  </p:childTnLst>
                                </p:cTn>
                              </p:par>
                              <p:par>
                                <p:cTn id="51" presetID="10" presetClass="entr" presetSubtype="0" fill="hold" grpId="0" nodeType="withEffect">
                                  <p:stCondLst>
                                    <p:cond delay="1220"/>
                                  </p:stCondLst>
                                  <p:childTnLst>
                                    <p:set>
                                      <p:cBhvr>
                                        <p:cTn id="52" dur="1" fill="hold">
                                          <p:stCondLst>
                                            <p:cond delay="0"/>
                                          </p:stCondLst>
                                        </p:cTn>
                                        <p:tgtEl>
                                          <p:spTgt spid="278"/>
                                        </p:tgtEl>
                                        <p:attrNameLst>
                                          <p:attrName>style.visibility</p:attrName>
                                        </p:attrNameLst>
                                      </p:cBhvr>
                                      <p:to>
                                        <p:strVal val="visible"/>
                                      </p:to>
                                    </p:set>
                                    <p:animEffect transition="in" filter="fade">
                                      <p:cBhvr>
                                        <p:cTn id="53" dur="220"/>
                                        <p:tgtEl>
                                          <p:spTgt spid="278"/>
                                        </p:tgtEl>
                                      </p:cBhvr>
                                    </p:animEffect>
                                  </p:childTnLst>
                                </p:cTn>
                              </p:par>
                              <p:par>
                                <p:cTn id="54" presetID="10" presetClass="entr" presetSubtype="0" fill="hold" nodeType="withEffect">
                                  <p:stCondLst>
                                    <p:cond delay="1220"/>
                                  </p:stCondLst>
                                  <p:childTnLst>
                                    <p:set>
                                      <p:cBhvr>
                                        <p:cTn id="55" dur="1" fill="hold">
                                          <p:stCondLst>
                                            <p:cond delay="0"/>
                                          </p:stCondLst>
                                        </p:cTn>
                                        <p:tgtEl>
                                          <p:spTgt spid="58"/>
                                        </p:tgtEl>
                                        <p:attrNameLst>
                                          <p:attrName>style.visibility</p:attrName>
                                        </p:attrNameLst>
                                      </p:cBhvr>
                                      <p:to>
                                        <p:strVal val="visible"/>
                                      </p:to>
                                    </p:set>
                                    <p:animEffect transition="in" filter="fade">
                                      <p:cBhvr>
                                        <p:cTn id="56" dur="220"/>
                                        <p:tgtEl>
                                          <p:spTgt spid="58"/>
                                        </p:tgtEl>
                                      </p:cBhvr>
                                    </p:animEffect>
                                  </p:childTnLst>
                                </p:cTn>
                              </p:par>
                              <p:par>
                                <p:cTn id="57" presetID="10" presetClass="entr" presetSubtype="0" fill="hold" grpId="0" nodeType="withEffect">
                                  <p:stCondLst>
                                    <p:cond delay="1440"/>
                                  </p:stCondLst>
                                  <p:childTnLst>
                                    <p:set>
                                      <p:cBhvr>
                                        <p:cTn id="58" dur="1" fill="hold">
                                          <p:stCondLst>
                                            <p:cond delay="0"/>
                                          </p:stCondLst>
                                        </p:cTn>
                                        <p:tgtEl>
                                          <p:spTgt spid="283"/>
                                        </p:tgtEl>
                                        <p:attrNameLst>
                                          <p:attrName>style.visibility</p:attrName>
                                        </p:attrNameLst>
                                      </p:cBhvr>
                                      <p:to>
                                        <p:strVal val="visible"/>
                                      </p:to>
                                    </p:set>
                                    <p:animEffect transition="in" filter="fade">
                                      <p:cBhvr>
                                        <p:cTn id="59" dur="220"/>
                                        <p:tgtEl>
                                          <p:spTgt spid="283"/>
                                        </p:tgtEl>
                                      </p:cBhvr>
                                    </p:animEffect>
                                  </p:childTnLst>
                                </p:cTn>
                              </p:par>
                              <p:par>
                                <p:cTn id="60" presetID="10" presetClass="entr" presetSubtype="0" fill="hold" nodeType="withEffect">
                                  <p:stCondLst>
                                    <p:cond delay="1440"/>
                                  </p:stCondLst>
                                  <p:childTnLst>
                                    <p:set>
                                      <p:cBhvr>
                                        <p:cTn id="61" dur="1" fill="hold">
                                          <p:stCondLst>
                                            <p:cond delay="0"/>
                                          </p:stCondLst>
                                        </p:cTn>
                                        <p:tgtEl>
                                          <p:spTgt spid="66"/>
                                        </p:tgtEl>
                                        <p:attrNameLst>
                                          <p:attrName>style.visibility</p:attrName>
                                        </p:attrNameLst>
                                      </p:cBhvr>
                                      <p:to>
                                        <p:strVal val="visible"/>
                                      </p:to>
                                    </p:set>
                                    <p:animEffect transition="in" filter="fade">
                                      <p:cBhvr>
                                        <p:cTn id="62" dur="220"/>
                                        <p:tgtEl>
                                          <p:spTgt spid="66"/>
                                        </p:tgtEl>
                                      </p:cBhvr>
                                    </p:animEffect>
                                  </p:childTnLst>
                                </p:cTn>
                              </p:par>
                              <p:par>
                                <p:cTn id="63" presetID="10" presetClass="entr" presetSubtype="0" fill="hold" grpId="0" nodeType="withEffect">
                                  <p:stCondLst>
                                    <p:cond delay="1660"/>
                                  </p:stCondLst>
                                  <p:childTnLst>
                                    <p:set>
                                      <p:cBhvr>
                                        <p:cTn id="64" dur="1" fill="hold">
                                          <p:stCondLst>
                                            <p:cond delay="0"/>
                                          </p:stCondLst>
                                        </p:cTn>
                                        <p:tgtEl>
                                          <p:spTgt spid="279"/>
                                        </p:tgtEl>
                                        <p:attrNameLst>
                                          <p:attrName>style.visibility</p:attrName>
                                        </p:attrNameLst>
                                      </p:cBhvr>
                                      <p:to>
                                        <p:strVal val="visible"/>
                                      </p:to>
                                    </p:set>
                                    <p:animEffect transition="in" filter="fade">
                                      <p:cBhvr>
                                        <p:cTn id="65" dur="220"/>
                                        <p:tgtEl>
                                          <p:spTgt spid="279"/>
                                        </p:tgtEl>
                                      </p:cBhvr>
                                    </p:animEffect>
                                  </p:childTnLst>
                                </p:cTn>
                              </p:par>
                              <p:par>
                                <p:cTn id="66" presetID="10" presetClass="entr" presetSubtype="0" fill="hold" nodeType="withEffect">
                                  <p:stCondLst>
                                    <p:cond delay="1660"/>
                                  </p:stCondLst>
                                  <p:childTnLst>
                                    <p:set>
                                      <p:cBhvr>
                                        <p:cTn id="67" dur="1" fill="hold">
                                          <p:stCondLst>
                                            <p:cond delay="0"/>
                                          </p:stCondLst>
                                        </p:cTn>
                                        <p:tgtEl>
                                          <p:spTgt spid="74"/>
                                        </p:tgtEl>
                                        <p:attrNameLst>
                                          <p:attrName>style.visibility</p:attrName>
                                        </p:attrNameLst>
                                      </p:cBhvr>
                                      <p:to>
                                        <p:strVal val="visible"/>
                                      </p:to>
                                    </p:set>
                                    <p:animEffect transition="in" filter="fade">
                                      <p:cBhvr>
                                        <p:cTn id="68" dur="220"/>
                                        <p:tgtEl>
                                          <p:spTgt spid="74"/>
                                        </p:tgtEl>
                                      </p:cBhvr>
                                    </p:animEffect>
                                  </p:childTnLst>
                                </p:cTn>
                              </p:par>
                            </p:childTnLst>
                          </p:cTn>
                        </p:par>
                        <p:par>
                          <p:cTn id="69" fill="hold">
                            <p:stCondLst>
                              <p:cond delay="3230"/>
                            </p:stCondLst>
                            <p:childTnLst>
                              <p:par>
                                <p:cTn id="70" presetID="21" presetClass="entr" presetSubtype="1" fill="hold" grpId="0" nodeType="afterEffect">
                                  <p:stCondLst>
                                    <p:cond delay="500"/>
                                  </p:stCondLst>
                                  <p:childTnLst>
                                    <p:set>
                                      <p:cBhvr>
                                        <p:cTn id="71" dur="1" fill="hold">
                                          <p:stCondLst>
                                            <p:cond delay="0"/>
                                          </p:stCondLst>
                                        </p:cTn>
                                        <p:tgtEl>
                                          <p:spTgt spid="91"/>
                                        </p:tgtEl>
                                        <p:attrNameLst>
                                          <p:attrName>style.visibility</p:attrName>
                                        </p:attrNameLst>
                                      </p:cBhvr>
                                      <p:to>
                                        <p:strVal val="visible"/>
                                      </p:to>
                                    </p:set>
                                    <p:animEffect transition="in" filter="wheel(1)">
                                      <p:cBhvr>
                                        <p:cTn id="72" dur="750"/>
                                        <p:tgtEl>
                                          <p:spTgt spid="91"/>
                                        </p:tgtEl>
                                      </p:cBhvr>
                                    </p:animEffect>
                                  </p:childTnLst>
                                </p:cTn>
                              </p:par>
                              <p:par>
                                <p:cTn id="73" presetID="10" presetClass="entr" presetSubtype="0" fill="hold" grpId="0" nodeType="withEffect">
                                  <p:stCondLst>
                                    <p:cond delay="350"/>
                                  </p:stCondLst>
                                  <p:childTnLst>
                                    <p:set>
                                      <p:cBhvr>
                                        <p:cTn id="74" dur="1" fill="hold">
                                          <p:stCondLst>
                                            <p:cond delay="0"/>
                                          </p:stCondLst>
                                        </p:cTn>
                                        <p:tgtEl>
                                          <p:spTgt spid="93"/>
                                        </p:tgtEl>
                                        <p:attrNameLst>
                                          <p:attrName>style.visibility</p:attrName>
                                        </p:attrNameLst>
                                      </p:cBhvr>
                                      <p:to>
                                        <p:strVal val="visible"/>
                                      </p:to>
                                    </p:set>
                                    <p:animEffect transition="in" filter="fade">
                                      <p:cBhvr>
                                        <p:cTn id="75" dur="300"/>
                                        <p:tgtEl>
                                          <p:spTgt spid="93"/>
                                        </p:tgtEl>
                                      </p:cBhvr>
                                    </p:animEffect>
                                  </p:childTnLst>
                                </p:cTn>
                              </p:par>
                              <p:par>
                                <p:cTn id="76" presetID="42" presetClass="path" presetSubtype="0" decel="100000" fill="hold" grpId="1" nodeType="withEffect">
                                  <p:stCondLst>
                                    <p:cond delay="0"/>
                                  </p:stCondLst>
                                  <p:childTnLst>
                                    <p:animMotion origin="layout" path="M -1.45833E-6 4.81481E-6 L -1.45833E-6 0.09629 " pathEditMode="relative" rAng="0" ptsTypes="AA">
                                      <p:cBhvr>
                                        <p:cTn id="77" dur="700" spd="-100000" fill="hold"/>
                                        <p:tgtEl>
                                          <p:spTgt spid="93"/>
                                        </p:tgtEl>
                                        <p:attrNameLst>
                                          <p:attrName>ppt_x</p:attrName>
                                          <p:attrName>ppt_y</p:attrName>
                                        </p:attrNameLst>
                                      </p:cBhvr>
                                      <p:rCtr x="0" y="4815"/>
                                    </p:animMotion>
                                  </p:childTnLst>
                                </p:cTn>
                              </p:par>
                            </p:childTnLst>
                          </p:cTn>
                        </p:par>
                        <p:par>
                          <p:cTn id="78" fill="hold">
                            <p:stCondLst>
                              <p:cond delay="4480"/>
                            </p:stCondLst>
                            <p:childTnLst>
                              <p:par>
                                <p:cTn id="79" presetID="10" presetClass="entr" presetSubtype="0" fill="hold" nodeType="afterEffect">
                                  <p:stCondLst>
                                    <p:cond delay="0"/>
                                  </p:stCondLst>
                                  <p:childTnLst>
                                    <p:set>
                                      <p:cBhvr>
                                        <p:cTn id="80" dur="1" fill="hold">
                                          <p:stCondLst>
                                            <p:cond delay="0"/>
                                          </p:stCondLst>
                                        </p:cTn>
                                        <p:tgtEl>
                                          <p:spTgt spid="95"/>
                                        </p:tgtEl>
                                        <p:attrNameLst>
                                          <p:attrName>style.visibility</p:attrName>
                                        </p:attrNameLst>
                                      </p:cBhvr>
                                      <p:to>
                                        <p:strVal val="visible"/>
                                      </p:to>
                                    </p:set>
                                    <p:animEffect transition="in" filter="fade">
                                      <p:cBhvr>
                                        <p:cTn id="81" dur="500"/>
                                        <p:tgtEl>
                                          <p:spTgt spid="95"/>
                                        </p:tgtEl>
                                      </p:cBhvr>
                                    </p:animEffect>
                                  </p:childTnLst>
                                </p:cTn>
                              </p:par>
                              <p:par>
                                <p:cTn id="82" presetID="1" presetClass="entr" presetSubtype="0" fill="hold" nodeType="withEffect">
                                  <p:stCondLst>
                                    <p:cond delay="100"/>
                                  </p:stCondLst>
                                  <p:childTnLst>
                                    <p:set>
                                      <p:cBhvr>
                                        <p:cTn id="83" dur="1" fill="hold">
                                          <p:stCondLst>
                                            <p:cond delay="399"/>
                                          </p:stCondLst>
                                        </p:cTn>
                                        <p:tgtEl>
                                          <p:spTgt spid="108"/>
                                        </p:tgtEl>
                                        <p:attrNameLst>
                                          <p:attrName>style.visibility</p:attrName>
                                        </p:attrNameLst>
                                      </p:cBhvr>
                                      <p:to>
                                        <p:strVal val="visible"/>
                                      </p:to>
                                    </p:set>
                                  </p:childTnLst>
                                </p:cTn>
                              </p:par>
                              <p:par>
                                <p:cTn id="84" presetID="6" presetClass="emph" presetSubtype="0" accel="100000" autoRev="1" fill="hold" nodeType="withEffect">
                                  <p:stCondLst>
                                    <p:cond delay="100"/>
                                  </p:stCondLst>
                                  <p:childTnLst>
                                    <p:animScale>
                                      <p:cBhvr>
                                        <p:cTn id="85" dur="400" fill="hold"/>
                                        <p:tgtEl>
                                          <p:spTgt spid="108"/>
                                        </p:tgtEl>
                                      </p:cBhvr>
                                      <p:by x="0" y="0"/>
                                    </p:animScale>
                                  </p:childTnLst>
                                </p:cTn>
                              </p:par>
                              <p:par>
                                <p:cTn id="86" presetID="42" presetClass="path" presetSubtype="0" accel="100000" autoRev="1" fill="hold" nodeType="withEffect">
                                  <p:stCondLst>
                                    <p:cond delay="100"/>
                                  </p:stCondLst>
                                  <p:childTnLst>
                                    <p:animMotion origin="layout" path="M 6.25E-7 4.44444E-6 L -0.10885 0.10254 " pathEditMode="relative" rAng="0" ptsTypes="AA">
                                      <p:cBhvr>
                                        <p:cTn id="87" dur="400" fill="hold"/>
                                        <p:tgtEl>
                                          <p:spTgt spid="108"/>
                                        </p:tgtEl>
                                        <p:attrNameLst>
                                          <p:attrName>ppt_x</p:attrName>
                                          <p:attrName>ppt_y</p:attrName>
                                        </p:attrNameLst>
                                      </p:cBhvr>
                                      <p:rCtr x="-5443" y="5116"/>
                                    </p:animMotion>
                                  </p:childTnLst>
                                </p:cTn>
                              </p:par>
                              <p:par>
                                <p:cTn id="88" presetID="22" presetClass="entr" presetSubtype="8" fill="hold" nodeType="withEffect">
                                  <p:stCondLst>
                                    <p:cond delay="100"/>
                                  </p:stCondLst>
                                  <p:childTnLst>
                                    <p:set>
                                      <p:cBhvr>
                                        <p:cTn id="89" dur="1" fill="hold">
                                          <p:stCondLst>
                                            <p:cond delay="0"/>
                                          </p:stCondLst>
                                        </p:cTn>
                                        <p:tgtEl>
                                          <p:spTgt spid="268"/>
                                        </p:tgtEl>
                                        <p:attrNameLst>
                                          <p:attrName>style.visibility</p:attrName>
                                        </p:attrNameLst>
                                      </p:cBhvr>
                                      <p:to>
                                        <p:strVal val="visible"/>
                                      </p:to>
                                    </p:set>
                                    <p:animEffect transition="in" filter="wipe(left)">
                                      <p:cBhvr>
                                        <p:cTn id="90" dur="1000"/>
                                        <p:tgtEl>
                                          <p:spTgt spid="268"/>
                                        </p:tgtEl>
                                      </p:cBhvr>
                                    </p:animEffect>
                                  </p:childTnLst>
                                </p:cTn>
                              </p:par>
                              <p:par>
                                <p:cTn id="91" presetID="10" presetClass="entr" presetSubtype="0" fill="hold" nodeType="withEffect">
                                  <p:stCondLst>
                                    <p:cond delay="100"/>
                                  </p:stCondLst>
                                  <p:childTnLst>
                                    <p:set>
                                      <p:cBhvr>
                                        <p:cTn id="92" dur="1" fill="hold">
                                          <p:stCondLst>
                                            <p:cond delay="0"/>
                                          </p:stCondLst>
                                        </p:cTn>
                                        <p:tgtEl>
                                          <p:spTgt spid="37"/>
                                        </p:tgtEl>
                                        <p:attrNameLst>
                                          <p:attrName>style.visibility</p:attrName>
                                        </p:attrNameLst>
                                      </p:cBhvr>
                                      <p:to>
                                        <p:strVal val="visible"/>
                                      </p:to>
                                    </p:set>
                                    <p:animEffect transition="in" filter="fade">
                                      <p:cBhvr>
                                        <p:cTn id="93" dur="500"/>
                                        <p:tgtEl>
                                          <p:spTgt spid="37"/>
                                        </p:tgtEl>
                                      </p:cBhvr>
                                    </p:animEffect>
                                  </p:childTnLst>
                                </p:cTn>
                              </p:par>
                              <p:par>
                                <p:cTn id="94" presetID="22" presetClass="entr" presetSubtype="8" fill="hold" grpId="0" nodeType="withEffect">
                                  <p:stCondLst>
                                    <p:cond delay="500"/>
                                  </p:stCondLst>
                                  <p:childTnLst>
                                    <p:set>
                                      <p:cBhvr>
                                        <p:cTn id="95" dur="1" fill="hold">
                                          <p:stCondLst>
                                            <p:cond delay="0"/>
                                          </p:stCondLst>
                                        </p:cTn>
                                        <p:tgtEl>
                                          <p:spTgt spid="94"/>
                                        </p:tgtEl>
                                        <p:attrNameLst>
                                          <p:attrName>style.visibility</p:attrName>
                                        </p:attrNameLst>
                                      </p:cBhvr>
                                      <p:to>
                                        <p:strVal val="visible"/>
                                      </p:to>
                                    </p:set>
                                    <p:animEffect transition="in" filter="wipe(left)">
                                      <p:cBhvr>
                                        <p:cTn id="96" dur="500"/>
                                        <p:tgtEl>
                                          <p:spTgt spid="94"/>
                                        </p:tgtEl>
                                      </p:cBhvr>
                                    </p:animEffect>
                                  </p:childTnLst>
                                </p:cTn>
                              </p:par>
                            </p:childTnLst>
                          </p:cTn>
                        </p:par>
                        <p:par>
                          <p:cTn id="97" fill="hold">
                            <p:stCondLst>
                              <p:cond delay="5580"/>
                            </p:stCondLst>
                            <p:childTnLst>
                              <p:par>
                                <p:cTn id="98" presetID="2" presetClass="entr" presetSubtype="4" decel="100000" fill="hold" nodeType="afterEffect">
                                  <p:stCondLst>
                                    <p:cond delay="0"/>
                                  </p:stCondLst>
                                  <p:childTnLst>
                                    <p:set>
                                      <p:cBhvr>
                                        <p:cTn id="99" dur="1" fill="hold">
                                          <p:stCondLst>
                                            <p:cond delay="0"/>
                                          </p:stCondLst>
                                        </p:cTn>
                                        <p:tgtEl>
                                          <p:spTgt spid="30"/>
                                        </p:tgtEl>
                                        <p:attrNameLst>
                                          <p:attrName>style.visibility</p:attrName>
                                        </p:attrNameLst>
                                      </p:cBhvr>
                                      <p:to>
                                        <p:strVal val="visible"/>
                                      </p:to>
                                    </p:set>
                                    <p:anim calcmode="lin" valueType="num">
                                      <p:cBhvr additive="base">
                                        <p:cTn id="100" dur="500" fill="hold"/>
                                        <p:tgtEl>
                                          <p:spTgt spid="30"/>
                                        </p:tgtEl>
                                        <p:attrNameLst>
                                          <p:attrName>ppt_x</p:attrName>
                                        </p:attrNameLst>
                                      </p:cBhvr>
                                      <p:tavLst>
                                        <p:tav tm="0">
                                          <p:val>
                                            <p:strVal val="#ppt_x"/>
                                          </p:val>
                                        </p:tav>
                                        <p:tav tm="100000">
                                          <p:val>
                                            <p:strVal val="#ppt_x"/>
                                          </p:val>
                                        </p:tav>
                                      </p:tavLst>
                                    </p:anim>
                                    <p:anim calcmode="lin" valueType="num">
                                      <p:cBhvr additive="base">
                                        <p:cTn id="101"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88" grpId="0" animBg="1"/>
      <p:bldP spid="90" grpId="0"/>
      <p:bldP spid="90" grpId="1"/>
      <p:bldP spid="91" grpId="0" animBg="1"/>
      <p:bldP spid="93" grpId="0"/>
      <p:bldP spid="93" grpId="1"/>
      <p:bldP spid="94" grpId="0" animBg="1"/>
      <p:bldP spid="275" grpId="0" animBg="1"/>
      <p:bldP spid="276" grpId="0" animBg="1"/>
      <p:bldP spid="277" grpId="0" animBg="1"/>
      <p:bldP spid="278" grpId="0" animBg="1"/>
      <p:bldP spid="279" grpId="0" animBg="1"/>
      <p:bldP spid="280" grpId="0" animBg="1"/>
      <p:bldP spid="281" grpId="0" animBg="1"/>
      <p:bldP spid="282" grpId="0" animBg="1"/>
      <p:bldP spid="283"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8" name="Rectangle 297">
            <a:extLst>
              <a:ext uri="{FF2B5EF4-FFF2-40B4-BE49-F238E27FC236}">
                <a16:creationId xmlns:a16="http://schemas.microsoft.com/office/drawing/2014/main" id="{028763B8-5A4F-4C05-AA49-C84D509AD830}"/>
              </a:ext>
            </a:extLst>
          </p:cNvPr>
          <p:cNvSpPr/>
          <p:nvPr/>
        </p:nvSpPr>
        <p:spPr bwMode="auto">
          <a:xfrm>
            <a:off x="4819134" y="0"/>
            <a:ext cx="7617341" cy="6994525"/>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5" name="Title 4">
            <a:extLst>
              <a:ext uri="{FF2B5EF4-FFF2-40B4-BE49-F238E27FC236}">
                <a16:creationId xmlns:a16="http://schemas.microsoft.com/office/drawing/2014/main" id="{702BA932-1B86-44A5-9191-B07D67588684}"/>
              </a:ext>
            </a:extLst>
          </p:cNvPr>
          <p:cNvSpPr txBox="1">
            <a:spLocks/>
          </p:cNvSpPr>
          <p:nvPr/>
        </p:nvSpPr>
        <p:spPr>
          <a:xfrm>
            <a:off x="274640" y="295277"/>
            <a:ext cx="4544494" cy="149221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488"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88"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Azure Active Directory B2B</a:t>
            </a:r>
            <a:endParaRPr kumimoji="0" lang="en-US" sz="4488"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endParaRPr>
          </a:p>
        </p:txBody>
      </p:sp>
      <p:sp>
        <p:nvSpPr>
          <p:cNvPr id="156" name="Rectangle 155">
            <a:extLst>
              <a:ext uri="{FF2B5EF4-FFF2-40B4-BE49-F238E27FC236}">
                <a16:creationId xmlns:a16="http://schemas.microsoft.com/office/drawing/2014/main" id="{D2B0C3AB-0B37-4F68-89A3-F9D2676632EE}"/>
              </a:ext>
            </a:extLst>
          </p:cNvPr>
          <p:cNvSpPr/>
          <p:nvPr/>
        </p:nvSpPr>
        <p:spPr>
          <a:xfrm>
            <a:off x="9838606" y="6560590"/>
            <a:ext cx="2306849" cy="286306"/>
          </a:xfrm>
          <a:prstGeom prst="rect">
            <a:avLst/>
          </a:prstGeom>
        </p:spPr>
        <p:txBody>
          <a:bodyPr wrap="square">
            <a:spAutoFit/>
          </a:bodyPr>
          <a:lstStyle/>
          <a:p>
            <a:pPr>
              <a:defRPr/>
            </a:pPr>
            <a:r>
              <a:rPr lang="en-US" sz="1224" spc="-51" dirty="0">
                <a:solidFill>
                  <a:srgbClr val="FFFFFF"/>
                </a:solidFill>
                <a:latin typeface="Segoe UI Semilight"/>
              </a:rPr>
              <a:t>* Direct federation coming soon</a:t>
            </a:r>
          </a:p>
        </p:txBody>
      </p:sp>
      <p:grpSp>
        <p:nvGrpSpPr>
          <p:cNvPr id="157" name="Group 156">
            <a:extLst>
              <a:ext uri="{FF2B5EF4-FFF2-40B4-BE49-F238E27FC236}">
                <a16:creationId xmlns:a16="http://schemas.microsoft.com/office/drawing/2014/main" id="{3B70079B-43E4-46F1-A351-6D5FFC5AA415}"/>
              </a:ext>
            </a:extLst>
          </p:cNvPr>
          <p:cNvGrpSpPr/>
          <p:nvPr/>
        </p:nvGrpSpPr>
        <p:grpSpPr>
          <a:xfrm>
            <a:off x="12747343" y="2170082"/>
            <a:ext cx="701469" cy="1154011"/>
            <a:chOff x="10877106" y="4429151"/>
            <a:chExt cx="1559369" cy="2565374"/>
          </a:xfrm>
          <a:solidFill>
            <a:srgbClr val="FFFFFF">
              <a:alpha val="20000"/>
            </a:srgbClr>
          </a:solidFill>
        </p:grpSpPr>
        <p:grpSp>
          <p:nvGrpSpPr>
            <p:cNvPr id="158" name="Group 157">
              <a:extLst>
                <a:ext uri="{FF2B5EF4-FFF2-40B4-BE49-F238E27FC236}">
                  <a16:creationId xmlns:a16="http://schemas.microsoft.com/office/drawing/2014/main" id="{CFFD047D-B0D4-46AB-81C8-38199BF41A45}"/>
                </a:ext>
              </a:extLst>
            </p:cNvPr>
            <p:cNvGrpSpPr>
              <a:grpSpLocks noChangeAspect="1"/>
            </p:cNvGrpSpPr>
            <p:nvPr/>
          </p:nvGrpSpPr>
          <p:grpSpPr>
            <a:xfrm>
              <a:off x="11581350" y="4429151"/>
              <a:ext cx="855125" cy="2565374"/>
              <a:chOff x="11631239" y="4516235"/>
              <a:chExt cx="826097" cy="2478290"/>
            </a:xfrm>
            <a:grpFill/>
          </p:grpSpPr>
          <p:sp>
            <p:nvSpPr>
              <p:cNvPr id="164" name="Rectangle 163">
                <a:extLst>
                  <a:ext uri="{FF2B5EF4-FFF2-40B4-BE49-F238E27FC236}">
                    <a16:creationId xmlns:a16="http://schemas.microsoft.com/office/drawing/2014/main" id="{8CA6FD9F-94D8-4D5A-AAA8-F4B359E9C860}"/>
                  </a:ext>
                </a:extLst>
              </p:cNvPr>
              <p:cNvSpPr>
                <a:spLocks noChangeAspect="1"/>
              </p:cNvSpPr>
              <p:nvPr/>
            </p:nvSpPr>
            <p:spPr bwMode="auto">
              <a:xfrm>
                <a:off x="11631239" y="4516235"/>
                <a:ext cx="826097" cy="247829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5" name="Group 164">
                <a:extLst>
                  <a:ext uri="{FF2B5EF4-FFF2-40B4-BE49-F238E27FC236}">
                    <a16:creationId xmlns:a16="http://schemas.microsoft.com/office/drawing/2014/main" id="{01E14863-B08B-4BA2-9878-766FAFE698FE}"/>
                  </a:ext>
                </a:extLst>
              </p:cNvPr>
              <p:cNvGrpSpPr>
                <a:grpSpLocks noChangeAspect="1"/>
              </p:cNvGrpSpPr>
              <p:nvPr/>
            </p:nvGrpSpPr>
            <p:grpSpPr>
              <a:xfrm>
                <a:off x="11764517" y="4724808"/>
                <a:ext cx="559540" cy="1832354"/>
                <a:chOff x="11768846" y="4705243"/>
                <a:chExt cx="559540" cy="1832354"/>
              </a:xfrm>
              <a:grpFill/>
            </p:grpSpPr>
            <p:sp>
              <p:nvSpPr>
                <p:cNvPr id="166" name="Rectangle 165">
                  <a:extLst>
                    <a:ext uri="{FF2B5EF4-FFF2-40B4-BE49-F238E27FC236}">
                      <a16:creationId xmlns:a16="http://schemas.microsoft.com/office/drawing/2014/main" id="{3B19FD1B-81F8-49C4-AA7A-67F30B4A38C5}"/>
                    </a:ext>
                  </a:extLst>
                </p:cNvPr>
                <p:cNvSpPr/>
                <p:nvPr/>
              </p:nvSpPr>
              <p:spPr bwMode="auto">
                <a:xfrm>
                  <a:off x="11768846" y="4705243"/>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7" name="Rectangle 166">
                  <a:extLst>
                    <a:ext uri="{FF2B5EF4-FFF2-40B4-BE49-F238E27FC236}">
                      <a16:creationId xmlns:a16="http://schemas.microsoft.com/office/drawing/2014/main" id="{3EA7E34C-1B45-4D79-ACDF-5240962F58C9}"/>
                    </a:ext>
                  </a:extLst>
                </p:cNvPr>
                <p:cNvSpPr/>
                <p:nvPr/>
              </p:nvSpPr>
              <p:spPr bwMode="auto">
                <a:xfrm>
                  <a:off x="11768846" y="5025994"/>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8" name="Rectangle 167">
                  <a:extLst>
                    <a:ext uri="{FF2B5EF4-FFF2-40B4-BE49-F238E27FC236}">
                      <a16:creationId xmlns:a16="http://schemas.microsoft.com/office/drawing/2014/main" id="{4592937C-2726-48F7-962B-24417662B162}"/>
                    </a:ext>
                  </a:extLst>
                </p:cNvPr>
                <p:cNvSpPr/>
                <p:nvPr/>
              </p:nvSpPr>
              <p:spPr bwMode="auto">
                <a:xfrm>
                  <a:off x="11768846" y="5346745"/>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9" name="Rectangle 168">
                  <a:extLst>
                    <a:ext uri="{FF2B5EF4-FFF2-40B4-BE49-F238E27FC236}">
                      <a16:creationId xmlns:a16="http://schemas.microsoft.com/office/drawing/2014/main" id="{7CC79FF8-1FEA-4258-A4C5-CE0C52F20CBC}"/>
                    </a:ext>
                  </a:extLst>
                </p:cNvPr>
                <p:cNvSpPr/>
                <p:nvPr/>
              </p:nvSpPr>
              <p:spPr bwMode="auto">
                <a:xfrm>
                  <a:off x="11768846" y="5667496"/>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C1AC8652-1128-4D0F-AF7C-453F557E70C4}"/>
                    </a:ext>
                  </a:extLst>
                </p:cNvPr>
                <p:cNvSpPr/>
                <p:nvPr/>
              </p:nvSpPr>
              <p:spPr bwMode="auto">
                <a:xfrm>
                  <a:off x="11768846" y="5988247"/>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1" name="Rectangle 170">
                  <a:extLst>
                    <a:ext uri="{FF2B5EF4-FFF2-40B4-BE49-F238E27FC236}">
                      <a16:creationId xmlns:a16="http://schemas.microsoft.com/office/drawing/2014/main" id="{152A9CE0-65AA-4467-B861-1DBE8E831940}"/>
                    </a:ext>
                  </a:extLst>
                </p:cNvPr>
                <p:cNvSpPr/>
                <p:nvPr/>
              </p:nvSpPr>
              <p:spPr bwMode="auto">
                <a:xfrm>
                  <a:off x="11768846" y="6308997"/>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2" name="Rectangle 171">
                  <a:extLst>
                    <a:ext uri="{FF2B5EF4-FFF2-40B4-BE49-F238E27FC236}">
                      <a16:creationId xmlns:a16="http://schemas.microsoft.com/office/drawing/2014/main" id="{AC988953-2830-47BE-B365-37221D378956}"/>
                    </a:ext>
                  </a:extLst>
                </p:cNvPr>
                <p:cNvSpPr/>
                <p:nvPr/>
              </p:nvSpPr>
              <p:spPr bwMode="auto">
                <a:xfrm>
                  <a:off x="12099786" y="4705243"/>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8626393-A5FF-422C-9D31-643425E68820}"/>
                    </a:ext>
                  </a:extLst>
                </p:cNvPr>
                <p:cNvSpPr/>
                <p:nvPr/>
              </p:nvSpPr>
              <p:spPr bwMode="auto">
                <a:xfrm>
                  <a:off x="12099786" y="5025994"/>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ADFD58C8-F09E-42D3-B8A4-2194D02C1695}"/>
                    </a:ext>
                  </a:extLst>
                </p:cNvPr>
                <p:cNvSpPr/>
                <p:nvPr/>
              </p:nvSpPr>
              <p:spPr bwMode="auto">
                <a:xfrm>
                  <a:off x="12099786" y="5346745"/>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B11EB1F6-36DD-4670-BBD6-6B1BD9BFC6E3}"/>
                    </a:ext>
                  </a:extLst>
                </p:cNvPr>
                <p:cNvSpPr/>
                <p:nvPr/>
              </p:nvSpPr>
              <p:spPr bwMode="auto">
                <a:xfrm>
                  <a:off x="12099786" y="5667496"/>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6" name="Rectangle 175">
                  <a:extLst>
                    <a:ext uri="{FF2B5EF4-FFF2-40B4-BE49-F238E27FC236}">
                      <a16:creationId xmlns:a16="http://schemas.microsoft.com/office/drawing/2014/main" id="{057EDCD0-4885-4AEF-8830-E24797656BDD}"/>
                    </a:ext>
                  </a:extLst>
                </p:cNvPr>
                <p:cNvSpPr/>
                <p:nvPr/>
              </p:nvSpPr>
              <p:spPr bwMode="auto">
                <a:xfrm>
                  <a:off x="12099786" y="5988247"/>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94B43F2B-7077-4810-AECA-783C336C3C47}"/>
                    </a:ext>
                  </a:extLst>
                </p:cNvPr>
                <p:cNvSpPr/>
                <p:nvPr/>
              </p:nvSpPr>
              <p:spPr bwMode="auto">
                <a:xfrm>
                  <a:off x="12099786" y="6308997"/>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grpSp>
          <p:nvGrpSpPr>
            <p:cNvPr id="159" name="Group 158">
              <a:extLst>
                <a:ext uri="{FF2B5EF4-FFF2-40B4-BE49-F238E27FC236}">
                  <a16:creationId xmlns:a16="http://schemas.microsoft.com/office/drawing/2014/main" id="{546EE4D9-28A3-4D7C-AB97-1BEA0F6A713A}"/>
                </a:ext>
              </a:extLst>
            </p:cNvPr>
            <p:cNvGrpSpPr>
              <a:grpSpLocks noChangeAspect="1"/>
            </p:cNvGrpSpPr>
            <p:nvPr/>
          </p:nvGrpSpPr>
          <p:grpSpPr>
            <a:xfrm>
              <a:off x="10877106" y="4617085"/>
              <a:ext cx="648393" cy="2377440"/>
              <a:chOff x="10857650" y="4479925"/>
              <a:chExt cx="685800" cy="2514600"/>
            </a:xfrm>
            <a:grpFill/>
          </p:grpSpPr>
          <p:sp>
            <p:nvSpPr>
              <p:cNvPr id="160" name="Freeform: Shape 159">
                <a:extLst>
                  <a:ext uri="{FF2B5EF4-FFF2-40B4-BE49-F238E27FC236}">
                    <a16:creationId xmlns:a16="http://schemas.microsoft.com/office/drawing/2014/main" id="{DE22A979-A3FF-454C-9F79-6C94380F5A64}"/>
                  </a:ext>
                </a:extLst>
              </p:cNvPr>
              <p:cNvSpPr>
                <a:spLocks/>
              </p:cNvSpPr>
              <p:nvPr/>
            </p:nvSpPr>
            <p:spPr bwMode="auto">
              <a:xfrm>
                <a:off x="10857650" y="4479925"/>
                <a:ext cx="685800" cy="2514600"/>
              </a:xfrm>
              <a:custGeom>
                <a:avLst/>
                <a:gdLst>
                  <a:gd name="connsiteX0" fmla="*/ 293914 w 685800"/>
                  <a:gd name="connsiteY0" fmla="*/ 0 h 2514600"/>
                  <a:gd name="connsiteX1" fmla="*/ 391885 w 685800"/>
                  <a:gd name="connsiteY1" fmla="*/ 0 h 2514600"/>
                  <a:gd name="connsiteX2" fmla="*/ 391885 w 685800"/>
                  <a:gd name="connsiteY2" fmla="*/ 228599 h 2514600"/>
                  <a:gd name="connsiteX3" fmla="*/ 489857 w 685800"/>
                  <a:gd name="connsiteY3" fmla="*/ 228599 h 2514600"/>
                  <a:gd name="connsiteX4" fmla="*/ 489857 w 685800"/>
                  <a:gd name="connsiteY4" fmla="*/ 457199 h 2514600"/>
                  <a:gd name="connsiteX5" fmla="*/ 587828 w 685800"/>
                  <a:gd name="connsiteY5" fmla="*/ 457199 h 2514600"/>
                  <a:gd name="connsiteX6" fmla="*/ 587828 w 685800"/>
                  <a:gd name="connsiteY6" fmla="*/ 685799 h 2514600"/>
                  <a:gd name="connsiteX7" fmla="*/ 685800 w 685800"/>
                  <a:gd name="connsiteY7" fmla="*/ 685799 h 2514600"/>
                  <a:gd name="connsiteX8" fmla="*/ 685800 w 685800"/>
                  <a:gd name="connsiteY8" fmla="*/ 2514599 h 2514600"/>
                  <a:gd name="connsiteX9" fmla="*/ 587828 w 685800"/>
                  <a:gd name="connsiteY9" fmla="*/ 2514599 h 2514600"/>
                  <a:gd name="connsiteX10" fmla="*/ 489857 w 685800"/>
                  <a:gd name="connsiteY10" fmla="*/ 2514599 h 2514600"/>
                  <a:gd name="connsiteX11" fmla="*/ 391885 w 685800"/>
                  <a:gd name="connsiteY11" fmla="*/ 2514599 h 2514600"/>
                  <a:gd name="connsiteX12" fmla="*/ 391885 w 685800"/>
                  <a:gd name="connsiteY12" fmla="*/ 2514600 h 2514600"/>
                  <a:gd name="connsiteX13" fmla="*/ 293914 w 685800"/>
                  <a:gd name="connsiteY13" fmla="*/ 2514600 h 2514600"/>
                  <a:gd name="connsiteX14" fmla="*/ 293914 w 685800"/>
                  <a:gd name="connsiteY14" fmla="*/ 2514599 h 2514600"/>
                  <a:gd name="connsiteX15" fmla="*/ 195943 w 685800"/>
                  <a:gd name="connsiteY15" fmla="*/ 2514599 h 2514600"/>
                  <a:gd name="connsiteX16" fmla="*/ 97971 w 685800"/>
                  <a:gd name="connsiteY16" fmla="*/ 2514599 h 2514600"/>
                  <a:gd name="connsiteX17" fmla="*/ 0 w 685800"/>
                  <a:gd name="connsiteY17" fmla="*/ 2514599 h 2514600"/>
                  <a:gd name="connsiteX18" fmla="*/ 0 w 685800"/>
                  <a:gd name="connsiteY18" fmla="*/ 685799 h 2514600"/>
                  <a:gd name="connsiteX19" fmla="*/ 97971 w 685800"/>
                  <a:gd name="connsiteY19" fmla="*/ 685799 h 2514600"/>
                  <a:gd name="connsiteX20" fmla="*/ 97971 w 685800"/>
                  <a:gd name="connsiteY20" fmla="*/ 457199 h 2514600"/>
                  <a:gd name="connsiteX21" fmla="*/ 195943 w 685800"/>
                  <a:gd name="connsiteY21" fmla="*/ 457199 h 2514600"/>
                  <a:gd name="connsiteX22" fmla="*/ 195943 w 685800"/>
                  <a:gd name="connsiteY22" fmla="*/ 228599 h 2514600"/>
                  <a:gd name="connsiteX23" fmla="*/ 293914 w 685800"/>
                  <a:gd name="connsiteY23" fmla="*/ 228599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800" h="2514600">
                    <a:moveTo>
                      <a:pt x="293914" y="0"/>
                    </a:moveTo>
                    <a:lnTo>
                      <a:pt x="391885" y="0"/>
                    </a:lnTo>
                    <a:lnTo>
                      <a:pt x="391885" y="228599"/>
                    </a:lnTo>
                    <a:lnTo>
                      <a:pt x="489857" y="228599"/>
                    </a:lnTo>
                    <a:lnTo>
                      <a:pt x="489857" y="457199"/>
                    </a:lnTo>
                    <a:lnTo>
                      <a:pt x="587828" y="457199"/>
                    </a:lnTo>
                    <a:lnTo>
                      <a:pt x="587828" y="685799"/>
                    </a:lnTo>
                    <a:lnTo>
                      <a:pt x="685800" y="685799"/>
                    </a:lnTo>
                    <a:lnTo>
                      <a:pt x="685800" y="2514599"/>
                    </a:lnTo>
                    <a:lnTo>
                      <a:pt x="587828" y="2514599"/>
                    </a:lnTo>
                    <a:lnTo>
                      <a:pt x="489857" y="2514599"/>
                    </a:lnTo>
                    <a:lnTo>
                      <a:pt x="391885" y="2514599"/>
                    </a:lnTo>
                    <a:lnTo>
                      <a:pt x="391885" y="2514600"/>
                    </a:lnTo>
                    <a:lnTo>
                      <a:pt x="293914" y="2514600"/>
                    </a:lnTo>
                    <a:lnTo>
                      <a:pt x="293914" y="2514599"/>
                    </a:lnTo>
                    <a:lnTo>
                      <a:pt x="195943" y="2514599"/>
                    </a:lnTo>
                    <a:lnTo>
                      <a:pt x="97971" y="2514599"/>
                    </a:lnTo>
                    <a:lnTo>
                      <a:pt x="0" y="2514599"/>
                    </a:lnTo>
                    <a:lnTo>
                      <a:pt x="0" y="685799"/>
                    </a:lnTo>
                    <a:lnTo>
                      <a:pt x="97971" y="685799"/>
                    </a:lnTo>
                    <a:lnTo>
                      <a:pt x="97971" y="457199"/>
                    </a:lnTo>
                    <a:lnTo>
                      <a:pt x="195943" y="457199"/>
                    </a:lnTo>
                    <a:lnTo>
                      <a:pt x="195943" y="228599"/>
                    </a:lnTo>
                    <a:lnTo>
                      <a:pt x="293914" y="228599"/>
                    </a:lnTo>
                    <a:close/>
                  </a:path>
                </a:pathLst>
              </a:cu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1" name="Rectangle 160">
                <a:extLst>
                  <a:ext uri="{FF2B5EF4-FFF2-40B4-BE49-F238E27FC236}">
                    <a16:creationId xmlns:a16="http://schemas.microsoft.com/office/drawing/2014/main" id="{37A54A2D-C8B2-4766-B376-C644481A1EA7}"/>
                  </a:ext>
                </a:extLst>
              </p:cNvPr>
              <p:cNvSpPr/>
              <p:nvPr/>
            </p:nvSpPr>
            <p:spPr bwMode="auto">
              <a:xfrm>
                <a:off x="10920781" y="5798634"/>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2" name="Rectangle 161">
                <a:extLst>
                  <a:ext uri="{FF2B5EF4-FFF2-40B4-BE49-F238E27FC236}">
                    <a16:creationId xmlns:a16="http://schemas.microsoft.com/office/drawing/2014/main" id="{92D901DC-6821-44AF-A930-C9BCDF0BD920}"/>
                  </a:ext>
                </a:extLst>
              </p:cNvPr>
              <p:cNvSpPr/>
              <p:nvPr/>
            </p:nvSpPr>
            <p:spPr bwMode="auto">
              <a:xfrm>
                <a:off x="11251721" y="5477883"/>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A146BA57-B673-4FC2-A17B-37116C3E475F}"/>
                  </a:ext>
                </a:extLst>
              </p:cNvPr>
              <p:cNvSpPr/>
              <p:nvPr/>
            </p:nvSpPr>
            <p:spPr bwMode="auto">
              <a:xfrm>
                <a:off x="11251721" y="6119385"/>
                <a:ext cx="228600" cy="228600"/>
              </a:xfrm>
              <a:prstGeom prst="rect">
                <a:avLst/>
              </a:prstGeom>
              <a:grp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sp>
        <p:nvSpPr>
          <p:cNvPr id="178" name="Rectangle 177">
            <a:extLst>
              <a:ext uri="{FF2B5EF4-FFF2-40B4-BE49-F238E27FC236}">
                <a16:creationId xmlns:a16="http://schemas.microsoft.com/office/drawing/2014/main" id="{F1283295-ECA0-4ED2-961F-0ECD01BEABEA}"/>
              </a:ext>
            </a:extLst>
          </p:cNvPr>
          <p:cNvSpPr/>
          <p:nvPr/>
        </p:nvSpPr>
        <p:spPr>
          <a:xfrm>
            <a:off x="174577" y="1730748"/>
            <a:ext cx="4523126" cy="1611735"/>
          </a:xfrm>
          <a:prstGeom prst="rect">
            <a:avLst/>
          </a:prstGeom>
        </p:spPr>
        <p:txBody>
          <a:bodyPr wrap="square" lIns="182854" tIns="182854" rIns="182854" bIns="182854">
            <a:spAutoFit/>
          </a:bodyPr>
          <a:lstStyle/>
          <a:p>
            <a:pPr defTabSz="932418">
              <a:spcAft>
                <a:spcPts val="918"/>
              </a:spcAft>
              <a:defRPr/>
            </a:pPr>
            <a:r>
              <a:rPr lang="en-US" sz="2040" kern="0" spc="-51" dirty="0">
                <a:solidFill>
                  <a:srgbClr val="0078D7"/>
                </a:solidFill>
                <a:latin typeface="Segoe UI Semibold" panose="020B0702040204020203" pitchFamily="34" charset="0"/>
                <a:cs typeface="Segoe UI Semibold" panose="020B0702040204020203" pitchFamily="34" charset="0"/>
              </a:rPr>
              <a:t>Work with any user from any partner</a:t>
            </a:r>
          </a:p>
          <a:p>
            <a:pPr defTabSz="932384">
              <a:spcAft>
                <a:spcPts val="612"/>
              </a:spcAft>
              <a:defRPr/>
            </a:pPr>
            <a:r>
              <a:rPr lang="en-US" sz="1428" kern="0" dirty="0">
                <a:solidFill>
                  <a:srgbClr val="505050"/>
                </a:solidFill>
                <a:latin typeface="Segoe UI Semilight"/>
              </a:rPr>
              <a:t>Partners use their own credentials</a:t>
            </a:r>
          </a:p>
          <a:p>
            <a:pPr defTabSz="932384">
              <a:spcAft>
                <a:spcPts val="612"/>
              </a:spcAft>
              <a:defRPr/>
            </a:pPr>
            <a:r>
              <a:rPr lang="en-US" sz="1428" kern="0" dirty="0">
                <a:solidFill>
                  <a:srgbClr val="505050"/>
                </a:solidFill>
                <a:latin typeface="Segoe UI Semilight"/>
              </a:rPr>
              <a:t>No requirement for partners to use Azure AD</a:t>
            </a:r>
          </a:p>
          <a:p>
            <a:pPr defTabSz="932384">
              <a:spcAft>
                <a:spcPts val="612"/>
              </a:spcAft>
              <a:defRPr/>
            </a:pPr>
            <a:r>
              <a:rPr lang="en-US" sz="1428" kern="0" dirty="0">
                <a:solidFill>
                  <a:srgbClr val="505050"/>
                </a:solidFill>
                <a:latin typeface="Segoe UI Semilight"/>
              </a:rPr>
              <a:t>No external directories or complex set-up required</a:t>
            </a:r>
            <a:endParaRPr lang="en-US" sz="1428" kern="0" dirty="0">
              <a:solidFill>
                <a:srgbClr val="505050"/>
              </a:solidFill>
              <a:latin typeface="Segoe UI Light" panose="020B0502040204020203" pitchFamily="34" charset="0"/>
              <a:cs typeface="Segoe UI Light" panose="020B0502040204020203" pitchFamily="34" charset="0"/>
            </a:endParaRPr>
          </a:p>
        </p:txBody>
      </p:sp>
      <p:sp>
        <p:nvSpPr>
          <p:cNvPr id="179" name="Rectangle 178">
            <a:extLst>
              <a:ext uri="{FF2B5EF4-FFF2-40B4-BE49-F238E27FC236}">
                <a16:creationId xmlns:a16="http://schemas.microsoft.com/office/drawing/2014/main" id="{717B4B20-A0BD-485E-B927-4DFF1FE5F506}"/>
              </a:ext>
            </a:extLst>
          </p:cNvPr>
          <p:cNvSpPr/>
          <p:nvPr/>
        </p:nvSpPr>
        <p:spPr>
          <a:xfrm>
            <a:off x="174578" y="3395318"/>
            <a:ext cx="4523126" cy="1636470"/>
          </a:xfrm>
          <a:prstGeom prst="rect">
            <a:avLst/>
          </a:prstGeom>
        </p:spPr>
        <p:txBody>
          <a:bodyPr wrap="square" lIns="182854" tIns="182854" rIns="182854" bIns="182854">
            <a:spAutoFit/>
          </a:bodyPr>
          <a:lstStyle/>
          <a:p>
            <a:pPr defTabSz="932418">
              <a:spcAft>
                <a:spcPts val="918"/>
              </a:spcAft>
              <a:defRPr/>
            </a:pPr>
            <a:r>
              <a:rPr lang="en-US" sz="2040" kern="0" spc="-51" dirty="0">
                <a:solidFill>
                  <a:srgbClr val="0078D7"/>
                </a:solidFill>
                <a:latin typeface="Segoe UI Semibold" panose="020B0702040204020203" pitchFamily="34" charset="0"/>
                <a:cs typeface="Segoe UI Semibold" panose="020B0702040204020203" pitchFamily="34" charset="0"/>
              </a:rPr>
              <a:t>Simple and secure collaboration</a:t>
            </a:r>
          </a:p>
          <a:p>
            <a:pPr defTabSz="932384" fontAlgn="base">
              <a:spcAft>
                <a:spcPts val="612"/>
              </a:spcAft>
              <a:defRPr/>
            </a:pPr>
            <a:r>
              <a:rPr lang="en-US" sz="1428" kern="0" dirty="0">
                <a:solidFill>
                  <a:srgbClr val="505050"/>
                </a:solidFill>
                <a:latin typeface="Segoe UI Semilight"/>
              </a:rPr>
              <a:t>Provide access to any corporate app or data</a:t>
            </a:r>
          </a:p>
          <a:p>
            <a:pPr defTabSz="932384" fontAlgn="base">
              <a:spcAft>
                <a:spcPts val="612"/>
              </a:spcAft>
              <a:defRPr/>
            </a:pPr>
            <a:r>
              <a:rPr lang="en-US" sz="1428" kern="0" dirty="0">
                <a:solidFill>
                  <a:srgbClr val="505050"/>
                </a:solidFill>
                <a:latin typeface="Segoe UI Semilight"/>
              </a:rPr>
              <a:t>Seamless user experiences</a:t>
            </a:r>
          </a:p>
          <a:p>
            <a:pPr defTabSz="932384" fontAlgn="base">
              <a:spcAft>
                <a:spcPts val="612"/>
              </a:spcAft>
              <a:defRPr/>
            </a:pPr>
            <a:r>
              <a:rPr lang="en-US" sz="1428" kern="0" dirty="0">
                <a:solidFill>
                  <a:srgbClr val="505050"/>
                </a:solidFill>
                <a:latin typeface="Segoe UI Semilight"/>
              </a:rPr>
              <a:t>Enterprise-grade security for apps and data</a:t>
            </a:r>
          </a:p>
        </p:txBody>
      </p:sp>
      <p:sp>
        <p:nvSpPr>
          <p:cNvPr id="180" name="Rectangle 179">
            <a:extLst>
              <a:ext uri="{FF2B5EF4-FFF2-40B4-BE49-F238E27FC236}">
                <a16:creationId xmlns:a16="http://schemas.microsoft.com/office/drawing/2014/main" id="{356779B3-A9B8-4672-8F66-B388490D9191}"/>
              </a:ext>
            </a:extLst>
          </p:cNvPr>
          <p:cNvSpPr/>
          <p:nvPr/>
        </p:nvSpPr>
        <p:spPr>
          <a:xfrm>
            <a:off x="174578" y="5059889"/>
            <a:ext cx="4523126" cy="1636470"/>
          </a:xfrm>
          <a:prstGeom prst="rect">
            <a:avLst/>
          </a:prstGeom>
        </p:spPr>
        <p:txBody>
          <a:bodyPr wrap="square" lIns="182854" tIns="182854" rIns="182854" bIns="182854">
            <a:spAutoFit/>
          </a:bodyPr>
          <a:lstStyle/>
          <a:p>
            <a:pPr defTabSz="932418">
              <a:spcAft>
                <a:spcPts val="918"/>
              </a:spcAft>
              <a:defRPr/>
            </a:pPr>
            <a:r>
              <a:rPr lang="en-US" sz="2040" kern="0" spc="-51" dirty="0">
                <a:solidFill>
                  <a:srgbClr val="0078D7"/>
                </a:solidFill>
                <a:latin typeface="Segoe UI Semibold" panose="020B0702040204020203" pitchFamily="34" charset="0"/>
                <a:cs typeface="Segoe UI Semibold" panose="020B0702040204020203" pitchFamily="34" charset="0"/>
              </a:rPr>
              <a:t>No management overhead</a:t>
            </a:r>
            <a:endParaRPr lang="en-US" sz="2040" kern="0" spc="-51" dirty="0">
              <a:solidFill>
                <a:srgbClr val="505050"/>
              </a:solidFill>
              <a:latin typeface="Segoe UI Semibold" panose="020B0702040204020203" pitchFamily="34" charset="0"/>
              <a:cs typeface="Segoe UI Semibold" panose="020B0702040204020203" pitchFamily="34" charset="0"/>
            </a:endParaRPr>
          </a:p>
          <a:p>
            <a:pPr defTabSz="932384" fontAlgn="base">
              <a:spcAft>
                <a:spcPts val="612"/>
              </a:spcAft>
              <a:defRPr/>
            </a:pPr>
            <a:r>
              <a:rPr lang="en-US" sz="1428" kern="0" dirty="0">
                <a:solidFill>
                  <a:srgbClr val="505050"/>
                </a:solidFill>
                <a:latin typeface="Segoe UI Semilight"/>
              </a:rPr>
              <a:t>No external account or password management</a:t>
            </a:r>
          </a:p>
          <a:p>
            <a:pPr defTabSz="932384" fontAlgn="base">
              <a:spcAft>
                <a:spcPts val="612"/>
              </a:spcAft>
              <a:defRPr/>
            </a:pPr>
            <a:r>
              <a:rPr lang="en-US" sz="1428" kern="0" dirty="0">
                <a:solidFill>
                  <a:srgbClr val="505050"/>
                </a:solidFill>
                <a:latin typeface="Segoe UI Semilight"/>
              </a:rPr>
              <a:t>No sync or manual account lifecycle management</a:t>
            </a:r>
          </a:p>
          <a:p>
            <a:pPr defTabSz="932384" fontAlgn="base">
              <a:spcAft>
                <a:spcPts val="612"/>
              </a:spcAft>
              <a:defRPr/>
            </a:pPr>
            <a:r>
              <a:rPr lang="en-US" sz="1428" kern="0" dirty="0">
                <a:solidFill>
                  <a:srgbClr val="505050"/>
                </a:solidFill>
                <a:latin typeface="Segoe UI Semilight"/>
              </a:rPr>
              <a:t>No external administrative overhead</a:t>
            </a:r>
            <a:endParaRPr lang="en-US" sz="1428" kern="0" dirty="0">
              <a:solidFill>
                <a:srgbClr val="505050"/>
              </a:solidFill>
              <a:latin typeface="Segoe UI Light" panose="020B0502040204020203" pitchFamily="34" charset="0"/>
              <a:cs typeface="Segoe UI Light" panose="020B0502040204020203" pitchFamily="34" charset="0"/>
            </a:endParaRPr>
          </a:p>
        </p:txBody>
      </p:sp>
      <p:grpSp>
        <p:nvGrpSpPr>
          <p:cNvPr id="181" name="Group 180">
            <a:extLst>
              <a:ext uri="{FF2B5EF4-FFF2-40B4-BE49-F238E27FC236}">
                <a16:creationId xmlns:a16="http://schemas.microsoft.com/office/drawing/2014/main" id="{A4D2BC8A-652F-47BB-B281-B3EFD17729B0}"/>
              </a:ext>
            </a:extLst>
          </p:cNvPr>
          <p:cNvGrpSpPr/>
          <p:nvPr/>
        </p:nvGrpSpPr>
        <p:grpSpPr>
          <a:xfrm>
            <a:off x="5150930" y="3562947"/>
            <a:ext cx="6994525" cy="1632056"/>
            <a:chOff x="5049526" y="3234978"/>
            <a:chExt cx="6858000" cy="1600200"/>
          </a:xfrm>
        </p:grpSpPr>
        <p:sp>
          <p:nvSpPr>
            <p:cNvPr id="182" name="Rectangle 181">
              <a:extLst>
                <a:ext uri="{FF2B5EF4-FFF2-40B4-BE49-F238E27FC236}">
                  <a16:creationId xmlns:a16="http://schemas.microsoft.com/office/drawing/2014/main" id="{B27EC60C-48C1-40DA-85B7-A6CD91130F9B}"/>
                </a:ext>
              </a:extLst>
            </p:cNvPr>
            <p:cNvSpPr/>
            <p:nvPr/>
          </p:nvSpPr>
          <p:spPr bwMode="auto">
            <a:xfrm>
              <a:off x="5049526" y="3234978"/>
              <a:ext cx="6858000" cy="1600200"/>
            </a:xfrm>
            <a:prstGeom prst="rect">
              <a:avLst/>
            </a:prstGeom>
            <a:solidFill>
              <a:srgbClr val="00188F">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b" anchorCtr="0" forceAA="0" compatLnSpc="1">
              <a:prstTxWarp prst="textNoShape">
                <a:avLst/>
              </a:prstTxWarp>
              <a:noAutofit/>
            </a:bodyPr>
            <a:lstStyle/>
            <a:p>
              <a:pPr marL="0" marR="0" lvl="0" indent="0" defTabSz="951028" eaLnBrk="1" fontAlgn="base" latinLnBrk="0" hangingPunct="1">
                <a:lnSpc>
                  <a:spcPct val="90000"/>
                </a:lnSpc>
                <a:spcBef>
                  <a:spcPct val="0"/>
                </a:spcBef>
                <a:spcAft>
                  <a:spcPct val="0"/>
                </a:spcAft>
                <a:buClrTx/>
                <a:buSzTx/>
                <a:buFontTx/>
                <a:buNone/>
                <a:tabLst/>
                <a:defRPr/>
              </a:pPr>
              <a:r>
                <a:rPr kumimoji="0" lang="en-US" sz="1632"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t>Azure</a:t>
              </a:r>
              <a:br>
                <a:rPr kumimoji="0" lang="en-US" sz="1632"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br>
              <a:r>
                <a:rPr kumimoji="0" lang="en-US" sz="1632"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t>Active Directory</a:t>
              </a:r>
            </a:p>
          </p:txBody>
        </p:sp>
        <p:pic>
          <p:nvPicPr>
            <p:cNvPr id="183" name="Picture 182">
              <a:extLst>
                <a:ext uri="{FF2B5EF4-FFF2-40B4-BE49-F238E27FC236}">
                  <a16:creationId xmlns:a16="http://schemas.microsoft.com/office/drawing/2014/main" id="{CEB600FF-60F2-4EC7-A164-3997739C24A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07787" y="3431761"/>
              <a:ext cx="893196" cy="885811"/>
            </a:xfrm>
            <a:prstGeom prst="rect">
              <a:avLst/>
            </a:prstGeom>
          </p:spPr>
        </p:pic>
      </p:grpSp>
      <p:graphicFrame>
        <p:nvGraphicFramePr>
          <p:cNvPr id="184" name="Table 183">
            <a:extLst>
              <a:ext uri="{FF2B5EF4-FFF2-40B4-BE49-F238E27FC236}">
                <a16:creationId xmlns:a16="http://schemas.microsoft.com/office/drawing/2014/main" id="{5CF1092D-4781-4254-8103-017051ACC7F8}"/>
              </a:ext>
            </a:extLst>
          </p:cNvPr>
          <p:cNvGraphicFramePr>
            <a:graphicFrameLocks noGrp="1"/>
          </p:cNvGraphicFramePr>
          <p:nvPr>
            <p:extLst/>
          </p:nvPr>
        </p:nvGraphicFramePr>
        <p:xfrm>
          <a:off x="7186500" y="3660871"/>
          <a:ext cx="4783311" cy="1436209"/>
        </p:xfrm>
        <a:graphic>
          <a:graphicData uri="http://schemas.openxmlformats.org/drawingml/2006/table">
            <a:tbl>
              <a:tblPr firstRow="1" bandRow="1"/>
              <a:tblGrid>
                <a:gridCol w="1589375">
                  <a:extLst>
                    <a:ext uri="{9D8B030D-6E8A-4147-A177-3AD203B41FA5}">
                      <a16:colId xmlns:a16="http://schemas.microsoft.com/office/drawing/2014/main" val="350791567"/>
                    </a:ext>
                  </a:extLst>
                </a:gridCol>
                <a:gridCol w="3193936">
                  <a:extLst>
                    <a:ext uri="{9D8B030D-6E8A-4147-A177-3AD203B41FA5}">
                      <a16:colId xmlns:a16="http://schemas.microsoft.com/office/drawing/2014/main" val="3834298023"/>
                    </a:ext>
                  </a:extLst>
                </a:gridCol>
              </a:tblGrid>
              <a:tr h="1436209">
                <a:tc>
                  <a:txBody>
                    <a:bodyPr/>
                    <a:lstStyle>
                      <a:lvl1pPr marL="0" algn="l" defTabSz="932594" rtl="0" eaLnBrk="1" latinLnBrk="0" hangingPunct="1">
                        <a:defRPr sz="1800" kern="1200">
                          <a:solidFill>
                            <a:schemeClr val="tx1"/>
                          </a:solidFill>
                          <a:latin typeface="Segoe UI Semilight"/>
                        </a:defRPr>
                      </a:lvl1pPr>
                      <a:lvl2pPr marL="466298" algn="l" defTabSz="932594" rtl="0" eaLnBrk="1" latinLnBrk="0" hangingPunct="1">
                        <a:defRPr sz="1800" kern="1200">
                          <a:solidFill>
                            <a:schemeClr val="tx1"/>
                          </a:solidFill>
                          <a:latin typeface="Segoe UI Semilight"/>
                        </a:defRPr>
                      </a:lvl2pPr>
                      <a:lvl3pPr marL="932594" algn="l" defTabSz="932594" rtl="0" eaLnBrk="1" latinLnBrk="0" hangingPunct="1">
                        <a:defRPr sz="1800" kern="1200">
                          <a:solidFill>
                            <a:schemeClr val="tx1"/>
                          </a:solidFill>
                          <a:latin typeface="Segoe UI Semilight"/>
                        </a:defRPr>
                      </a:lvl3pPr>
                      <a:lvl4pPr marL="1398892" algn="l" defTabSz="932594" rtl="0" eaLnBrk="1" latinLnBrk="0" hangingPunct="1">
                        <a:defRPr sz="1800" kern="1200">
                          <a:solidFill>
                            <a:schemeClr val="tx1"/>
                          </a:solidFill>
                          <a:latin typeface="Segoe UI Semilight"/>
                        </a:defRPr>
                      </a:lvl4pPr>
                      <a:lvl5pPr marL="1865188" algn="l" defTabSz="932594" rtl="0" eaLnBrk="1" latinLnBrk="0" hangingPunct="1">
                        <a:defRPr sz="1800" kern="1200">
                          <a:solidFill>
                            <a:schemeClr val="tx1"/>
                          </a:solidFill>
                          <a:latin typeface="Segoe UI Semilight"/>
                        </a:defRPr>
                      </a:lvl5pPr>
                      <a:lvl6pPr marL="2331487" algn="l" defTabSz="932594" rtl="0" eaLnBrk="1" latinLnBrk="0" hangingPunct="1">
                        <a:defRPr sz="1800" kern="1200">
                          <a:solidFill>
                            <a:schemeClr val="tx1"/>
                          </a:solidFill>
                          <a:latin typeface="Segoe UI Semilight"/>
                        </a:defRPr>
                      </a:lvl6pPr>
                      <a:lvl7pPr marL="2797783" algn="l" defTabSz="932594" rtl="0" eaLnBrk="1" latinLnBrk="0" hangingPunct="1">
                        <a:defRPr sz="1800" kern="1200">
                          <a:solidFill>
                            <a:schemeClr val="tx1"/>
                          </a:solidFill>
                          <a:latin typeface="Segoe UI Semilight"/>
                        </a:defRPr>
                      </a:lvl7pPr>
                      <a:lvl8pPr marL="3264080" algn="l" defTabSz="932594" rtl="0" eaLnBrk="1" latinLnBrk="0" hangingPunct="1">
                        <a:defRPr sz="1800" kern="1200">
                          <a:solidFill>
                            <a:schemeClr val="tx1"/>
                          </a:solidFill>
                          <a:latin typeface="Segoe UI Semilight"/>
                        </a:defRPr>
                      </a:lvl8pPr>
                      <a:lvl9pPr marL="3730379" algn="l" defTabSz="932594" rtl="0" eaLnBrk="1" latinLnBrk="0" hangingPunct="1">
                        <a:defRPr sz="1800" kern="1200">
                          <a:solidFill>
                            <a:schemeClr val="tx1"/>
                          </a:solidFill>
                          <a:latin typeface="Segoe UI Semilight"/>
                        </a:defRPr>
                      </a:lvl9pPr>
                    </a:lstStyle>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Directory Services</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User Management</a:t>
                      </a:r>
                      <a:endParaRPr lang="en-US" sz="1200" spc="0" baseline="0" dirty="0"/>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Identity protection</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Conditional access</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Application proxy</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App integration</a:t>
                      </a:r>
                    </a:p>
                  </a:txBody>
                  <a:tcPr marL="93260" marR="93260" marT="46630" marB="4663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94" rtl="0" eaLnBrk="1" latinLnBrk="0" hangingPunct="1">
                        <a:defRPr sz="1800" kern="1200">
                          <a:solidFill>
                            <a:schemeClr val="tx1"/>
                          </a:solidFill>
                          <a:latin typeface="Segoe UI Semilight"/>
                        </a:defRPr>
                      </a:lvl1pPr>
                      <a:lvl2pPr marL="466298" algn="l" defTabSz="932594" rtl="0" eaLnBrk="1" latinLnBrk="0" hangingPunct="1">
                        <a:defRPr sz="1800" kern="1200">
                          <a:solidFill>
                            <a:schemeClr val="tx1"/>
                          </a:solidFill>
                          <a:latin typeface="Segoe UI Semilight"/>
                        </a:defRPr>
                      </a:lvl2pPr>
                      <a:lvl3pPr marL="932594" algn="l" defTabSz="932594" rtl="0" eaLnBrk="1" latinLnBrk="0" hangingPunct="1">
                        <a:defRPr sz="1800" kern="1200">
                          <a:solidFill>
                            <a:schemeClr val="tx1"/>
                          </a:solidFill>
                          <a:latin typeface="Segoe UI Semilight"/>
                        </a:defRPr>
                      </a:lvl3pPr>
                      <a:lvl4pPr marL="1398892" algn="l" defTabSz="932594" rtl="0" eaLnBrk="1" latinLnBrk="0" hangingPunct="1">
                        <a:defRPr sz="1800" kern="1200">
                          <a:solidFill>
                            <a:schemeClr val="tx1"/>
                          </a:solidFill>
                          <a:latin typeface="Segoe UI Semilight"/>
                        </a:defRPr>
                      </a:lvl4pPr>
                      <a:lvl5pPr marL="1865188" algn="l" defTabSz="932594" rtl="0" eaLnBrk="1" latinLnBrk="0" hangingPunct="1">
                        <a:defRPr sz="1800" kern="1200">
                          <a:solidFill>
                            <a:schemeClr val="tx1"/>
                          </a:solidFill>
                          <a:latin typeface="Segoe UI Semilight"/>
                        </a:defRPr>
                      </a:lvl5pPr>
                      <a:lvl6pPr marL="2331487" algn="l" defTabSz="932594" rtl="0" eaLnBrk="1" latinLnBrk="0" hangingPunct="1">
                        <a:defRPr sz="1800" kern="1200">
                          <a:solidFill>
                            <a:schemeClr val="tx1"/>
                          </a:solidFill>
                          <a:latin typeface="Segoe UI Semilight"/>
                        </a:defRPr>
                      </a:lvl6pPr>
                      <a:lvl7pPr marL="2797783" algn="l" defTabSz="932594" rtl="0" eaLnBrk="1" latinLnBrk="0" hangingPunct="1">
                        <a:defRPr sz="1800" kern="1200">
                          <a:solidFill>
                            <a:schemeClr val="tx1"/>
                          </a:solidFill>
                          <a:latin typeface="Segoe UI Semilight"/>
                        </a:defRPr>
                      </a:lvl7pPr>
                      <a:lvl8pPr marL="3264080" algn="l" defTabSz="932594" rtl="0" eaLnBrk="1" latinLnBrk="0" hangingPunct="1">
                        <a:defRPr sz="1800" kern="1200">
                          <a:solidFill>
                            <a:schemeClr val="tx1"/>
                          </a:solidFill>
                          <a:latin typeface="Segoe UI Semilight"/>
                        </a:defRPr>
                      </a:lvl8pPr>
                      <a:lvl9pPr marL="3730379" algn="l" defTabSz="932594" rtl="0" eaLnBrk="1" latinLnBrk="0" hangingPunct="1">
                        <a:defRPr sz="1800" kern="1200">
                          <a:solidFill>
                            <a:schemeClr val="tx1"/>
                          </a:solidFill>
                          <a:latin typeface="Segoe UI Semilight"/>
                        </a:defRPr>
                      </a:lvl9pPr>
                    </a:lstStyle>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Federation Services</a:t>
                      </a:r>
                      <a:endParaRPr lang="en-US" sz="1200" spc="0" baseline="0" dirty="0"/>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Authentication Services</a:t>
                      </a:r>
                      <a:endParaRPr lang="en-US" sz="1200" spc="0" baseline="0" dirty="0"/>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Multi-factor authentication</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Self-service password reset </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Role-based access control</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Identity governance &amp; role management</a:t>
                      </a:r>
                    </a:p>
                  </a:txBody>
                  <a:tcPr marL="93260" marR="93260" marT="46630" marB="4663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0809438"/>
                  </a:ext>
                </a:extLst>
              </a:tr>
            </a:tbl>
          </a:graphicData>
        </a:graphic>
      </p:graphicFrame>
      <p:sp>
        <p:nvSpPr>
          <p:cNvPr id="185" name="Rectangle 184">
            <a:extLst>
              <a:ext uri="{FF2B5EF4-FFF2-40B4-BE49-F238E27FC236}">
                <a16:creationId xmlns:a16="http://schemas.microsoft.com/office/drawing/2014/main" id="{760BAFD1-7FC6-4696-8089-B255734C52CC}"/>
              </a:ext>
            </a:extLst>
          </p:cNvPr>
          <p:cNvSpPr/>
          <p:nvPr/>
        </p:nvSpPr>
        <p:spPr bwMode="auto">
          <a:xfrm>
            <a:off x="5150930" y="5318565"/>
            <a:ext cx="6994525" cy="1165754"/>
          </a:xfrm>
          <a:prstGeom prst="rect">
            <a:avLst/>
          </a:prstGeom>
          <a:solidFill>
            <a:srgbClr val="00188F">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b" anchorCtr="0" forceAA="0" compatLnSpc="1">
            <a:prstTxWarp prst="textNoShape">
              <a:avLst/>
            </a:prstTxWarp>
            <a:noAutofit/>
          </a:bodyPr>
          <a:lstStyle/>
          <a:p>
            <a:pPr marL="0" marR="0" lvl="0" indent="0" defTabSz="951028" eaLnBrk="1" fontAlgn="base" latinLnBrk="0" hangingPunct="1">
              <a:lnSpc>
                <a:spcPct val="90000"/>
              </a:lnSpc>
              <a:spcBef>
                <a:spcPct val="0"/>
              </a:spcBef>
              <a:spcAft>
                <a:spcPct val="0"/>
              </a:spcAft>
              <a:buClrTx/>
              <a:buSzTx/>
              <a:buFontTx/>
              <a:buNone/>
              <a:tabLst/>
              <a:defRPr/>
            </a:pPr>
            <a:r>
              <a:rPr kumimoji="0" lang="en-US" sz="1836"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t>Any</a:t>
            </a:r>
            <a:br>
              <a:rPr kumimoji="0" lang="en-US" sz="1836"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br>
            <a:r>
              <a:rPr kumimoji="0" lang="en-US" sz="1836"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t>users</a:t>
            </a:r>
          </a:p>
        </p:txBody>
      </p:sp>
      <p:grpSp>
        <p:nvGrpSpPr>
          <p:cNvPr id="186" name="Group 185">
            <a:extLst>
              <a:ext uri="{FF2B5EF4-FFF2-40B4-BE49-F238E27FC236}">
                <a16:creationId xmlns:a16="http://schemas.microsoft.com/office/drawing/2014/main" id="{EFE50D8A-CB93-47EA-8664-5E47BB67143C}"/>
              </a:ext>
            </a:extLst>
          </p:cNvPr>
          <p:cNvGrpSpPr/>
          <p:nvPr/>
        </p:nvGrpSpPr>
        <p:grpSpPr>
          <a:xfrm>
            <a:off x="7749787" y="385006"/>
            <a:ext cx="4395668" cy="3077591"/>
            <a:chOff x="5048255" y="377492"/>
            <a:chExt cx="4309870" cy="3017520"/>
          </a:xfrm>
        </p:grpSpPr>
        <p:sp>
          <p:nvSpPr>
            <p:cNvPr id="187" name="Rectangle 186">
              <a:extLst>
                <a:ext uri="{FF2B5EF4-FFF2-40B4-BE49-F238E27FC236}">
                  <a16:creationId xmlns:a16="http://schemas.microsoft.com/office/drawing/2014/main" id="{6FC0B00F-1991-4696-920B-628B4055A4D4}"/>
                </a:ext>
              </a:extLst>
            </p:cNvPr>
            <p:cNvSpPr/>
            <p:nvPr/>
          </p:nvSpPr>
          <p:spPr bwMode="auto">
            <a:xfrm>
              <a:off x="5048255" y="377492"/>
              <a:ext cx="4309870" cy="3017520"/>
            </a:xfrm>
            <a:prstGeom prst="rect">
              <a:avLst/>
            </a:prstGeom>
            <a:solidFill>
              <a:srgbClr val="00188F">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b" anchorCtr="0" forceAA="0" compatLnSpc="1">
              <a:prstTxWarp prst="textNoShape">
                <a:avLst/>
              </a:prstTxWarp>
              <a:noAutofit/>
            </a:bodyPr>
            <a:lstStyle/>
            <a:p>
              <a:pPr marL="0" marR="0" lvl="0" indent="0" defTabSz="951028" eaLnBrk="1" fontAlgn="base" latinLnBrk="0" hangingPunct="1">
                <a:lnSpc>
                  <a:spcPct val="90000"/>
                </a:lnSpc>
                <a:spcBef>
                  <a:spcPct val="0"/>
                </a:spcBef>
                <a:spcAft>
                  <a:spcPct val="0"/>
                </a:spcAft>
                <a:buClrTx/>
                <a:buSzTx/>
                <a:buFontTx/>
                <a:buNone/>
                <a:tabLst/>
                <a:defRPr/>
              </a:pPr>
              <a:r>
                <a:rPr kumimoji="0" lang="en-US" sz="1632"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t>2,700+ Azure AD integrated SaaS apps</a:t>
              </a:r>
            </a:p>
          </p:txBody>
        </p:sp>
        <p:grpSp>
          <p:nvGrpSpPr>
            <p:cNvPr id="188" name="Group 187">
              <a:extLst>
                <a:ext uri="{FF2B5EF4-FFF2-40B4-BE49-F238E27FC236}">
                  <a16:creationId xmlns:a16="http://schemas.microsoft.com/office/drawing/2014/main" id="{3DF06CC9-939D-4F3B-9ACB-D081788EEF0A}"/>
                </a:ext>
              </a:extLst>
            </p:cNvPr>
            <p:cNvGrpSpPr/>
            <p:nvPr/>
          </p:nvGrpSpPr>
          <p:grpSpPr>
            <a:xfrm>
              <a:off x="5153005" y="479092"/>
              <a:ext cx="4100370" cy="2440748"/>
              <a:chOff x="2254250" y="1471013"/>
              <a:chExt cx="4100370" cy="2440748"/>
            </a:xfrm>
          </p:grpSpPr>
          <p:grpSp>
            <p:nvGrpSpPr>
              <p:cNvPr id="189" name="Group 188">
                <a:extLst>
                  <a:ext uri="{FF2B5EF4-FFF2-40B4-BE49-F238E27FC236}">
                    <a16:creationId xmlns:a16="http://schemas.microsoft.com/office/drawing/2014/main" id="{560B2673-BBB5-4B1F-9F35-45271DD5E66C}"/>
                  </a:ext>
                </a:extLst>
              </p:cNvPr>
              <p:cNvGrpSpPr/>
              <p:nvPr/>
            </p:nvGrpSpPr>
            <p:grpSpPr>
              <a:xfrm>
                <a:off x="2254250" y="1471013"/>
                <a:ext cx="1617552" cy="2440748"/>
                <a:chOff x="3230129" y="4669935"/>
                <a:chExt cx="1617552" cy="2440748"/>
              </a:xfrm>
            </p:grpSpPr>
            <p:pic>
              <p:nvPicPr>
                <p:cNvPr id="224" name="Picture 8" descr="https://az495088.vo.msecnd.net/app-logo/sharepoint_215.png">
                  <a:extLst>
                    <a:ext uri="{FF2B5EF4-FFF2-40B4-BE49-F238E27FC236}">
                      <a16:creationId xmlns:a16="http://schemas.microsoft.com/office/drawing/2014/main" id="{CA6D17ED-E253-47D9-BC87-D944E72ECE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0129" y="4669935"/>
                  <a:ext cx="786385" cy="786384"/>
                </a:xfrm>
                <a:prstGeom prst="rect">
                  <a:avLst/>
                </a:prstGeom>
                <a:noFill/>
                <a:extLst>
                  <a:ext uri="{909E8E84-426E-40DD-AFC4-6F175D3DCCD1}">
                    <a14:hiddenFill xmlns:a14="http://schemas.microsoft.com/office/drawing/2010/main">
                      <a:solidFill>
                        <a:srgbClr val="FFFFFF"/>
                      </a:solidFill>
                    </a14:hiddenFill>
                  </a:ext>
                </a:extLst>
              </p:spPr>
            </p:pic>
            <p:grpSp>
              <p:nvGrpSpPr>
                <p:cNvPr id="225" name="Group 224">
                  <a:extLst>
                    <a:ext uri="{FF2B5EF4-FFF2-40B4-BE49-F238E27FC236}">
                      <a16:creationId xmlns:a16="http://schemas.microsoft.com/office/drawing/2014/main" id="{8B1A4B0F-8662-4F31-92C0-2662E3B372A7}"/>
                    </a:ext>
                  </a:extLst>
                </p:cNvPr>
                <p:cNvGrpSpPr>
                  <a:grpSpLocks noChangeAspect="1"/>
                </p:cNvGrpSpPr>
                <p:nvPr/>
              </p:nvGrpSpPr>
              <p:grpSpPr>
                <a:xfrm>
                  <a:off x="4061296" y="5497117"/>
                  <a:ext cx="786385" cy="786384"/>
                  <a:chOff x="-1436336" y="869509"/>
                  <a:chExt cx="914400" cy="914400"/>
                </a:xfrm>
              </p:grpSpPr>
              <p:sp>
                <p:nvSpPr>
                  <p:cNvPr id="238" name="Rectangle 237">
                    <a:extLst>
                      <a:ext uri="{FF2B5EF4-FFF2-40B4-BE49-F238E27FC236}">
                        <a16:creationId xmlns:a16="http://schemas.microsoft.com/office/drawing/2014/main" id="{58C9B86B-32A8-4985-8C59-F19A88735F27}"/>
                      </a:ext>
                    </a:extLst>
                  </p:cNvPr>
                  <p:cNvSpPr/>
                  <p:nvPr/>
                </p:nvSpPr>
                <p:spPr bwMode="auto">
                  <a:xfrm>
                    <a:off x="-1436336" y="869509"/>
                    <a:ext cx="914400" cy="914400"/>
                  </a:xfrm>
                  <a:prstGeom prst="rect">
                    <a:avLst/>
                  </a:prstGeom>
                  <a:solidFill>
                    <a:srgbClr val="3E4190"/>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239" name="Picture 6" descr="https://pbs.twimg.com/media/C8AX0PCVYAAHs6w.jpg">
                    <a:extLst>
                      <a:ext uri="{FF2B5EF4-FFF2-40B4-BE49-F238E27FC236}">
                        <a16:creationId xmlns:a16="http://schemas.microsoft.com/office/drawing/2014/main" id="{90FBBEF1-ADBB-4D94-BC18-5681E23D8C9C}"/>
                      </a:ext>
                    </a:extLst>
                  </p:cNvPr>
                  <p:cNvPicPr>
                    <a:picLocks noChangeAspect="1" noChangeArrowheads="1"/>
                  </p:cNvPicPr>
                  <p:nvPr/>
                </p:nvPicPr>
                <p:blipFill rotWithShape="1">
                  <a:blip r:embed="rId5">
                    <a:clrChange>
                      <a:clrFrom>
                        <a:srgbClr val="3E4190"/>
                      </a:clrFrom>
                      <a:clrTo>
                        <a:srgbClr val="3E4190">
                          <a:alpha val="0"/>
                        </a:srgbClr>
                      </a:clrTo>
                    </a:clrChange>
                    <a:extLst>
                      <a:ext uri="{28A0092B-C50C-407E-A947-70E740481C1C}">
                        <a14:useLocalDpi xmlns:a14="http://schemas.microsoft.com/office/drawing/2010/main" val="0"/>
                      </a:ext>
                    </a:extLst>
                  </a:blip>
                  <a:srcRect l="33931" t="1076" r="33931" b="23934"/>
                  <a:stretch/>
                </p:blipFill>
                <p:spPr bwMode="auto">
                  <a:xfrm>
                    <a:off x="-1327984" y="993751"/>
                    <a:ext cx="644911" cy="644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6" name="Group 225">
                  <a:extLst>
                    <a:ext uri="{FF2B5EF4-FFF2-40B4-BE49-F238E27FC236}">
                      <a16:creationId xmlns:a16="http://schemas.microsoft.com/office/drawing/2014/main" id="{BCD0E5E6-CD5E-4592-8AED-64E08CD8A0C9}"/>
                    </a:ext>
                  </a:extLst>
                </p:cNvPr>
                <p:cNvGrpSpPr>
                  <a:grpSpLocks noChangeAspect="1"/>
                </p:cNvGrpSpPr>
                <p:nvPr/>
              </p:nvGrpSpPr>
              <p:grpSpPr>
                <a:xfrm>
                  <a:off x="3230129" y="5497117"/>
                  <a:ext cx="786385" cy="786384"/>
                  <a:chOff x="-2441144" y="1867773"/>
                  <a:chExt cx="914400" cy="914400"/>
                </a:xfrm>
              </p:grpSpPr>
              <p:sp>
                <p:nvSpPr>
                  <p:cNvPr id="236" name="Rectangle 235">
                    <a:extLst>
                      <a:ext uri="{FF2B5EF4-FFF2-40B4-BE49-F238E27FC236}">
                        <a16:creationId xmlns:a16="http://schemas.microsoft.com/office/drawing/2014/main" id="{B0946EA0-AF72-4226-895F-B5F003F3DB8B}"/>
                      </a:ext>
                    </a:extLst>
                  </p:cNvPr>
                  <p:cNvSpPr/>
                  <p:nvPr/>
                </p:nvSpPr>
                <p:spPr bwMode="auto">
                  <a:xfrm>
                    <a:off x="-2441144" y="1867773"/>
                    <a:ext cx="914400" cy="914400"/>
                  </a:xfrm>
                  <a:prstGeom prst="rect">
                    <a:avLst/>
                  </a:prstGeom>
                  <a:solidFill>
                    <a:srgbClr val="00188F"/>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237" name="Picture 236">
                    <a:extLst>
                      <a:ext uri="{FF2B5EF4-FFF2-40B4-BE49-F238E27FC236}">
                        <a16:creationId xmlns:a16="http://schemas.microsoft.com/office/drawing/2014/main" id="{DE8456A4-7176-46A4-8A6B-0DFC4E6867D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58264" y="2050653"/>
                    <a:ext cx="548640" cy="548640"/>
                  </a:xfrm>
                  <a:prstGeom prst="rect">
                    <a:avLst/>
                  </a:prstGeom>
                </p:spPr>
              </p:pic>
            </p:grpSp>
            <p:grpSp>
              <p:nvGrpSpPr>
                <p:cNvPr id="227" name="Group 226">
                  <a:extLst>
                    <a:ext uri="{FF2B5EF4-FFF2-40B4-BE49-F238E27FC236}">
                      <a16:creationId xmlns:a16="http://schemas.microsoft.com/office/drawing/2014/main" id="{20BA5820-2A32-4912-9C68-AD0DCD22A964}"/>
                    </a:ext>
                  </a:extLst>
                </p:cNvPr>
                <p:cNvGrpSpPr>
                  <a:grpSpLocks noChangeAspect="1"/>
                </p:cNvGrpSpPr>
                <p:nvPr/>
              </p:nvGrpSpPr>
              <p:grpSpPr>
                <a:xfrm>
                  <a:off x="3230129" y="6324299"/>
                  <a:ext cx="786385" cy="786384"/>
                  <a:chOff x="-2441144" y="869509"/>
                  <a:chExt cx="914400" cy="914400"/>
                </a:xfrm>
              </p:grpSpPr>
              <p:sp>
                <p:nvSpPr>
                  <p:cNvPr id="234" name="Rectangle 233">
                    <a:extLst>
                      <a:ext uri="{FF2B5EF4-FFF2-40B4-BE49-F238E27FC236}">
                        <a16:creationId xmlns:a16="http://schemas.microsoft.com/office/drawing/2014/main" id="{593B7A68-8AF1-446D-A3EC-C78118B0BF3E}"/>
                      </a:ext>
                    </a:extLst>
                  </p:cNvPr>
                  <p:cNvSpPr/>
                  <p:nvPr/>
                </p:nvSpPr>
                <p:spPr bwMode="auto">
                  <a:xfrm>
                    <a:off x="-2441144" y="869509"/>
                    <a:ext cx="914400" cy="914400"/>
                  </a:xfrm>
                  <a:prstGeom prst="rect">
                    <a:avLst/>
                  </a:prstGeom>
                  <a:solidFill>
                    <a:srgbClr val="00188F"/>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235" name="Picture 234">
                    <a:extLst>
                      <a:ext uri="{FF2B5EF4-FFF2-40B4-BE49-F238E27FC236}">
                        <a16:creationId xmlns:a16="http://schemas.microsoft.com/office/drawing/2014/main" id="{5F540B59-AC24-4143-8025-7AD236107502}"/>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2256255" y="1054398"/>
                    <a:ext cx="548640" cy="548640"/>
                  </a:xfrm>
                  <a:prstGeom prst="rect">
                    <a:avLst/>
                  </a:prstGeom>
                </p:spPr>
              </p:pic>
            </p:grpSp>
            <p:grpSp>
              <p:nvGrpSpPr>
                <p:cNvPr id="228" name="Group 227">
                  <a:extLst>
                    <a:ext uri="{FF2B5EF4-FFF2-40B4-BE49-F238E27FC236}">
                      <a16:creationId xmlns:a16="http://schemas.microsoft.com/office/drawing/2014/main" id="{FF03E626-61A9-416C-BF73-28376308E858}"/>
                    </a:ext>
                  </a:extLst>
                </p:cNvPr>
                <p:cNvGrpSpPr>
                  <a:grpSpLocks noChangeAspect="1"/>
                </p:cNvGrpSpPr>
                <p:nvPr/>
              </p:nvGrpSpPr>
              <p:grpSpPr>
                <a:xfrm>
                  <a:off x="4061296" y="6324299"/>
                  <a:ext cx="786385" cy="786384"/>
                  <a:chOff x="-1436336" y="1867773"/>
                  <a:chExt cx="914400" cy="914400"/>
                </a:xfrm>
              </p:grpSpPr>
              <p:sp>
                <p:nvSpPr>
                  <p:cNvPr id="232" name="Rectangle 231">
                    <a:extLst>
                      <a:ext uri="{FF2B5EF4-FFF2-40B4-BE49-F238E27FC236}">
                        <a16:creationId xmlns:a16="http://schemas.microsoft.com/office/drawing/2014/main" id="{3031B885-8A0C-4840-ACFE-05797BB101F7}"/>
                      </a:ext>
                    </a:extLst>
                  </p:cNvPr>
                  <p:cNvSpPr/>
                  <p:nvPr/>
                </p:nvSpPr>
                <p:spPr bwMode="auto">
                  <a:xfrm>
                    <a:off x="-1436336" y="1867773"/>
                    <a:ext cx="914400" cy="914400"/>
                  </a:xfrm>
                  <a:prstGeom prst="rect">
                    <a:avLst/>
                  </a:prstGeom>
                  <a:solidFill>
                    <a:srgbClr val="F2C811"/>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233" name="Freeform 10">
                    <a:extLst>
                      <a:ext uri="{FF2B5EF4-FFF2-40B4-BE49-F238E27FC236}">
                        <a16:creationId xmlns:a16="http://schemas.microsoft.com/office/drawing/2014/main" id="{5C18B9F6-FDA9-4D56-86EE-E17102A4253E}"/>
                      </a:ext>
                    </a:extLst>
                  </p:cNvPr>
                  <p:cNvSpPr/>
                  <p:nvPr/>
                </p:nvSpPr>
                <p:spPr bwMode="auto">
                  <a:xfrm>
                    <a:off x="-1211576" y="2079305"/>
                    <a:ext cx="464881" cy="491337"/>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FFFFFF"/>
                      </a:solidFill>
                      <a:effectLst/>
                      <a:uLnTx/>
                      <a:uFillTx/>
                      <a:ea typeface="Segoe UI" pitchFamily="34" charset="0"/>
                      <a:cs typeface="Segoe UI" pitchFamily="34" charset="0"/>
                    </a:endParaRPr>
                  </a:p>
                </p:txBody>
              </p:sp>
            </p:grpSp>
            <p:grpSp>
              <p:nvGrpSpPr>
                <p:cNvPr id="229" name="Group 228">
                  <a:extLst>
                    <a:ext uri="{FF2B5EF4-FFF2-40B4-BE49-F238E27FC236}">
                      <a16:creationId xmlns:a16="http://schemas.microsoft.com/office/drawing/2014/main" id="{71C155A9-B1BB-48C1-A910-F802C991F1EC}"/>
                    </a:ext>
                  </a:extLst>
                </p:cNvPr>
                <p:cNvGrpSpPr>
                  <a:grpSpLocks noChangeAspect="1"/>
                </p:cNvGrpSpPr>
                <p:nvPr/>
              </p:nvGrpSpPr>
              <p:grpSpPr>
                <a:xfrm>
                  <a:off x="4061296" y="4669935"/>
                  <a:ext cx="786385" cy="786384"/>
                  <a:chOff x="-1436336" y="-128755"/>
                  <a:chExt cx="914400" cy="914400"/>
                </a:xfrm>
              </p:grpSpPr>
              <p:sp>
                <p:nvSpPr>
                  <p:cNvPr id="230" name="Rectangle 229">
                    <a:extLst>
                      <a:ext uri="{FF2B5EF4-FFF2-40B4-BE49-F238E27FC236}">
                        <a16:creationId xmlns:a16="http://schemas.microsoft.com/office/drawing/2014/main" id="{03263328-BCFB-4D0D-A8AE-55B51284B1BB}"/>
                      </a:ext>
                    </a:extLst>
                  </p:cNvPr>
                  <p:cNvSpPr>
                    <a:spLocks noChangeAspect="1"/>
                  </p:cNvSpPr>
                  <p:nvPr/>
                </p:nvSpPr>
                <p:spPr bwMode="auto">
                  <a:xfrm>
                    <a:off x="-1436336" y="-128755"/>
                    <a:ext cx="914400" cy="914400"/>
                  </a:xfrm>
                  <a:prstGeom prst="rect">
                    <a:avLst/>
                  </a:prstGeom>
                  <a:solidFill>
                    <a:srgbClr val="FFFFFF"/>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231" name="Picture 230" descr="https://106c4.wpc.azureedge.net/80106C4/Gallery-Prod/cdn/2015-02-24/prod20161101-microsoft-windowsazure-gallery/Microsoft.VisualStudioEnterprise2017onWindowsServer2016x64-ARM.1.0.1/Icons/Large.png">
                    <a:extLst>
                      <a:ext uri="{FF2B5EF4-FFF2-40B4-BE49-F238E27FC236}">
                        <a16:creationId xmlns:a16="http://schemas.microsoft.com/office/drawing/2014/main" id="{C779CD7B-1ED1-4886-9A6C-ACB855BFB77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53456" y="54125"/>
                    <a:ext cx="548640" cy="54864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90" name="Group 189">
                <a:extLst>
                  <a:ext uri="{FF2B5EF4-FFF2-40B4-BE49-F238E27FC236}">
                    <a16:creationId xmlns:a16="http://schemas.microsoft.com/office/drawing/2014/main" id="{336F57BB-2B10-44FB-8673-2913E67A7460}"/>
                  </a:ext>
                </a:extLst>
              </p:cNvPr>
              <p:cNvGrpSpPr/>
              <p:nvPr/>
            </p:nvGrpSpPr>
            <p:grpSpPr>
              <a:xfrm>
                <a:off x="3919464" y="1471013"/>
                <a:ext cx="448791" cy="2440748"/>
                <a:chOff x="4002359" y="1471013"/>
                <a:chExt cx="448791" cy="2440748"/>
              </a:xfrm>
            </p:grpSpPr>
            <p:pic>
              <p:nvPicPr>
                <p:cNvPr id="219" name="Picture 218">
                  <a:extLst>
                    <a:ext uri="{FF2B5EF4-FFF2-40B4-BE49-F238E27FC236}">
                      <a16:creationId xmlns:a16="http://schemas.microsoft.com/office/drawing/2014/main" id="{60735E6B-C8C7-4F2F-BFF1-A71EC2549FCF}"/>
                    </a:ext>
                  </a:extLst>
                </p:cNvPr>
                <p:cNvPicPr>
                  <a:picLocks noChangeAspect="1"/>
                </p:cNvPicPr>
                <p:nvPr/>
              </p:nvPicPr>
              <p:blipFill>
                <a:blip r:embed="rId9"/>
                <a:stretch>
                  <a:fillRect/>
                </a:stretch>
              </p:blipFill>
              <p:spPr>
                <a:xfrm>
                  <a:off x="4002359" y="2467727"/>
                  <a:ext cx="448791" cy="448792"/>
                </a:xfrm>
                <a:prstGeom prst="rect">
                  <a:avLst/>
                </a:prstGeom>
              </p:spPr>
            </p:pic>
            <p:pic>
              <p:nvPicPr>
                <p:cNvPr id="220" name="Picture 4" descr="https://az495088.vo.msecnd.net/app-logo/github_215.png">
                  <a:extLst>
                    <a:ext uri="{FF2B5EF4-FFF2-40B4-BE49-F238E27FC236}">
                      <a16:creationId xmlns:a16="http://schemas.microsoft.com/office/drawing/2014/main" id="{A6BA1BE8-E8A9-4446-94E7-70F13EBCF70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02359" y="1969370"/>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21" name="Picture 54" descr="https://az495088.vo.msecnd.net/app-logo/salesforce.com_215.png">
                  <a:extLst>
                    <a:ext uri="{FF2B5EF4-FFF2-40B4-BE49-F238E27FC236}">
                      <a16:creationId xmlns:a16="http://schemas.microsoft.com/office/drawing/2014/main" id="{510DE4F6-50B8-4E3A-8DB7-132803735C8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02359"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221">
                  <a:extLst>
                    <a:ext uri="{FF2B5EF4-FFF2-40B4-BE49-F238E27FC236}">
                      <a16:creationId xmlns:a16="http://schemas.microsoft.com/office/drawing/2014/main" id="{BCCF87FF-76B1-4FDF-8B8E-75F5BB99D82F}"/>
                    </a:ext>
                  </a:extLst>
                </p:cNvPr>
                <p:cNvPicPr>
                  <a:picLocks noChangeAspect="1"/>
                </p:cNvPicPr>
                <p:nvPr/>
              </p:nvPicPr>
              <p:blipFill>
                <a:blip r:embed="rId12"/>
                <a:stretch>
                  <a:fillRect/>
                </a:stretch>
              </p:blipFill>
              <p:spPr>
                <a:xfrm>
                  <a:off x="4002726" y="3463705"/>
                  <a:ext cx="448056" cy="448056"/>
                </a:xfrm>
                <a:prstGeom prst="rect">
                  <a:avLst/>
                </a:prstGeom>
              </p:spPr>
            </p:pic>
            <p:pic>
              <p:nvPicPr>
                <p:cNvPr id="223" name="Picture 222">
                  <a:extLst>
                    <a:ext uri="{FF2B5EF4-FFF2-40B4-BE49-F238E27FC236}">
                      <a16:creationId xmlns:a16="http://schemas.microsoft.com/office/drawing/2014/main" id="{0ECEE574-C729-4E1B-AD26-66341B7D98D7}"/>
                    </a:ext>
                  </a:extLst>
                </p:cNvPr>
                <p:cNvPicPr>
                  <a:picLocks noChangeAspect="1"/>
                </p:cNvPicPr>
                <p:nvPr/>
              </p:nvPicPr>
              <p:blipFill>
                <a:blip r:embed="rId13"/>
                <a:stretch>
                  <a:fillRect/>
                </a:stretch>
              </p:blipFill>
              <p:spPr>
                <a:xfrm>
                  <a:off x="4002726" y="2966084"/>
                  <a:ext cx="448056" cy="448056"/>
                </a:xfrm>
                <a:prstGeom prst="rect">
                  <a:avLst/>
                </a:prstGeom>
              </p:spPr>
            </p:pic>
          </p:grpSp>
          <p:grpSp>
            <p:nvGrpSpPr>
              <p:cNvPr id="191" name="Group 190">
                <a:extLst>
                  <a:ext uri="{FF2B5EF4-FFF2-40B4-BE49-F238E27FC236}">
                    <a16:creationId xmlns:a16="http://schemas.microsoft.com/office/drawing/2014/main" id="{A4A9C218-518D-4A4D-BF04-DD3BE60D3E1B}"/>
                  </a:ext>
                </a:extLst>
              </p:cNvPr>
              <p:cNvGrpSpPr/>
              <p:nvPr/>
            </p:nvGrpSpPr>
            <p:grpSpPr>
              <a:xfrm>
                <a:off x="4912370" y="1471013"/>
                <a:ext cx="449343" cy="2440748"/>
                <a:chOff x="4982865" y="1471013"/>
                <a:chExt cx="449343" cy="2440748"/>
              </a:xfrm>
            </p:grpSpPr>
            <p:pic>
              <p:nvPicPr>
                <p:cNvPr id="212" name="Picture 211" descr="https://az495088.vo.msecnd.net/app-logo/servicenow_215.png">
                  <a:extLst>
                    <a:ext uri="{FF2B5EF4-FFF2-40B4-BE49-F238E27FC236}">
                      <a16:creationId xmlns:a16="http://schemas.microsoft.com/office/drawing/2014/main" id="{7668A07F-AB39-4E5B-BB5C-8C9A8E81019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982865"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13" name="Picture 44" descr="https://az495088.vo.msecnd.net/app-logo/google_215.png">
                  <a:extLst>
                    <a:ext uri="{FF2B5EF4-FFF2-40B4-BE49-F238E27FC236}">
                      <a16:creationId xmlns:a16="http://schemas.microsoft.com/office/drawing/2014/main" id="{542F05CF-46CC-4CFF-B4FE-D1782DAC615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983141" y="2467727"/>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14" name="Picture 10" descr="https://az495088.vo.msecnd.net/app-logo/twitter_215.png">
                  <a:extLst>
                    <a:ext uri="{FF2B5EF4-FFF2-40B4-BE49-F238E27FC236}">
                      <a16:creationId xmlns:a16="http://schemas.microsoft.com/office/drawing/2014/main" id="{838CADBA-E786-409F-BA01-8B316F9849F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983417" y="1969370"/>
                  <a:ext cx="448791" cy="448792"/>
                </a:xfrm>
                <a:prstGeom prst="rect">
                  <a:avLst/>
                </a:prstGeom>
                <a:noFill/>
                <a:extLst>
                  <a:ext uri="{909E8E84-426E-40DD-AFC4-6F175D3DCCD1}">
                    <a14:hiddenFill xmlns:a14="http://schemas.microsoft.com/office/drawing/2010/main">
                      <a:solidFill>
                        <a:srgbClr val="FFFFFF"/>
                      </a:solidFill>
                    </a14:hiddenFill>
                  </a:ext>
                </a:extLst>
              </p:spPr>
            </p:pic>
            <p:grpSp>
              <p:nvGrpSpPr>
                <p:cNvPr id="215" name="Group 214">
                  <a:extLst>
                    <a:ext uri="{FF2B5EF4-FFF2-40B4-BE49-F238E27FC236}">
                      <a16:creationId xmlns:a16="http://schemas.microsoft.com/office/drawing/2014/main" id="{FE4B9BEC-9A1B-4520-B440-9D862DBC48ED}"/>
                    </a:ext>
                  </a:extLst>
                </p:cNvPr>
                <p:cNvGrpSpPr/>
                <p:nvPr/>
              </p:nvGrpSpPr>
              <p:grpSpPr>
                <a:xfrm>
                  <a:off x="4983693" y="2966084"/>
                  <a:ext cx="448056" cy="448056"/>
                  <a:chOff x="5051951" y="3070513"/>
                  <a:chExt cx="448056" cy="448056"/>
                </a:xfrm>
              </p:grpSpPr>
              <p:sp>
                <p:nvSpPr>
                  <p:cNvPr id="217" name="Rectangle 216">
                    <a:extLst>
                      <a:ext uri="{FF2B5EF4-FFF2-40B4-BE49-F238E27FC236}">
                        <a16:creationId xmlns:a16="http://schemas.microsoft.com/office/drawing/2014/main" id="{61A0DF56-2FA3-41EA-A8AF-EE8180ABAFA4}"/>
                      </a:ext>
                    </a:extLst>
                  </p:cNvPr>
                  <p:cNvSpPr/>
                  <p:nvPr/>
                </p:nvSpPr>
                <p:spPr bwMode="auto">
                  <a:xfrm>
                    <a:off x="5051951" y="3070513"/>
                    <a:ext cx="448056" cy="448056"/>
                  </a:xfrm>
                  <a:prstGeom prst="rect">
                    <a:avLst/>
                  </a:prstGeom>
                  <a:solidFill>
                    <a:srgbClr val="E6E6E6"/>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218" name="Picture 217">
                    <a:extLst>
                      <a:ext uri="{FF2B5EF4-FFF2-40B4-BE49-F238E27FC236}">
                        <a16:creationId xmlns:a16="http://schemas.microsoft.com/office/drawing/2014/main" id="{02C041B1-C9A7-45C9-ACDE-BCA392C952A6}"/>
                      </a:ext>
                    </a:extLst>
                  </p:cNvPr>
                  <p:cNvPicPr>
                    <a:picLocks noChangeAspect="1"/>
                  </p:cNvPicPr>
                  <p:nvPr/>
                </p:nvPicPr>
                <p:blipFill>
                  <a:blip r:embed="rId17"/>
                  <a:stretch>
                    <a:fillRect/>
                  </a:stretch>
                </p:blipFill>
                <p:spPr>
                  <a:xfrm>
                    <a:off x="5051951" y="3070513"/>
                    <a:ext cx="448056" cy="448056"/>
                  </a:xfrm>
                  <a:prstGeom prst="rect">
                    <a:avLst/>
                  </a:prstGeom>
                </p:spPr>
              </p:pic>
            </p:grpSp>
            <p:pic>
              <p:nvPicPr>
                <p:cNvPr id="216" name="Picture 215">
                  <a:extLst>
                    <a:ext uri="{FF2B5EF4-FFF2-40B4-BE49-F238E27FC236}">
                      <a16:creationId xmlns:a16="http://schemas.microsoft.com/office/drawing/2014/main" id="{7F8AE13C-7B7E-43F3-BF9E-51314D60E6D2}"/>
                    </a:ext>
                  </a:extLst>
                </p:cNvPr>
                <p:cNvPicPr>
                  <a:picLocks noChangeAspect="1"/>
                </p:cNvPicPr>
                <p:nvPr/>
              </p:nvPicPr>
              <p:blipFill>
                <a:blip r:embed="rId18"/>
                <a:stretch>
                  <a:fillRect/>
                </a:stretch>
              </p:blipFill>
              <p:spPr>
                <a:xfrm>
                  <a:off x="4983232" y="3463705"/>
                  <a:ext cx="448056" cy="448056"/>
                </a:xfrm>
                <a:prstGeom prst="rect">
                  <a:avLst/>
                </a:prstGeom>
              </p:spPr>
            </p:pic>
          </p:grpSp>
          <p:grpSp>
            <p:nvGrpSpPr>
              <p:cNvPr id="192" name="Group 191">
                <a:extLst>
                  <a:ext uri="{FF2B5EF4-FFF2-40B4-BE49-F238E27FC236}">
                    <a16:creationId xmlns:a16="http://schemas.microsoft.com/office/drawing/2014/main" id="{89893E5B-0B60-4D3E-BD9F-E0CBC52CA5E3}"/>
                  </a:ext>
                </a:extLst>
              </p:cNvPr>
              <p:cNvGrpSpPr/>
              <p:nvPr/>
            </p:nvGrpSpPr>
            <p:grpSpPr>
              <a:xfrm>
                <a:off x="5409375" y="1471013"/>
                <a:ext cx="448791" cy="2440748"/>
                <a:chOff x="5477195" y="1471013"/>
                <a:chExt cx="448791" cy="2440748"/>
              </a:xfrm>
            </p:grpSpPr>
            <p:pic>
              <p:nvPicPr>
                <p:cNvPr id="207" name="Picture 4" descr="https://az495088.vo.msecnd.net/app-logo/concur_215.png">
                  <a:extLst>
                    <a:ext uri="{FF2B5EF4-FFF2-40B4-BE49-F238E27FC236}">
                      <a16:creationId xmlns:a16="http://schemas.microsoft.com/office/drawing/2014/main" id="{CF020DEB-2EB3-440C-BC45-0DD59F40E49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477195"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12" descr="https://az495088.vo.msecnd.net/app-logo/kronos_215.png">
                  <a:extLst>
                    <a:ext uri="{FF2B5EF4-FFF2-40B4-BE49-F238E27FC236}">
                      <a16:creationId xmlns:a16="http://schemas.microsoft.com/office/drawing/2014/main" id="{7FC3A8AF-3242-4D0D-9659-66D6B7D6EA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477195" y="1969370"/>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09" name="Picture 56" descr="https://az495088.vo.msecnd.net/app-logo/aws_215.png">
                  <a:extLst>
                    <a:ext uri="{FF2B5EF4-FFF2-40B4-BE49-F238E27FC236}">
                      <a16:creationId xmlns:a16="http://schemas.microsoft.com/office/drawing/2014/main" id="{10B4582E-80E9-41AB-8B02-4E52EF9EF0DE}"/>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477195" y="2467727"/>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10" name="Picture 209">
                  <a:extLst>
                    <a:ext uri="{FF2B5EF4-FFF2-40B4-BE49-F238E27FC236}">
                      <a16:creationId xmlns:a16="http://schemas.microsoft.com/office/drawing/2014/main" id="{51653C27-89EE-451B-AAC8-7977A300FE2E}"/>
                    </a:ext>
                  </a:extLst>
                </p:cNvPr>
                <p:cNvPicPr>
                  <a:picLocks noChangeAspect="1"/>
                </p:cNvPicPr>
                <p:nvPr/>
              </p:nvPicPr>
              <p:blipFill>
                <a:blip r:embed="rId22"/>
                <a:stretch>
                  <a:fillRect/>
                </a:stretch>
              </p:blipFill>
              <p:spPr>
                <a:xfrm>
                  <a:off x="5477562" y="2966084"/>
                  <a:ext cx="448056" cy="448056"/>
                </a:xfrm>
                <a:prstGeom prst="rect">
                  <a:avLst/>
                </a:prstGeom>
              </p:spPr>
            </p:pic>
            <p:pic>
              <p:nvPicPr>
                <p:cNvPr id="211" name="Picture 210">
                  <a:extLst>
                    <a:ext uri="{FF2B5EF4-FFF2-40B4-BE49-F238E27FC236}">
                      <a16:creationId xmlns:a16="http://schemas.microsoft.com/office/drawing/2014/main" id="{EF4F5E4A-3F98-4411-977A-0393FE4686F8}"/>
                    </a:ext>
                  </a:extLst>
                </p:cNvPr>
                <p:cNvPicPr>
                  <a:picLocks noChangeAspect="1"/>
                </p:cNvPicPr>
                <p:nvPr/>
              </p:nvPicPr>
              <p:blipFill>
                <a:blip r:embed="rId23"/>
                <a:stretch>
                  <a:fillRect/>
                </a:stretch>
              </p:blipFill>
              <p:spPr>
                <a:xfrm>
                  <a:off x="5477562" y="3463705"/>
                  <a:ext cx="448056" cy="448056"/>
                </a:xfrm>
                <a:prstGeom prst="rect">
                  <a:avLst/>
                </a:prstGeom>
              </p:spPr>
            </p:pic>
          </p:grpSp>
          <p:grpSp>
            <p:nvGrpSpPr>
              <p:cNvPr id="193" name="Group 192">
                <a:extLst>
                  <a:ext uri="{FF2B5EF4-FFF2-40B4-BE49-F238E27FC236}">
                    <a16:creationId xmlns:a16="http://schemas.microsoft.com/office/drawing/2014/main" id="{E783B75C-E2F9-4F93-AC9A-FF26863A4BD5}"/>
                  </a:ext>
                </a:extLst>
              </p:cNvPr>
              <p:cNvGrpSpPr/>
              <p:nvPr/>
            </p:nvGrpSpPr>
            <p:grpSpPr>
              <a:xfrm>
                <a:off x="4415917" y="1471013"/>
                <a:ext cx="448791" cy="2440748"/>
                <a:chOff x="4492380" y="1471013"/>
                <a:chExt cx="448791" cy="2440748"/>
              </a:xfrm>
            </p:grpSpPr>
            <p:pic>
              <p:nvPicPr>
                <p:cNvPr id="202" name="Picture 34" descr="https://az495088.vo.msecnd.net/app-logo/workday_215.png">
                  <a:extLst>
                    <a:ext uri="{FF2B5EF4-FFF2-40B4-BE49-F238E27FC236}">
                      <a16:creationId xmlns:a16="http://schemas.microsoft.com/office/drawing/2014/main" id="{7D4ED4AC-78D7-4CD5-BEEF-F39A3BCEEF9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492380"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2" descr="https://az495088.vo.msecnd.net/app-logo/slack_215.png">
                  <a:extLst>
                    <a:ext uri="{FF2B5EF4-FFF2-40B4-BE49-F238E27FC236}">
                      <a16:creationId xmlns:a16="http://schemas.microsoft.com/office/drawing/2014/main" id="{C5D3E016-793C-47B2-9A7D-EAF446AB687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92380" y="2467727"/>
                  <a:ext cx="448791" cy="44879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04" name="Picture 203" descr="A picture containing thing&#10;&#10;Description generated with very high confidence">
                  <a:extLst>
                    <a:ext uri="{FF2B5EF4-FFF2-40B4-BE49-F238E27FC236}">
                      <a16:creationId xmlns:a16="http://schemas.microsoft.com/office/drawing/2014/main" id="{F95551E1-A47D-40A9-9144-47E57A89B482}"/>
                    </a:ext>
                  </a:extLst>
                </p:cNvPr>
                <p:cNvPicPr>
                  <a:picLocks noChangeAspect="1"/>
                </p:cNvPicPr>
                <p:nvPr/>
              </p:nvPicPr>
              <p:blipFill>
                <a:blip r:embed="rId26"/>
                <a:stretch>
                  <a:fillRect/>
                </a:stretch>
              </p:blipFill>
              <p:spPr>
                <a:xfrm>
                  <a:off x="4492380" y="1969370"/>
                  <a:ext cx="448791" cy="448792"/>
                </a:xfrm>
                <a:prstGeom prst="rect">
                  <a:avLst/>
                </a:prstGeom>
              </p:spPr>
            </p:pic>
            <p:pic>
              <p:nvPicPr>
                <p:cNvPr id="205" name="Picture 204">
                  <a:extLst>
                    <a:ext uri="{FF2B5EF4-FFF2-40B4-BE49-F238E27FC236}">
                      <a16:creationId xmlns:a16="http://schemas.microsoft.com/office/drawing/2014/main" id="{BFC7E42D-F7E6-470C-B90C-BEC608A4A1DC}"/>
                    </a:ext>
                  </a:extLst>
                </p:cNvPr>
                <p:cNvPicPr>
                  <a:picLocks noChangeAspect="1"/>
                </p:cNvPicPr>
                <p:nvPr/>
              </p:nvPicPr>
              <p:blipFill>
                <a:blip r:embed="rId27"/>
                <a:stretch>
                  <a:fillRect/>
                </a:stretch>
              </p:blipFill>
              <p:spPr>
                <a:xfrm>
                  <a:off x="4492747" y="2966084"/>
                  <a:ext cx="448056" cy="448056"/>
                </a:xfrm>
                <a:prstGeom prst="rect">
                  <a:avLst/>
                </a:prstGeom>
              </p:spPr>
            </p:pic>
            <p:pic>
              <p:nvPicPr>
                <p:cNvPr id="206" name="Picture 205">
                  <a:extLst>
                    <a:ext uri="{FF2B5EF4-FFF2-40B4-BE49-F238E27FC236}">
                      <a16:creationId xmlns:a16="http://schemas.microsoft.com/office/drawing/2014/main" id="{D37A46C9-CE1C-4818-9F10-2D19F4D421CE}"/>
                    </a:ext>
                  </a:extLst>
                </p:cNvPr>
                <p:cNvPicPr>
                  <a:picLocks noChangeAspect="1"/>
                </p:cNvPicPr>
                <p:nvPr/>
              </p:nvPicPr>
              <p:blipFill>
                <a:blip r:embed="rId28"/>
                <a:stretch>
                  <a:fillRect/>
                </a:stretch>
              </p:blipFill>
              <p:spPr>
                <a:xfrm>
                  <a:off x="4492747" y="3463705"/>
                  <a:ext cx="448056" cy="448056"/>
                </a:xfrm>
                <a:prstGeom prst="rect">
                  <a:avLst/>
                </a:prstGeom>
              </p:spPr>
            </p:pic>
          </p:grpSp>
          <p:grpSp>
            <p:nvGrpSpPr>
              <p:cNvPr id="194" name="Group 193">
                <a:extLst>
                  <a:ext uri="{FF2B5EF4-FFF2-40B4-BE49-F238E27FC236}">
                    <a16:creationId xmlns:a16="http://schemas.microsoft.com/office/drawing/2014/main" id="{6272F882-2F7D-4C50-AF44-2EAB3907969A}"/>
                  </a:ext>
                </a:extLst>
              </p:cNvPr>
              <p:cNvGrpSpPr/>
              <p:nvPr/>
            </p:nvGrpSpPr>
            <p:grpSpPr>
              <a:xfrm>
                <a:off x="5905829" y="1471013"/>
                <a:ext cx="448791" cy="2440748"/>
                <a:chOff x="5970789" y="1471013"/>
                <a:chExt cx="448791" cy="2440748"/>
              </a:xfrm>
            </p:grpSpPr>
            <p:pic>
              <p:nvPicPr>
                <p:cNvPr id="195" name="Picture 52" descr="https://106c4.wpc.azureedge.net/80106C4/Gallery-Prod/cdn/2015-02-24/prod20161101-microsoft-windowsazure-gallery/microsoft-azure-blockchain.azure-blockchain-serviceethereum-consortium-blockchain.1.0.6/Icons/Large.png">
                  <a:extLst>
                    <a:ext uri="{FF2B5EF4-FFF2-40B4-BE49-F238E27FC236}">
                      <a16:creationId xmlns:a16="http://schemas.microsoft.com/office/drawing/2014/main" id="{6BA9B484-BAED-4EFD-B6D5-51B063B24E80}"/>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970789" y="1969370"/>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195">
                  <a:extLst>
                    <a:ext uri="{FF2B5EF4-FFF2-40B4-BE49-F238E27FC236}">
                      <a16:creationId xmlns:a16="http://schemas.microsoft.com/office/drawing/2014/main" id="{D1779DB9-A179-4EB1-A065-A19B6BD95A92}"/>
                    </a:ext>
                  </a:extLst>
                </p:cNvPr>
                <p:cNvPicPr>
                  <a:picLocks noChangeAspect="1"/>
                </p:cNvPicPr>
                <p:nvPr/>
              </p:nvPicPr>
              <p:blipFill>
                <a:blip r:embed="rId30"/>
                <a:stretch>
                  <a:fillRect/>
                </a:stretch>
              </p:blipFill>
              <p:spPr>
                <a:xfrm>
                  <a:off x="5970789" y="2467727"/>
                  <a:ext cx="448791" cy="448792"/>
                </a:xfrm>
                <a:prstGeom prst="rect">
                  <a:avLst/>
                </a:prstGeom>
              </p:spPr>
            </p:pic>
            <p:pic>
              <p:nvPicPr>
                <p:cNvPr id="197" name="Picture 196">
                  <a:extLst>
                    <a:ext uri="{FF2B5EF4-FFF2-40B4-BE49-F238E27FC236}">
                      <a16:creationId xmlns:a16="http://schemas.microsoft.com/office/drawing/2014/main" id="{28AA6AA6-1B15-4C24-85AA-E332A1ED4F51}"/>
                    </a:ext>
                  </a:extLst>
                </p:cNvPr>
                <p:cNvPicPr>
                  <a:picLocks noChangeAspect="1"/>
                </p:cNvPicPr>
                <p:nvPr/>
              </p:nvPicPr>
              <p:blipFill>
                <a:blip r:embed="rId31"/>
                <a:stretch>
                  <a:fillRect/>
                </a:stretch>
              </p:blipFill>
              <p:spPr>
                <a:xfrm>
                  <a:off x="5970789" y="1471013"/>
                  <a:ext cx="448791" cy="448792"/>
                </a:xfrm>
                <a:prstGeom prst="rect">
                  <a:avLst/>
                </a:prstGeom>
                <a:ln>
                  <a:noFill/>
                </a:ln>
              </p:spPr>
            </p:pic>
            <p:pic>
              <p:nvPicPr>
                <p:cNvPr id="198" name="Picture 197">
                  <a:extLst>
                    <a:ext uri="{FF2B5EF4-FFF2-40B4-BE49-F238E27FC236}">
                      <a16:creationId xmlns:a16="http://schemas.microsoft.com/office/drawing/2014/main" id="{2248A171-AD09-4DCF-A137-2DE619FF4727}"/>
                    </a:ext>
                  </a:extLst>
                </p:cNvPr>
                <p:cNvPicPr>
                  <a:picLocks noChangeAspect="1"/>
                </p:cNvPicPr>
                <p:nvPr/>
              </p:nvPicPr>
              <p:blipFill>
                <a:blip r:embed="rId32"/>
                <a:stretch>
                  <a:fillRect/>
                </a:stretch>
              </p:blipFill>
              <p:spPr>
                <a:xfrm>
                  <a:off x="5971156" y="2966084"/>
                  <a:ext cx="448056" cy="448056"/>
                </a:xfrm>
                <a:prstGeom prst="rect">
                  <a:avLst/>
                </a:prstGeom>
              </p:spPr>
            </p:pic>
            <p:grpSp>
              <p:nvGrpSpPr>
                <p:cNvPr id="199" name="Group 198">
                  <a:extLst>
                    <a:ext uri="{FF2B5EF4-FFF2-40B4-BE49-F238E27FC236}">
                      <a16:creationId xmlns:a16="http://schemas.microsoft.com/office/drawing/2014/main" id="{29C1498D-B834-4027-801B-9C9710B9A140}"/>
                    </a:ext>
                  </a:extLst>
                </p:cNvPr>
                <p:cNvGrpSpPr/>
                <p:nvPr/>
              </p:nvGrpSpPr>
              <p:grpSpPr>
                <a:xfrm>
                  <a:off x="5971156" y="3463705"/>
                  <a:ext cx="448056" cy="448056"/>
                  <a:chOff x="7208009" y="3301452"/>
                  <a:chExt cx="448056" cy="448056"/>
                </a:xfrm>
              </p:grpSpPr>
              <p:sp>
                <p:nvSpPr>
                  <p:cNvPr id="200" name="Rectangle 199">
                    <a:extLst>
                      <a:ext uri="{FF2B5EF4-FFF2-40B4-BE49-F238E27FC236}">
                        <a16:creationId xmlns:a16="http://schemas.microsoft.com/office/drawing/2014/main" id="{AAFA2C9D-BC2E-45A7-9822-9226EC6AB46E}"/>
                      </a:ext>
                    </a:extLst>
                  </p:cNvPr>
                  <p:cNvSpPr/>
                  <p:nvPr/>
                </p:nvSpPr>
                <p:spPr bwMode="auto">
                  <a:xfrm>
                    <a:off x="7208009" y="3301452"/>
                    <a:ext cx="448056" cy="448056"/>
                  </a:xfrm>
                  <a:prstGeom prst="rect">
                    <a:avLst/>
                  </a:prstGeom>
                  <a:solidFill>
                    <a:srgbClr val="E6E6E6"/>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201" name="Picture 200">
                    <a:extLst>
                      <a:ext uri="{FF2B5EF4-FFF2-40B4-BE49-F238E27FC236}">
                        <a16:creationId xmlns:a16="http://schemas.microsoft.com/office/drawing/2014/main" id="{1AE85C4A-237A-4B08-A70B-490FD309F6A1}"/>
                      </a:ext>
                    </a:extLst>
                  </p:cNvPr>
                  <p:cNvPicPr>
                    <a:picLocks noChangeAspect="1"/>
                  </p:cNvPicPr>
                  <p:nvPr/>
                </p:nvPicPr>
                <p:blipFill>
                  <a:blip r:embed="rId33"/>
                  <a:stretch>
                    <a:fillRect/>
                  </a:stretch>
                </p:blipFill>
                <p:spPr>
                  <a:xfrm>
                    <a:off x="7208009" y="3301452"/>
                    <a:ext cx="448056" cy="448056"/>
                  </a:xfrm>
                  <a:prstGeom prst="rect">
                    <a:avLst/>
                  </a:prstGeom>
                </p:spPr>
              </p:pic>
            </p:grpSp>
          </p:grpSp>
        </p:grpSp>
      </p:grpSp>
      <p:grpSp>
        <p:nvGrpSpPr>
          <p:cNvPr id="240" name="Group 239">
            <a:extLst>
              <a:ext uri="{FF2B5EF4-FFF2-40B4-BE49-F238E27FC236}">
                <a16:creationId xmlns:a16="http://schemas.microsoft.com/office/drawing/2014/main" id="{83EC481A-9CEC-4171-8DC7-D35A5F134F75}"/>
              </a:ext>
            </a:extLst>
          </p:cNvPr>
          <p:cNvGrpSpPr/>
          <p:nvPr/>
        </p:nvGrpSpPr>
        <p:grpSpPr>
          <a:xfrm>
            <a:off x="5150930" y="385006"/>
            <a:ext cx="2518029" cy="3077591"/>
            <a:chOff x="9438646" y="377492"/>
            <a:chExt cx="2468880" cy="3017520"/>
          </a:xfrm>
        </p:grpSpPr>
        <p:sp>
          <p:nvSpPr>
            <p:cNvPr id="241" name="Rectangle 240">
              <a:extLst>
                <a:ext uri="{FF2B5EF4-FFF2-40B4-BE49-F238E27FC236}">
                  <a16:creationId xmlns:a16="http://schemas.microsoft.com/office/drawing/2014/main" id="{D462E3CD-3B04-4648-9BA7-CCE37351DD80}"/>
                </a:ext>
              </a:extLst>
            </p:cNvPr>
            <p:cNvSpPr/>
            <p:nvPr/>
          </p:nvSpPr>
          <p:spPr bwMode="auto">
            <a:xfrm>
              <a:off x="9438646" y="377492"/>
              <a:ext cx="2468880" cy="3017520"/>
            </a:xfrm>
            <a:prstGeom prst="rect">
              <a:avLst/>
            </a:prstGeom>
            <a:solidFill>
              <a:srgbClr val="00188F">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b" anchorCtr="0" forceAA="0" compatLnSpc="1">
              <a:prstTxWarp prst="textNoShape">
                <a:avLst/>
              </a:prstTxWarp>
              <a:noAutofit/>
            </a:bodyPr>
            <a:lstStyle/>
            <a:p>
              <a:pPr marL="0" marR="0" lvl="0" indent="0" defTabSz="951028" eaLnBrk="1" fontAlgn="base" latinLnBrk="0" hangingPunct="1">
                <a:lnSpc>
                  <a:spcPct val="90000"/>
                </a:lnSpc>
                <a:spcBef>
                  <a:spcPct val="0"/>
                </a:spcBef>
                <a:spcAft>
                  <a:spcPct val="0"/>
                </a:spcAft>
                <a:buClrTx/>
                <a:buSzTx/>
                <a:buFontTx/>
                <a:buNone/>
                <a:tabLst/>
                <a:defRPr/>
              </a:pPr>
              <a:r>
                <a:rPr kumimoji="0" lang="en-US" sz="1632"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t>On-premises</a:t>
              </a:r>
            </a:p>
          </p:txBody>
        </p:sp>
        <p:grpSp>
          <p:nvGrpSpPr>
            <p:cNvPr id="242" name="Group 4">
              <a:extLst>
                <a:ext uri="{FF2B5EF4-FFF2-40B4-BE49-F238E27FC236}">
                  <a16:creationId xmlns:a16="http://schemas.microsoft.com/office/drawing/2014/main" id="{D2BEDD50-5898-49CA-956D-AF69B2F97BA5}"/>
                </a:ext>
              </a:extLst>
            </p:cNvPr>
            <p:cNvGrpSpPr>
              <a:grpSpLocks noChangeAspect="1"/>
            </p:cNvGrpSpPr>
            <p:nvPr/>
          </p:nvGrpSpPr>
          <p:grpSpPr bwMode="auto">
            <a:xfrm>
              <a:off x="9525003" y="2054652"/>
              <a:ext cx="2268538" cy="865188"/>
              <a:chOff x="6000" y="1294"/>
              <a:chExt cx="1429" cy="545"/>
            </a:xfrm>
          </p:grpSpPr>
          <p:sp>
            <p:nvSpPr>
              <p:cNvPr id="275" name="AutoShape 3">
                <a:extLst>
                  <a:ext uri="{FF2B5EF4-FFF2-40B4-BE49-F238E27FC236}">
                    <a16:creationId xmlns:a16="http://schemas.microsoft.com/office/drawing/2014/main" id="{D79A8D97-6327-4474-AA82-0FB574B5CE16}"/>
                  </a:ext>
                </a:extLst>
              </p:cNvPr>
              <p:cNvSpPr>
                <a:spLocks noChangeAspect="1" noChangeArrowheads="1" noTextEdit="1"/>
              </p:cNvSpPr>
              <p:nvPr/>
            </p:nvSpPr>
            <p:spPr bwMode="auto">
              <a:xfrm>
                <a:off x="6469" y="1296"/>
                <a:ext cx="960" cy="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76" name="Freeform 5">
                <a:extLst>
                  <a:ext uri="{FF2B5EF4-FFF2-40B4-BE49-F238E27FC236}">
                    <a16:creationId xmlns:a16="http://schemas.microsoft.com/office/drawing/2014/main" id="{ADA7EB2B-4B8E-49FB-A0CB-771CD377C475}"/>
                  </a:ext>
                </a:extLst>
              </p:cNvPr>
              <p:cNvSpPr>
                <a:spLocks/>
              </p:cNvSpPr>
              <p:nvPr/>
            </p:nvSpPr>
            <p:spPr bwMode="auto">
              <a:xfrm>
                <a:off x="6000" y="1735"/>
                <a:ext cx="1427" cy="104"/>
              </a:xfrm>
              <a:custGeom>
                <a:avLst/>
                <a:gdLst>
                  <a:gd name="T0" fmla="*/ 956 w 956"/>
                  <a:gd name="T1" fmla="*/ 104 h 104"/>
                  <a:gd name="T2" fmla="*/ 0 w 956"/>
                  <a:gd name="T3" fmla="*/ 104 h 104"/>
                  <a:gd name="T4" fmla="*/ 40 w 956"/>
                  <a:gd name="T5" fmla="*/ 0 h 104"/>
                  <a:gd name="T6" fmla="*/ 916 w 956"/>
                  <a:gd name="T7" fmla="*/ 0 h 104"/>
                  <a:gd name="T8" fmla="*/ 956 w 956"/>
                  <a:gd name="T9" fmla="*/ 104 h 104"/>
                </a:gdLst>
                <a:ahLst/>
                <a:cxnLst>
                  <a:cxn ang="0">
                    <a:pos x="T0" y="T1"/>
                  </a:cxn>
                  <a:cxn ang="0">
                    <a:pos x="T2" y="T3"/>
                  </a:cxn>
                  <a:cxn ang="0">
                    <a:pos x="T4" y="T5"/>
                  </a:cxn>
                  <a:cxn ang="0">
                    <a:pos x="T6" y="T7"/>
                  </a:cxn>
                  <a:cxn ang="0">
                    <a:pos x="T8" y="T9"/>
                  </a:cxn>
                </a:cxnLst>
                <a:rect l="0" t="0" r="r" b="b"/>
                <a:pathLst>
                  <a:path w="956" h="104">
                    <a:moveTo>
                      <a:pt x="956" y="104"/>
                    </a:moveTo>
                    <a:lnTo>
                      <a:pt x="0" y="104"/>
                    </a:lnTo>
                    <a:lnTo>
                      <a:pt x="40" y="0"/>
                    </a:lnTo>
                    <a:lnTo>
                      <a:pt x="916" y="0"/>
                    </a:lnTo>
                    <a:lnTo>
                      <a:pt x="956" y="10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77" name="Freeform 6">
                <a:extLst>
                  <a:ext uri="{FF2B5EF4-FFF2-40B4-BE49-F238E27FC236}">
                    <a16:creationId xmlns:a16="http://schemas.microsoft.com/office/drawing/2014/main" id="{62AE61EC-850A-4C73-9DAA-FFC57748DDFA}"/>
                  </a:ext>
                </a:extLst>
              </p:cNvPr>
              <p:cNvSpPr>
                <a:spLocks noEditPoints="1"/>
              </p:cNvSpPr>
              <p:nvPr/>
            </p:nvSpPr>
            <p:spPr bwMode="auto">
              <a:xfrm>
                <a:off x="7175" y="1393"/>
                <a:ext cx="133" cy="406"/>
              </a:xfrm>
              <a:custGeom>
                <a:avLst/>
                <a:gdLst>
                  <a:gd name="T0" fmla="*/ 133 w 133"/>
                  <a:gd name="T1" fmla="*/ 406 h 406"/>
                  <a:gd name="T2" fmla="*/ 0 w 133"/>
                  <a:gd name="T3" fmla="*/ 0 h 406"/>
                  <a:gd name="T4" fmla="*/ 69 w 133"/>
                  <a:gd name="T5" fmla="*/ 35 h 406"/>
                  <a:gd name="T6" fmla="*/ 104 w 133"/>
                  <a:gd name="T7" fmla="*/ 69 h 406"/>
                  <a:gd name="T8" fmla="*/ 69 w 133"/>
                  <a:gd name="T9" fmla="*/ 35 h 406"/>
                  <a:gd name="T10" fmla="*/ 104 w 133"/>
                  <a:gd name="T11" fmla="*/ 139 h 406"/>
                  <a:gd name="T12" fmla="*/ 69 w 133"/>
                  <a:gd name="T13" fmla="*/ 168 h 406"/>
                  <a:gd name="T14" fmla="*/ 69 w 133"/>
                  <a:gd name="T15" fmla="*/ 192 h 406"/>
                  <a:gd name="T16" fmla="*/ 104 w 133"/>
                  <a:gd name="T17" fmla="*/ 227 h 406"/>
                  <a:gd name="T18" fmla="*/ 69 w 133"/>
                  <a:gd name="T19" fmla="*/ 192 h 406"/>
                  <a:gd name="T20" fmla="*/ 58 w 133"/>
                  <a:gd name="T21" fmla="*/ 82 h 406"/>
                  <a:gd name="T22" fmla="*/ 24 w 133"/>
                  <a:gd name="T23" fmla="*/ 117 h 406"/>
                  <a:gd name="T24" fmla="*/ 24 w 133"/>
                  <a:gd name="T25" fmla="*/ 238 h 406"/>
                  <a:gd name="T26" fmla="*/ 58 w 133"/>
                  <a:gd name="T27" fmla="*/ 272 h 406"/>
                  <a:gd name="T28" fmla="*/ 24 w 133"/>
                  <a:gd name="T29" fmla="*/ 238 h 406"/>
                  <a:gd name="T30" fmla="*/ 24 w 133"/>
                  <a:gd name="T31" fmla="*/ 331 h 406"/>
                  <a:gd name="T32" fmla="*/ 58 w 133"/>
                  <a:gd name="T33" fmla="*/ 296 h 406"/>
                  <a:gd name="T34" fmla="*/ 58 w 133"/>
                  <a:gd name="T35" fmla="*/ 227 h 406"/>
                  <a:gd name="T36" fmla="*/ 24 w 133"/>
                  <a:gd name="T37" fmla="*/ 192 h 406"/>
                  <a:gd name="T38" fmla="*/ 58 w 133"/>
                  <a:gd name="T39" fmla="*/ 227 h 406"/>
                  <a:gd name="T40" fmla="*/ 24 w 133"/>
                  <a:gd name="T41" fmla="*/ 168 h 406"/>
                  <a:gd name="T42" fmla="*/ 58 w 133"/>
                  <a:gd name="T43" fmla="*/ 139 h 406"/>
                  <a:gd name="T44" fmla="*/ 58 w 133"/>
                  <a:gd name="T45" fmla="*/ 69 h 406"/>
                  <a:gd name="T46" fmla="*/ 24 w 133"/>
                  <a:gd name="T47" fmla="*/ 35 h 406"/>
                  <a:gd name="T48" fmla="*/ 58 w 133"/>
                  <a:gd name="T49" fmla="*/ 69 h 406"/>
                  <a:gd name="T50" fmla="*/ 69 w 133"/>
                  <a:gd name="T51" fmla="*/ 331 h 406"/>
                  <a:gd name="T52" fmla="*/ 104 w 133"/>
                  <a:gd name="T53" fmla="*/ 296 h 406"/>
                  <a:gd name="T54" fmla="*/ 104 w 133"/>
                  <a:gd name="T55" fmla="*/ 272 h 406"/>
                  <a:gd name="T56" fmla="*/ 69 w 133"/>
                  <a:gd name="T57" fmla="*/ 238 h 406"/>
                  <a:gd name="T58" fmla="*/ 104 w 133"/>
                  <a:gd name="T59" fmla="*/ 272 h 406"/>
                  <a:gd name="T60" fmla="*/ 69 w 133"/>
                  <a:gd name="T61" fmla="*/ 117 h 406"/>
                  <a:gd name="T62" fmla="*/ 104 w 133"/>
                  <a:gd name="T63" fmla="*/ 8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406">
                    <a:moveTo>
                      <a:pt x="0" y="406"/>
                    </a:moveTo>
                    <a:lnTo>
                      <a:pt x="133" y="406"/>
                    </a:lnTo>
                    <a:lnTo>
                      <a:pt x="133" y="0"/>
                    </a:lnTo>
                    <a:lnTo>
                      <a:pt x="0" y="0"/>
                    </a:lnTo>
                    <a:lnTo>
                      <a:pt x="0" y="406"/>
                    </a:lnTo>
                    <a:close/>
                    <a:moveTo>
                      <a:pt x="69" y="35"/>
                    </a:moveTo>
                    <a:lnTo>
                      <a:pt x="104" y="35"/>
                    </a:lnTo>
                    <a:lnTo>
                      <a:pt x="104" y="69"/>
                    </a:lnTo>
                    <a:lnTo>
                      <a:pt x="69" y="69"/>
                    </a:lnTo>
                    <a:lnTo>
                      <a:pt x="69" y="35"/>
                    </a:lnTo>
                    <a:close/>
                    <a:moveTo>
                      <a:pt x="69" y="139"/>
                    </a:moveTo>
                    <a:lnTo>
                      <a:pt x="104" y="139"/>
                    </a:lnTo>
                    <a:lnTo>
                      <a:pt x="104" y="168"/>
                    </a:lnTo>
                    <a:lnTo>
                      <a:pt x="69" y="168"/>
                    </a:lnTo>
                    <a:lnTo>
                      <a:pt x="69" y="139"/>
                    </a:lnTo>
                    <a:close/>
                    <a:moveTo>
                      <a:pt x="69" y="192"/>
                    </a:moveTo>
                    <a:lnTo>
                      <a:pt x="104" y="192"/>
                    </a:lnTo>
                    <a:lnTo>
                      <a:pt x="104" y="227"/>
                    </a:lnTo>
                    <a:lnTo>
                      <a:pt x="69" y="227"/>
                    </a:lnTo>
                    <a:lnTo>
                      <a:pt x="69" y="192"/>
                    </a:lnTo>
                    <a:close/>
                    <a:moveTo>
                      <a:pt x="24" y="82"/>
                    </a:moveTo>
                    <a:lnTo>
                      <a:pt x="58" y="82"/>
                    </a:lnTo>
                    <a:lnTo>
                      <a:pt x="58" y="117"/>
                    </a:lnTo>
                    <a:lnTo>
                      <a:pt x="24" y="117"/>
                    </a:lnTo>
                    <a:lnTo>
                      <a:pt x="24" y="82"/>
                    </a:lnTo>
                    <a:close/>
                    <a:moveTo>
                      <a:pt x="24" y="238"/>
                    </a:moveTo>
                    <a:lnTo>
                      <a:pt x="58" y="238"/>
                    </a:lnTo>
                    <a:lnTo>
                      <a:pt x="58" y="272"/>
                    </a:lnTo>
                    <a:lnTo>
                      <a:pt x="24" y="272"/>
                    </a:lnTo>
                    <a:lnTo>
                      <a:pt x="24" y="238"/>
                    </a:lnTo>
                    <a:close/>
                    <a:moveTo>
                      <a:pt x="58" y="331"/>
                    </a:moveTo>
                    <a:lnTo>
                      <a:pt x="24" y="331"/>
                    </a:lnTo>
                    <a:lnTo>
                      <a:pt x="24" y="296"/>
                    </a:lnTo>
                    <a:lnTo>
                      <a:pt x="58" y="296"/>
                    </a:lnTo>
                    <a:lnTo>
                      <a:pt x="58" y="331"/>
                    </a:lnTo>
                    <a:close/>
                    <a:moveTo>
                      <a:pt x="58" y="227"/>
                    </a:moveTo>
                    <a:lnTo>
                      <a:pt x="24" y="227"/>
                    </a:lnTo>
                    <a:lnTo>
                      <a:pt x="24" y="192"/>
                    </a:lnTo>
                    <a:lnTo>
                      <a:pt x="58" y="192"/>
                    </a:lnTo>
                    <a:lnTo>
                      <a:pt x="58" y="227"/>
                    </a:lnTo>
                    <a:close/>
                    <a:moveTo>
                      <a:pt x="58" y="168"/>
                    </a:moveTo>
                    <a:lnTo>
                      <a:pt x="24" y="168"/>
                    </a:lnTo>
                    <a:lnTo>
                      <a:pt x="24" y="139"/>
                    </a:lnTo>
                    <a:lnTo>
                      <a:pt x="58" y="139"/>
                    </a:lnTo>
                    <a:lnTo>
                      <a:pt x="58" y="168"/>
                    </a:lnTo>
                    <a:close/>
                    <a:moveTo>
                      <a:pt x="58" y="69"/>
                    </a:moveTo>
                    <a:lnTo>
                      <a:pt x="24" y="69"/>
                    </a:lnTo>
                    <a:lnTo>
                      <a:pt x="24" y="35"/>
                    </a:lnTo>
                    <a:lnTo>
                      <a:pt x="58" y="35"/>
                    </a:lnTo>
                    <a:lnTo>
                      <a:pt x="58" y="69"/>
                    </a:lnTo>
                    <a:close/>
                    <a:moveTo>
                      <a:pt x="104" y="331"/>
                    </a:moveTo>
                    <a:lnTo>
                      <a:pt x="69" y="331"/>
                    </a:lnTo>
                    <a:lnTo>
                      <a:pt x="69" y="296"/>
                    </a:lnTo>
                    <a:lnTo>
                      <a:pt x="104" y="296"/>
                    </a:lnTo>
                    <a:lnTo>
                      <a:pt x="104" y="331"/>
                    </a:lnTo>
                    <a:close/>
                    <a:moveTo>
                      <a:pt x="104" y="272"/>
                    </a:moveTo>
                    <a:lnTo>
                      <a:pt x="69" y="272"/>
                    </a:lnTo>
                    <a:lnTo>
                      <a:pt x="69" y="238"/>
                    </a:lnTo>
                    <a:lnTo>
                      <a:pt x="104" y="238"/>
                    </a:lnTo>
                    <a:lnTo>
                      <a:pt x="104" y="272"/>
                    </a:lnTo>
                    <a:close/>
                    <a:moveTo>
                      <a:pt x="104" y="117"/>
                    </a:moveTo>
                    <a:lnTo>
                      <a:pt x="69" y="117"/>
                    </a:lnTo>
                    <a:lnTo>
                      <a:pt x="69" y="82"/>
                    </a:lnTo>
                    <a:lnTo>
                      <a:pt x="104" y="82"/>
                    </a:lnTo>
                    <a:lnTo>
                      <a:pt x="104" y="117"/>
                    </a:lnTo>
                    <a:close/>
                  </a:path>
                </a:pathLst>
              </a:custGeom>
              <a:solidFill>
                <a:srgbClr val="E6E6E6">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78" name="Freeform 7">
                <a:extLst>
                  <a:ext uri="{FF2B5EF4-FFF2-40B4-BE49-F238E27FC236}">
                    <a16:creationId xmlns:a16="http://schemas.microsoft.com/office/drawing/2014/main" id="{10E37DCA-1C21-43A2-8EFB-ECE10EB35953}"/>
                  </a:ext>
                </a:extLst>
              </p:cNvPr>
              <p:cNvSpPr>
                <a:spLocks noEditPoints="1"/>
              </p:cNvSpPr>
              <p:nvPr/>
            </p:nvSpPr>
            <p:spPr bwMode="auto">
              <a:xfrm>
                <a:off x="7030" y="1550"/>
                <a:ext cx="127" cy="249"/>
              </a:xfrm>
              <a:custGeom>
                <a:avLst/>
                <a:gdLst>
                  <a:gd name="T0" fmla="*/ 0 w 127"/>
                  <a:gd name="T1" fmla="*/ 249 h 249"/>
                  <a:gd name="T2" fmla="*/ 127 w 127"/>
                  <a:gd name="T3" fmla="*/ 249 h 249"/>
                  <a:gd name="T4" fmla="*/ 127 w 127"/>
                  <a:gd name="T5" fmla="*/ 0 h 249"/>
                  <a:gd name="T6" fmla="*/ 0 w 127"/>
                  <a:gd name="T7" fmla="*/ 0 h 249"/>
                  <a:gd name="T8" fmla="*/ 0 w 127"/>
                  <a:gd name="T9" fmla="*/ 249 h 249"/>
                  <a:gd name="T10" fmla="*/ 52 w 127"/>
                  <a:gd name="T11" fmla="*/ 64 h 249"/>
                  <a:gd name="T12" fmla="*/ 22 w 127"/>
                  <a:gd name="T13" fmla="*/ 64 h 249"/>
                  <a:gd name="T14" fmla="*/ 22 w 127"/>
                  <a:gd name="T15" fmla="*/ 35 h 249"/>
                  <a:gd name="T16" fmla="*/ 52 w 127"/>
                  <a:gd name="T17" fmla="*/ 35 h 249"/>
                  <a:gd name="T18" fmla="*/ 52 w 127"/>
                  <a:gd name="T19" fmla="*/ 64 h 249"/>
                  <a:gd name="T20" fmla="*/ 110 w 127"/>
                  <a:gd name="T21" fmla="*/ 115 h 249"/>
                  <a:gd name="T22" fmla="*/ 75 w 127"/>
                  <a:gd name="T23" fmla="*/ 115 h 249"/>
                  <a:gd name="T24" fmla="*/ 75 w 127"/>
                  <a:gd name="T25" fmla="*/ 81 h 249"/>
                  <a:gd name="T26" fmla="*/ 110 w 127"/>
                  <a:gd name="T27" fmla="*/ 81 h 249"/>
                  <a:gd name="T28" fmla="*/ 110 w 127"/>
                  <a:gd name="T29" fmla="*/ 115 h 249"/>
                  <a:gd name="T30" fmla="*/ 75 w 127"/>
                  <a:gd name="T31" fmla="*/ 139 h 249"/>
                  <a:gd name="T32" fmla="*/ 110 w 127"/>
                  <a:gd name="T33" fmla="*/ 139 h 249"/>
                  <a:gd name="T34" fmla="*/ 110 w 127"/>
                  <a:gd name="T35" fmla="*/ 168 h 249"/>
                  <a:gd name="T36" fmla="*/ 75 w 127"/>
                  <a:gd name="T37" fmla="*/ 168 h 249"/>
                  <a:gd name="T38" fmla="*/ 75 w 127"/>
                  <a:gd name="T39" fmla="*/ 139 h 249"/>
                  <a:gd name="T40" fmla="*/ 75 w 127"/>
                  <a:gd name="T41" fmla="*/ 35 h 249"/>
                  <a:gd name="T42" fmla="*/ 110 w 127"/>
                  <a:gd name="T43" fmla="*/ 35 h 249"/>
                  <a:gd name="T44" fmla="*/ 110 w 127"/>
                  <a:gd name="T45" fmla="*/ 64 h 249"/>
                  <a:gd name="T46" fmla="*/ 75 w 127"/>
                  <a:gd name="T47" fmla="*/ 64 h 249"/>
                  <a:gd name="T48" fmla="*/ 75 w 127"/>
                  <a:gd name="T49" fmla="*/ 35 h 249"/>
                  <a:gd name="T50" fmla="*/ 22 w 127"/>
                  <a:gd name="T51" fmla="*/ 139 h 249"/>
                  <a:gd name="T52" fmla="*/ 52 w 127"/>
                  <a:gd name="T53" fmla="*/ 139 h 249"/>
                  <a:gd name="T54" fmla="*/ 52 w 127"/>
                  <a:gd name="T55" fmla="*/ 168 h 249"/>
                  <a:gd name="T56" fmla="*/ 22 w 127"/>
                  <a:gd name="T57" fmla="*/ 168 h 249"/>
                  <a:gd name="T58" fmla="*/ 22 w 127"/>
                  <a:gd name="T59" fmla="*/ 139 h 249"/>
                  <a:gd name="T60" fmla="*/ 22 w 127"/>
                  <a:gd name="T61" fmla="*/ 81 h 249"/>
                  <a:gd name="T62" fmla="*/ 52 w 127"/>
                  <a:gd name="T63" fmla="*/ 81 h 249"/>
                  <a:gd name="T64" fmla="*/ 52 w 127"/>
                  <a:gd name="T65" fmla="*/ 115 h 249"/>
                  <a:gd name="T66" fmla="*/ 22 w 127"/>
                  <a:gd name="T67" fmla="*/ 115 h 249"/>
                  <a:gd name="T68" fmla="*/ 22 w 127"/>
                  <a:gd name="T69" fmla="*/ 8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7" h="249">
                    <a:moveTo>
                      <a:pt x="0" y="249"/>
                    </a:moveTo>
                    <a:lnTo>
                      <a:pt x="127" y="249"/>
                    </a:lnTo>
                    <a:lnTo>
                      <a:pt x="127" y="0"/>
                    </a:lnTo>
                    <a:lnTo>
                      <a:pt x="0" y="0"/>
                    </a:lnTo>
                    <a:lnTo>
                      <a:pt x="0" y="249"/>
                    </a:lnTo>
                    <a:close/>
                    <a:moveTo>
                      <a:pt x="52" y="64"/>
                    </a:moveTo>
                    <a:lnTo>
                      <a:pt x="22" y="64"/>
                    </a:lnTo>
                    <a:lnTo>
                      <a:pt x="22" y="35"/>
                    </a:lnTo>
                    <a:lnTo>
                      <a:pt x="52" y="35"/>
                    </a:lnTo>
                    <a:lnTo>
                      <a:pt x="52" y="64"/>
                    </a:lnTo>
                    <a:close/>
                    <a:moveTo>
                      <a:pt x="110" y="115"/>
                    </a:moveTo>
                    <a:lnTo>
                      <a:pt x="75" y="115"/>
                    </a:lnTo>
                    <a:lnTo>
                      <a:pt x="75" y="81"/>
                    </a:lnTo>
                    <a:lnTo>
                      <a:pt x="110" y="81"/>
                    </a:lnTo>
                    <a:lnTo>
                      <a:pt x="110" y="115"/>
                    </a:lnTo>
                    <a:close/>
                    <a:moveTo>
                      <a:pt x="75" y="139"/>
                    </a:moveTo>
                    <a:lnTo>
                      <a:pt x="110" y="139"/>
                    </a:lnTo>
                    <a:lnTo>
                      <a:pt x="110" y="168"/>
                    </a:lnTo>
                    <a:lnTo>
                      <a:pt x="75" y="168"/>
                    </a:lnTo>
                    <a:lnTo>
                      <a:pt x="75" y="139"/>
                    </a:lnTo>
                    <a:close/>
                    <a:moveTo>
                      <a:pt x="75" y="35"/>
                    </a:moveTo>
                    <a:lnTo>
                      <a:pt x="110" y="35"/>
                    </a:lnTo>
                    <a:lnTo>
                      <a:pt x="110" y="64"/>
                    </a:lnTo>
                    <a:lnTo>
                      <a:pt x="75" y="64"/>
                    </a:lnTo>
                    <a:lnTo>
                      <a:pt x="75" y="35"/>
                    </a:lnTo>
                    <a:close/>
                    <a:moveTo>
                      <a:pt x="22" y="139"/>
                    </a:moveTo>
                    <a:lnTo>
                      <a:pt x="52" y="139"/>
                    </a:lnTo>
                    <a:lnTo>
                      <a:pt x="52" y="168"/>
                    </a:lnTo>
                    <a:lnTo>
                      <a:pt x="22" y="168"/>
                    </a:lnTo>
                    <a:lnTo>
                      <a:pt x="22" y="139"/>
                    </a:lnTo>
                    <a:close/>
                    <a:moveTo>
                      <a:pt x="22" y="81"/>
                    </a:moveTo>
                    <a:lnTo>
                      <a:pt x="52" y="81"/>
                    </a:lnTo>
                    <a:lnTo>
                      <a:pt x="52" y="115"/>
                    </a:lnTo>
                    <a:lnTo>
                      <a:pt x="22" y="115"/>
                    </a:lnTo>
                    <a:lnTo>
                      <a:pt x="22" y="81"/>
                    </a:lnTo>
                    <a:close/>
                  </a:path>
                </a:pathLst>
              </a:custGeom>
              <a:solidFill>
                <a:srgbClr val="E6E6E6">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79" name="Freeform 8">
                <a:extLst>
                  <a:ext uri="{FF2B5EF4-FFF2-40B4-BE49-F238E27FC236}">
                    <a16:creationId xmlns:a16="http://schemas.microsoft.com/office/drawing/2014/main" id="{6BEB006C-E222-4BC1-90A2-4F47AD3A029D}"/>
                  </a:ext>
                </a:extLst>
              </p:cNvPr>
              <p:cNvSpPr>
                <a:spLocks noEditPoints="1"/>
              </p:cNvSpPr>
              <p:nvPr/>
            </p:nvSpPr>
            <p:spPr bwMode="auto">
              <a:xfrm>
                <a:off x="6897" y="1294"/>
                <a:ext cx="110" cy="505"/>
              </a:xfrm>
              <a:custGeom>
                <a:avLst/>
                <a:gdLst>
                  <a:gd name="T0" fmla="*/ 0 w 110"/>
                  <a:gd name="T1" fmla="*/ 128 h 505"/>
                  <a:gd name="T2" fmla="*/ 0 w 110"/>
                  <a:gd name="T3" fmla="*/ 505 h 505"/>
                  <a:gd name="T4" fmla="*/ 110 w 110"/>
                  <a:gd name="T5" fmla="*/ 505 h 505"/>
                  <a:gd name="T6" fmla="*/ 110 w 110"/>
                  <a:gd name="T7" fmla="*/ 128 h 505"/>
                  <a:gd name="T8" fmla="*/ 93 w 110"/>
                  <a:gd name="T9" fmla="*/ 128 h 505"/>
                  <a:gd name="T10" fmla="*/ 93 w 110"/>
                  <a:gd name="T11" fmla="*/ 82 h 505"/>
                  <a:gd name="T12" fmla="*/ 69 w 110"/>
                  <a:gd name="T13" fmla="*/ 82 h 505"/>
                  <a:gd name="T14" fmla="*/ 69 w 110"/>
                  <a:gd name="T15" fmla="*/ 40 h 505"/>
                  <a:gd name="T16" fmla="*/ 58 w 110"/>
                  <a:gd name="T17" fmla="*/ 40 h 505"/>
                  <a:gd name="T18" fmla="*/ 58 w 110"/>
                  <a:gd name="T19" fmla="*/ 0 h 505"/>
                  <a:gd name="T20" fmla="*/ 46 w 110"/>
                  <a:gd name="T21" fmla="*/ 0 h 505"/>
                  <a:gd name="T22" fmla="*/ 46 w 110"/>
                  <a:gd name="T23" fmla="*/ 40 h 505"/>
                  <a:gd name="T24" fmla="*/ 35 w 110"/>
                  <a:gd name="T25" fmla="*/ 40 h 505"/>
                  <a:gd name="T26" fmla="*/ 35 w 110"/>
                  <a:gd name="T27" fmla="*/ 82 h 505"/>
                  <a:gd name="T28" fmla="*/ 11 w 110"/>
                  <a:gd name="T29" fmla="*/ 82 h 505"/>
                  <a:gd name="T30" fmla="*/ 11 w 110"/>
                  <a:gd name="T31" fmla="*/ 128 h 505"/>
                  <a:gd name="T32" fmla="*/ 0 w 110"/>
                  <a:gd name="T33" fmla="*/ 128 h 505"/>
                  <a:gd name="T34" fmla="*/ 58 w 110"/>
                  <a:gd name="T35" fmla="*/ 256 h 505"/>
                  <a:gd name="T36" fmla="*/ 93 w 110"/>
                  <a:gd name="T37" fmla="*/ 256 h 505"/>
                  <a:gd name="T38" fmla="*/ 93 w 110"/>
                  <a:gd name="T39" fmla="*/ 291 h 505"/>
                  <a:gd name="T40" fmla="*/ 58 w 110"/>
                  <a:gd name="T41" fmla="*/ 291 h 505"/>
                  <a:gd name="T42" fmla="*/ 58 w 110"/>
                  <a:gd name="T43" fmla="*/ 256 h 505"/>
                  <a:gd name="T44" fmla="*/ 58 w 110"/>
                  <a:gd name="T45" fmla="*/ 152 h 505"/>
                  <a:gd name="T46" fmla="*/ 93 w 110"/>
                  <a:gd name="T47" fmla="*/ 152 h 505"/>
                  <a:gd name="T48" fmla="*/ 93 w 110"/>
                  <a:gd name="T49" fmla="*/ 187 h 505"/>
                  <a:gd name="T50" fmla="*/ 58 w 110"/>
                  <a:gd name="T51" fmla="*/ 187 h 505"/>
                  <a:gd name="T52" fmla="*/ 58 w 110"/>
                  <a:gd name="T53" fmla="*/ 152 h 505"/>
                  <a:gd name="T54" fmla="*/ 11 w 110"/>
                  <a:gd name="T55" fmla="*/ 203 h 505"/>
                  <a:gd name="T56" fmla="*/ 46 w 110"/>
                  <a:gd name="T57" fmla="*/ 203 h 505"/>
                  <a:gd name="T58" fmla="*/ 46 w 110"/>
                  <a:gd name="T59" fmla="*/ 238 h 505"/>
                  <a:gd name="T60" fmla="*/ 11 w 110"/>
                  <a:gd name="T61" fmla="*/ 238 h 505"/>
                  <a:gd name="T62" fmla="*/ 11 w 110"/>
                  <a:gd name="T63" fmla="*/ 203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 h="505">
                    <a:moveTo>
                      <a:pt x="0" y="128"/>
                    </a:moveTo>
                    <a:lnTo>
                      <a:pt x="0" y="505"/>
                    </a:lnTo>
                    <a:lnTo>
                      <a:pt x="110" y="505"/>
                    </a:lnTo>
                    <a:lnTo>
                      <a:pt x="110" y="128"/>
                    </a:lnTo>
                    <a:lnTo>
                      <a:pt x="93" y="128"/>
                    </a:lnTo>
                    <a:lnTo>
                      <a:pt x="93" y="82"/>
                    </a:lnTo>
                    <a:lnTo>
                      <a:pt x="69" y="82"/>
                    </a:lnTo>
                    <a:lnTo>
                      <a:pt x="69" y="40"/>
                    </a:lnTo>
                    <a:lnTo>
                      <a:pt x="58" y="40"/>
                    </a:lnTo>
                    <a:lnTo>
                      <a:pt x="58" y="0"/>
                    </a:lnTo>
                    <a:lnTo>
                      <a:pt x="46" y="0"/>
                    </a:lnTo>
                    <a:lnTo>
                      <a:pt x="46" y="40"/>
                    </a:lnTo>
                    <a:lnTo>
                      <a:pt x="35" y="40"/>
                    </a:lnTo>
                    <a:lnTo>
                      <a:pt x="35" y="82"/>
                    </a:lnTo>
                    <a:lnTo>
                      <a:pt x="11" y="82"/>
                    </a:lnTo>
                    <a:lnTo>
                      <a:pt x="11" y="128"/>
                    </a:lnTo>
                    <a:lnTo>
                      <a:pt x="0" y="128"/>
                    </a:lnTo>
                    <a:close/>
                    <a:moveTo>
                      <a:pt x="58" y="256"/>
                    </a:moveTo>
                    <a:lnTo>
                      <a:pt x="93" y="256"/>
                    </a:lnTo>
                    <a:lnTo>
                      <a:pt x="93" y="291"/>
                    </a:lnTo>
                    <a:lnTo>
                      <a:pt x="58" y="291"/>
                    </a:lnTo>
                    <a:lnTo>
                      <a:pt x="58" y="256"/>
                    </a:lnTo>
                    <a:close/>
                    <a:moveTo>
                      <a:pt x="58" y="152"/>
                    </a:moveTo>
                    <a:lnTo>
                      <a:pt x="93" y="152"/>
                    </a:lnTo>
                    <a:lnTo>
                      <a:pt x="93" y="187"/>
                    </a:lnTo>
                    <a:lnTo>
                      <a:pt x="58" y="187"/>
                    </a:lnTo>
                    <a:lnTo>
                      <a:pt x="58" y="152"/>
                    </a:lnTo>
                    <a:close/>
                    <a:moveTo>
                      <a:pt x="11" y="203"/>
                    </a:moveTo>
                    <a:lnTo>
                      <a:pt x="46" y="203"/>
                    </a:lnTo>
                    <a:lnTo>
                      <a:pt x="46" y="238"/>
                    </a:lnTo>
                    <a:lnTo>
                      <a:pt x="11" y="238"/>
                    </a:lnTo>
                    <a:lnTo>
                      <a:pt x="11" y="203"/>
                    </a:lnTo>
                    <a:close/>
                  </a:path>
                </a:pathLst>
              </a:custGeom>
              <a:solidFill>
                <a:srgbClr val="E6E6E6">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80" name="Freeform 9">
                <a:extLst>
                  <a:ext uri="{FF2B5EF4-FFF2-40B4-BE49-F238E27FC236}">
                    <a16:creationId xmlns:a16="http://schemas.microsoft.com/office/drawing/2014/main" id="{E44A5A6C-D0DD-407A-BB52-F238D10BE9F3}"/>
                  </a:ext>
                </a:extLst>
              </p:cNvPr>
              <p:cNvSpPr>
                <a:spLocks noEditPoints="1"/>
              </p:cNvSpPr>
              <p:nvPr/>
            </p:nvSpPr>
            <p:spPr bwMode="auto">
              <a:xfrm>
                <a:off x="6745" y="1462"/>
                <a:ext cx="128" cy="337"/>
              </a:xfrm>
              <a:custGeom>
                <a:avLst/>
                <a:gdLst>
                  <a:gd name="T0" fmla="*/ 0 w 128"/>
                  <a:gd name="T1" fmla="*/ 337 h 337"/>
                  <a:gd name="T2" fmla="*/ 128 w 128"/>
                  <a:gd name="T3" fmla="*/ 337 h 337"/>
                  <a:gd name="T4" fmla="*/ 128 w 128"/>
                  <a:gd name="T5" fmla="*/ 0 h 337"/>
                  <a:gd name="T6" fmla="*/ 0 w 128"/>
                  <a:gd name="T7" fmla="*/ 0 h 337"/>
                  <a:gd name="T8" fmla="*/ 0 w 128"/>
                  <a:gd name="T9" fmla="*/ 337 h 337"/>
                  <a:gd name="T10" fmla="*/ 59 w 128"/>
                  <a:gd name="T11" fmla="*/ 70 h 337"/>
                  <a:gd name="T12" fmla="*/ 18 w 128"/>
                  <a:gd name="T13" fmla="*/ 70 h 337"/>
                  <a:gd name="T14" fmla="*/ 18 w 128"/>
                  <a:gd name="T15" fmla="*/ 35 h 337"/>
                  <a:gd name="T16" fmla="*/ 59 w 128"/>
                  <a:gd name="T17" fmla="*/ 35 h 337"/>
                  <a:gd name="T18" fmla="*/ 59 w 128"/>
                  <a:gd name="T19" fmla="*/ 70 h 337"/>
                  <a:gd name="T20" fmla="*/ 112 w 128"/>
                  <a:gd name="T21" fmla="*/ 267 h 337"/>
                  <a:gd name="T22" fmla="*/ 82 w 128"/>
                  <a:gd name="T23" fmla="*/ 267 h 337"/>
                  <a:gd name="T24" fmla="*/ 82 w 128"/>
                  <a:gd name="T25" fmla="*/ 233 h 337"/>
                  <a:gd name="T26" fmla="*/ 112 w 128"/>
                  <a:gd name="T27" fmla="*/ 233 h 337"/>
                  <a:gd name="T28" fmla="*/ 112 w 128"/>
                  <a:gd name="T29" fmla="*/ 267 h 337"/>
                  <a:gd name="T30" fmla="*/ 82 w 128"/>
                  <a:gd name="T31" fmla="*/ 139 h 337"/>
                  <a:gd name="T32" fmla="*/ 112 w 128"/>
                  <a:gd name="T33" fmla="*/ 139 h 337"/>
                  <a:gd name="T34" fmla="*/ 112 w 128"/>
                  <a:gd name="T35" fmla="*/ 169 h 337"/>
                  <a:gd name="T36" fmla="*/ 82 w 128"/>
                  <a:gd name="T37" fmla="*/ 169 h 337"/>
                  <a:gd name="T38" fmla="*/ 82 w 128"/>
                  <a:gd name="T39" fmla="*/ 139 h 337"/>
                  <a:gd name="T40" fmla="*/ 82 w 128"/>
                  <a:gd name="T41" fmla="*/ 35 h 337"/>
                  <a:gd name="T42" fmla="*/ 112 w 128"/>
                  <a:gd name="T43" fmla="*/ 35 h 337"/>
                  <a:gd name="T44" fmla="*/ 112 w 128"/>
                  <a:gd name="T45" fmla="*/ 70 h 337"/>
                  <a:gd name="T46" fmla="*/ 82 w 128"/>
                  <a:gd name="T47" fmla="*/ 70 h 337"/>
                  <a:gd name="T48" fmla="*/ 82 w 128"/>
                  <a:gd name="T49" fmla="*/ 35 h 337"/>
                  <a:gd name="T50" fmla="*/ 18 w 128"/>
                  <a:gd name="T51" fmla="*/ 187 h 337"/>
                  <a:gd name="T52" fmla="*/ 59 w 128"/>
                  <a:gd name="T53" fmla="*/ 187 h 337"/>
                  <a:gd name="T54" fmla="*/ 59 w 128"/>
                  <a:gd name="T55" fmla="*/ 214 h 337"/>
                  <a:gd name="T56" fmla="*/ 18 w 128"/>
                  <a:gd name="T57" fmla="*/ 214 h 337"/>
                  <a:gd name="T58" fmla="*/ 18 w 128"/>
                  <a:gd name="T59" fmla="*/ 187 h 337"/>
                  <a:gd name="T60" fmla="*/ 18 w 128"/>
                  <a:gd name="T61" fmla="*/ 88 h 337"/>
                  <a:gd name="T62" fmla="*/ 59 w 128"/>
                  <a:gd name="T63" fmla="*/ 88 h 337"/>
                  <a:gd name="T64" fmla="*/ 59 w 128"/>
                  <a:gd name="T65" fmla="*/ 123 h 337"/>
                  <a:gd name="T66" fmla="*/ 18 w 128"/>
                  <a:gd name="T67" fmla="*/ 123 h 337"/>
                  <a:gd name="T68" fmla="*/ 18 w 128"/>
                  <a:gd name="T69" fmla="*/ 8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337">
                    <a:moveTo>
                      <a:pt x="0" y="337"/>
                    </a:moveTo>
                    <a:lnTo>
                      <a:pt x="128" y="337"/>
                    </a:lnTo>
                    <a:lnTo>
                      <a:pt x="128" y="0"/>
                    </a:lnTo>
                    <a:lnTo>
                      <a:pt x="0" y="0"/>
                    </a:lnTo>
                    <a:lnTo>
                      <a:pt x="0" y="337"/>
                    </a:lnTo>
                    <a:close/>
                    <a:moveTo>
                      <a:pt x="59" y="70"/>
                    </a:moveTo>
                    <a:lnTo>
                      <a:pt x="18" y="70"/>
                    </a:lnTo>
                    <a:lnTo>
                      <a:pt x="18" y="35"/>
                    </a:lnTo>
                    <a:lnTo>
                      <a:pt x="59" y="35"/>
                    </a:lnTo>
                    <a:lnTo>
                      <a:pt x="59" y="70"/>
                    </a:lnTo>
                    <a:close/>
                    <a:moveTo>
                      <a:pt x="112" y="267"/>
                    </a:moveTo>
                    <a:lnTo>
                      <a:pt x="82" y="267"/>
                    </a:lnTo>
                    <a:lnTo>
                      <a:pt x="82" y="233"/>
                    </a:lnTo>
                    <a:lnTo>
                      <a:pt x="112" y="233"/>
                    </a:lnTo>
                    <a:lnTo>
                      <a:pt x="112" y="267"/>
                    </a:lnTo>
                    <a:close/>
                    <a:moveTo>
                      <a:pt x="82" y="139"/>
                    </a:moveTo>
                    <a:lnTo>
                      <a:pt x="112" y="139"/>
                    </a:lnTo>
                    <a:lnTo>
                      <a:pt x="112" y="169"/>
                    </a:lnTo>
                    <a:lnTo>
                      <a:pt x="82" y="169"/>
                    </a:lnTo>
                    <a:lnTo>
                      <a:pt x="82" y="139"/>
                    </a:lnTo>
                    <a:close/>
                    <a:moveTo>
                      <a:pt x="82" y="35"/>
                    </a:moveTo>
                    <a:lnTo>
                      <a:pt x="112" y="35"/>
                    </a:lnTo>
                    <a:lnTo>
                      <a:pt x="112" y="70"/>
                    </a:lnTo>
                    <a:lnTo>
                      <a:pt x="82" y="70"/>
                    </a:lnTo>
                    <a:lnTo>
                      <a:pt x="82" y="35"/>
                    </a:lnTo>
                    <a:close/>
                    <a:moveTo>
                      <a:pt x="18" y="187"/>
                    </a:moveTo>
                    <a:lnTo>
                      <a:pt x="59" y="187"/>
                    </a:lnTo>
                    <a:lnTo>
                      <a:pt x="59" y="214"/>
                    </a:lnTo>
                    <a:lnTo>
                      <a:pt x="18" y="214"/>
                    </a:lnTo>
                    <a:lnTo>
                      <a:pt x="18" y="187"/>
                    </a:lnTo>
                    <a:close/>
                    <a:moveTo>
                      <a:pt x="18" y="88"/>
                    </a:moveTo>
                    <a:lnTo>
                      <a:pt x="59" y="88"/>
                    </a:lnTo>
                    <a:lnTo>
                      <a:pt x="59" y="123"/>
                    </a:lnTo>
                    <a:lnTo>
                      <a:pt x="18" y="123"/>
                    </a:lnTo>
                    <a:lnTo>
                      <a:pt x="18" y="88"/>
                    </a:lnTo>
                    <a:close/>
                  </a:path>
                </a:pathLst>
              </a:custGeom>
              <a:solidFill>
                <a:srgbClr val="E6E6E6">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81" name="Freeform 10">
                <a:extLst>
                  <a:ext uri="{FF2B5EF4-FFF2-40B4-BE49-F238E27FC236}">
                    <a16:creationId xmlns:a16="http://schemas.microsoft.com/office/drawing/2014/main" id="{577687D9-DA67-49F1-9E16-E0EA29855834}"/>
                  </a:ext>
                </a:extLst>
              </p:cNvPr>
              <p:cNvSpPr>
                <a:spLocks noEditPoints="1"/>
              </p:cNvSpPr>
              <p:nvPr/>
            </p:nvSpPr>
            <p:spPr bwMode="auto">
              <a:xfrm>
                <a:off x="6595" y="1347"/>
                <a:ext cx="134" cy="452"/>
              </a:xfrm>
              <a:custGeom>
                <a:avLst/>
                <a:gdLst>
                  <a:gd name="T0" fmla="*/ 71 w 134"/>
                  <a:gd name="T1" fmla="*/ 0 h 452"/>
                  <a:gd name="T2" fmla="*/ 44 w 134"/>
                  <a:gd name="T3" fmla="*/ 46 h 452"/>
                  <a:gd name="T4" fmla="*/ 17 w 134"/>
                  <a:gd name="T5" fmla="*/ 46 h 452"/>
                  <a:gd name="T6" fmla="*/ 17 w 134"/>
                  <a:gd name="T7" fmla="*/ 81 h 452"/>
                  <a:gd name="T8" fmla="*/ 0 w 134"/>
                  <a:gd name="T9" fmla="*/ 81 h 452"/>
                  <a:gd name="T10" fmla="*/ 0 w 134"/>
                  <a:gd name="T11" fmla="*/ 452 h 452"/>
                  <a:gd name="T12" fmla="*/ 134 w 134"/>
                  <a:gd name="T13" fmla="*/ 452 h 452"/>
                  <a:gd name="T14" fmla="*/ 134 w 134"/>
                  <a:gd name="T15" fmla="*/ 0 h 452"/>
                  <a:gd name="T16" fmla="*/ 71 w 134"/>
                  <a:gd name="T17" fmla="*/ 0 h 452"/>
                  <a:gd name="T18" fmla="*/ 64 w 134"/>
                  <a:gd name="T19" fmla="*/ 185 h 452"/>
                  <a:gd name="T20" fmla="*/ 24 w 134"/>
                  <a:gd name="T21" fmla="*/ 185 h 452"/>
                  <a:gd name="T22" fmla="*/ 24 w 134"/>
                  <a:gd name="T23" fmla="*/ 150 h 452"/>
                  <a:gd name="T24" fmla="*/ 64 w 134"/>
                  <a:gd name="T25" fmla="*/ 150 h 452"/>
                  <a:gd name="T26" fmla="*/ 64 w 134"/>
                  <a:gd name="T27" fmla="*/ 185 h 452"/>
                  <a:gd name="T28" fmla="*/ 110 w 134"/>
                  <a:gd name="T29" fmla="*/ 388 h 452"/>
                  <a:gd name="T30" fmla="*/ 70 w 134"/>
                  <a:gd name="T31" fmla="*/ 388 h 452"/>
                  <a:gd name="T32" fmla="*/ 70 w 134"/>
                  <a:gd name="T33" fmla="*/ 359 h 452"/>
                  <a:gd name="T34" fmla="*/ 110 w 134"/>
                  <a:gd name="T35" fmla="*/ 359 h 452"/>
                  <a:gd name="T36" fmla="*/ 110 w 134"/>
                  <a:gd name="T37" fmla="*/ 388 h 452"/>
                  <a:gd name="T38" fmla="*/ 70 w 134"/>
                  <a:gd name="T39" fmla="*/ 254 h 452"/>
                  <a:gd name="T40" fmla="*/ 110 w 134"/>
                  <a:gd name="T41" fmla="*/ 254 h 452"/>
                  <a:gd name="T42" fmla="*/ 110 w 134"/>
                  <a:gd name="T43" fmla="*/ 284 h 452"/>
                  <a:gd name="T44" fmla="*/ 70 w 134"/>
                  <a:gd name="T45" fmla="*/ 284 h 452"/>
                  <a:gd name="T46" fmla="*/ 70 w 134"/>
                  <a:gd name="T47" fmla="*/ 254 h 452"/>
                  <a:gd name="T48" fmla="*/ 70 w 134"/>
                  <a:gd name="T49" fmla="*/ 150 h 452"/>
                  <a:gd name="T50" fmla="*/ 110 w 134"/>
                  <a:gd name="T51" fmla="*/ 150 h 452"/>
                  <a:gd name="T52" fmla="*/ 110 w 134"/>
                  <a:gd name="T53" fmla="*/ 185 h 452"/>
                  <a:gd name="T54" fmla="*/ 70 w 134"/>
                  <a:gd name="T55" fmla="*/ 185 h 452"/>
                  <a:gd name="T56" fmla="*/ 70 w 134"/>
                  <a:gd name="T57" fmla="*/ 150 h 452"/>
                  <a:gd name="T58" fmla="*/ 70 w 134"/>
                  <a:gd name="T59" fmla="*/ 203 h 452"/>
                  <a:gd name="T60" fmla="*/ 110 w 134"/>
                  <a:gd name="T61" fmla="*/ 203 h 452"/>
                  <a:gd name="T62" fmla="*/ 110 w 134"/>
                  <a:gd name="T63" fmla="*/ 238 h 452"/>
                  <a:gd name="T64" fmla="*/ 70 w 134"/>
                  <a:gd name="T65" fmla="*/ 238 h 452"/>
                  <a:gd name="T66" fmla="*/ 70 w 134"/>
                  <a:gd name="T67" fmla="*/ 203 h 452"/>
                  <a:gd name="T68" fmla="*/ 24 w 134"/>
                  <a:gd name="T69" fmla="*/ 307 h 452"/>
                  <a:gd name="T70" fmla="*/ 64 w 134"/>
                  <a:gd name="T71" fmla="*/ 307 h 452"/>
                  <a:gd name="T72" fmla="*/ 64 w 134"/>
                  <a:gd name="T73" fmla="*/ 342 h 452"/>
                  <a:gd name="T74" fmla="*/ 24 w 134"/>
                  <a:gd name="T75" fmla="*/ 342 h 452"/>
                  <a:gd name="T76" fmla="*/ 24 w 134"/>
                  <a:gd name="T77" fmla="*/ 307 h 452"/>
                  <a:gd name="T78" fmla="*/ 24 w 134"/>
                  <a:gd name="T79" fmla="*/ 203 h 452"/>
                  <a:gd name="T80" fmla="*/ 64 w 134"/>
                  <a:gd name="T81" fmla="*/ 203 h 452"/>
                  <a:gd name="T82" fmla="*/ 64 w 134"/>
                  <a:gd name="T83" fmla="*/ 238 h 452"/>
                  <a:gd name="T84" fmla="*/ 24 w 134"/>
                  <a:gd name="T85" fmla="*/ 238 h 452"/>
                  <a:gd name="T86" fmla="*/ 24 w 134"/>
                  <a:gd name="T87" fmla="*/ 203 h 452"/>
                  <a:gd name="T88" fmla="*/ 24 w 134"/>
                  <a:gd name="T89" fmla="*/ 254 h 452"/>
                  <a:gd name="T90" fmla="*/ 64 w 134"/>
                  <a:gd name="T91" fmla="*/ 254 h 452"/>
                  <a:gd name="T92" fmla="*/ 64 w 134"/>
                  <a:gd name="T93" fmla="*/ 284 h 452"/>
                  <a:gd name="T94" fmla="*/ 24 w 134"/>
                  <a:gd name="T95" fmla="*/ 284 h 452"/>
                  <a:gd name="T96" fmla="*/ 24 w 134"/>
                  <a:gd name="T97" fmla="*/ 254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4" h="452">
                    <a:moveTo>
                      <a:pt x="71" y="0"/>
                    </a:moveTo>
                    <a:lnTo>
                      <a:pt x="44" y="46"/>
                    </a:lnTo>
                    <a:lnTo>
                      <a:pt x="17" y="46"/>
                    </a:lnTo>
                    <a:lnTo>
                      <a:pt x="17" y="81"/>
                    </a:lnTo>
                    <a:lnTo>
                      <a:pt x="0" y="81"/>
                    </a:lnTo>
                    <a:lnTo>
                      <a:pt x="0" y="452"/>
                    </a:lnTo>
                    <a:lnTo>
                      <a:pt x="134" y="452"/>
                    </a:lnTo>
                    <a:lnTo>
                      <a:pt x="134" y="0"/>
                    </a:lnTo>
                    <a:lnTo>
                      <a:pt x="71" y="0"/>
                    </a:lnTo>
                    <a:close/>
                    <a:moveTo>
                      <a:pt x="64" y="185"/>
                    </a:moveTo>
                    <a:lnTo>
                      <a:pt x="24" y="185"/>
                    </a:lnTo>
                    <a:lnTo>
                      <a:pt x="24" y="150"/>
                    </a:lnTo>
                    <a:lnTo>
                      <a:pt x="64" y="150"/>
                    </a:lnTo>
                    <a:lnTo>
                      <a:pt x="64" y="185"/>
                    </a:lnTo>
                    <a:close/>
                    <a:moveTo>
                      <a:pt x="110" y="388"/>
                    </a:moveTo>
                    <a:lnTo>
                      <a:pt x="70" y="388"/>
                    </a:lnTo>
                    <a:lnTo>
                      <a:pt x="70" y="359"/>
                    </a:lnTo>
                    <a:lnTo>
                      <a:pt x="110" y="359"/>
                    </a:lnTo>
                    <a:lnTo>
                      <a:pt x="110" y="388"/>
                    </a:lnTo>
                    <a:close/>
                    <a:moveTo>
                      <a:pt x="70" y="254"/>
                    </a:moveTo>
                    <a:lnTo>
                      <a:pt x="110" y="254"/>
                    </a:lnTo>
                    <a:lnTo>
                      <a:pt x="110" y="284"/>
                    </a:lnTo>
                    <a:lnTo>
                      <a:pt x="70" y="284"/>
                    </a:lnTo>
                    <a:lnTo>
                      <a:pt x="70" y="254"/>
                    </a:lnTo>
                    <a:close/>
                    <a:moveTo>
                      <a:pt x="70" y="150"/>
                    </a:moveTo>
                    <a:lnTo>
                      <a:pt x="110" y="150"/>
                    </a:lnTo>
                    <a:lnTo>
                      <a:pt x="110" y="185"/>
                    </a:lnTo>
                    <a:lnTo>
                      <a:pt x="70" y="185"/>
                    </a:lnTo>
                    <a:lnTo>
                      <a:pt x="70" y="150"/>
                    </a:lnTo>
                    <a:close/>
                    <a:moveTo>
                      <a:pt x="70" y="203"/>
                    </a:moveTo>
                    <a:lnTo>
                      <a:pt x="110" y="203"/>
                    </a:lnTo>
                    <a:lnTo>
                      <a:pt x="110" y="238"/>
                    </a:lnTo>
                    <a:lnTo>
                      <a:pt x="70" y="238"/>
                    </a:lnTo>
                    <a:lnTo>
                      <a:pt x="70" y="203"/>
                    </a:lnTo>
                    <a:close/>
                    <a:moveTo>
                      <a:pt x="24" y="307"/>
                    </a:moveTo>
                    <a:lnTo>
                      <a:pt x="64" y="307"/>
                    </a:lnTo>
                    <a:lnTo>
                      <a:pt x="64" y="342"/>
                    </a:lnTo>
                    <a:lnTo>
                      <a:pt x="24" y="342"/>
                    </a:lnTo>
                    <a:lnTo>
                      <a:pt x="24" y="307"/>
                    </a:lnTo>
                    <a:close/>
                    <a:moveTo>
                      <a:pt x="24" y="203"/>
                    </a:moveTo>
                    <a:lnTo>
                      <a:pt x="64" y="203"/>
                    </a:lnTo>
                    <a:lnTo>
                      <a:pt x="64" y="238"/>
                    </a:lnTo>
                    <a:lnTo>
                      <a:pt x="24" y="238"/>
                    </a:lnTo>
                    <a:lnTo>
                      <a:pt x="24" y="203"/>
                    </a:lnTo>
                    <a:close/>
                    <a:moveTo>
                      <a:pt x="24" y="254"/>
                    </a:moveTo>
                    <a:lnTo>
                      <a:pt x="64" y="254"/>
                    </a:lnTo>
                    <a:lnTo>
                      <a:pt x="64" y="284"/>
                    </a:lnTo>
                    <a:lnTo>
                      <a:pt x="24" y="284"/>
                    </a:lnTo>
                    <a:lnTo>
                      <a:pt x="24" y="254"/>
                    </a:lnTo>
                    <a:close/>
                  </a:path>
                </a:pathLst>
              </a:custGeom>
              <a:solidFill>
                <a:srgbClr val="E6E6E6">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grpSp>
        <p:grpSp>
          <p:nvGrpSpPr>
            <p:cNvPr id="243" name="Group 242">
              <a:extLst>
                <a:ext uri="{FF2B5EF4-FFF2-40B4-BE49-F238E27FC236}">
                  <a16:creationId xmlns:a16="http://schemas.microsoft.com/office/drawing/2014/main" id="{3A3CCE08-EBA7-4BFA-9AF4-F02C0D90078B}"/>
                </a:ext>
              </a:extLst>
            </p:cNvPr>
            <p:cNvGrpSpPr>
              <a:grpSpLocks noChangeAspect="1"/>
            </p:cNvGrpSpPr>
            <p:nvPr/>
          </p:nvGrpSpPr>
          <p:grpSpPr>
            <a:xfrm>
              <a:off x="9671186" y="2353578"/>
              <a:ext cx="457200" cy="467231"/>
              <a:chOff x="9690231" y="2191100"/>
              <a:chExt cx="625145" cy="638860"/>
            </a:xfrm>
          </p:grpSpPr>
          <p:sp>
            <p:nvSpPr>
              <p:cNvPr id="272" name="Freeform 20">
                <a:extLst>
                  <a:ext uri="{FF2B5EF4-FFF2-40B4-BE49-F238E27FC236}">
                    <a16:creationId xmlns:a16="http://schemas.microsoft.com/office/drawing/2014/main" id="{20C9608A-C1E9-4C74-BFF3-2523DBCFA184}"/>
                  </a:ext>
                </a:extLst>
              </p:cNvPr>
              <p:cNvSpPr>
                <a:spLocks noEditPoints="1"/>
              </p:cNvSpPr>
              <p:nvPr/>
            </p:nvSpPr>
            <p:spPr bwMode="auto">
              <a:xfrm>
                <a:off x="9690231" y="2635303"/>
                <a:ext cx="625145" cy="19465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solidFill>
                <a:srgbClr val="FFFFFF">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Semilight"/>
                </a:endParaRPr>
              </a:p>
            </p:txBody>
          </p:sp>
          <p:sp>
            <p:nvSpPr>
              <p:cNvPr id="273" name="Freeform 20">
                <a:extLst>
                  <a:ext uri="{FF2B5EF4-FFF2-40B4-BE49-F238E27FC236}">
                    <a16:creationId xmlns:a16="http://schemas.microsoft.com/office/drawing/2014/main" id="{A1D9EC18-2C72-4F8A-95F8-2A2AD5F76863}"/>
                  </a:ext>
                </a:extLst>
              </p:cNvPr>
              <p:cNvSpPr>
                <a:spLocks noEditPoints="1"/>
              </p:cNvSpPr>
              <p:nvPr/>
            </p:nvSpPr>
            <p:spPr bwMode="auto">
              <a:xfrm>
                <a:off x="9690231" y="2413239"/>
                <a:ext cx="625145" cy="19465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solidFill>
                <a:srgbClr val="FFFFFF">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Semilight"/>
                </a:endParaRPr>
              </a:p>
            </p:txBody>
          </p:sp>
          <p:sp>
            <p:nvSpPr>
              <p:cNvPr id="274" name="Freeform 20">
                <a:extLst>
                  <a:ext uri="{FF2B5EF4-FFF2-40B4-BE49-F238E27FC236}">
                    <a16:creationId xmlns:a16="http://schemas.microsoft.com/office/drawing/2014/main" id="{3FA6850B-0C6A-4359-8A39-305BA282CEF7}"/>
                  </a:ext>
                </a:extLst>
              </p:cNvPr>
              <p:cNvSpPr>
                <a:spLocks noEditPoints="1"/>
              </p:cNvSpPr>
              <p:nvPr/>
            </p:nvSpPr>
            <p:spPr bwMode="auto">
              <a:xfrm>
                <a:off x="9690231" y="2191100"/>
                <a:ext cx="625145" cy="19465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solidFill>
                <a:srgbClr val="FFFFFF">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Semilight"/>
                </a:endParaRPr>
              </a:p>
            </p:txBody>
          </p:sp>
        </p:grpSp>
        <p:grpSp>
          <p:nvGrpSpPr>
            <p:cNvPr id="244" name="Group 243">
              <a:extLst>
                <a:ext uri="{FF2B5EF4-FFF2-40B4-BE49-F238E27FC236}">
                  <a16:creationId xmlns:a16="http://schemas.microsoft.com/office/drawing/2014/main" id="{6BC2968C-C271-4AFD-9D14-49948B59F309}"/>
                </a:ext>
              </a:extLst>
            </p:cNvPr>
            <p:cNvGrpSpPr/>
            <p:nvPr/>
          </p:nvGrpSpPr>
          <p:grpSpPr>
            <a:xfrm>
              <a:off x="10946234" y="593418"/>
              <a:ext cx="793294" cy="886239"/>
              <a:chOff x="10785459" y="1703003"/>
              <a:chExt cx="850042" cy="949637"/>
            </a:xfrm>
          </p:grpSpPr>
          <p:grpSp>
            <p:nvGrpSpPr>
              <p:cNvPr id="266" name="Group 265">
                <a:extLst>
                  <a:ext uri="{FF2B5EF4-FFF2-40B4-BE49-F238E27FC236}">
                    <a16:creationId xmlns:a16="http://schemas.microsoft.com/office/drawing/2014/main" id="{45DDBB95-D0F1-4B97-8CD2-1B5280B73213}"/>
                  </a:ext>
                </a:extLst>
              </p:cNvPr>
              <p:cNvGrpSpPr>
                <a:grpSpLocks noChangeAspect="1"/>
              </p:cNvGrpSpPr>
              <p:nvPr/>
            </p:nvGrpSpPr>
            <p:grpSpPr>
              <a:xfrm>
                <a:off x="10885789" y="1703003"/>
                <a:ext cx="649383" cy="640080"/>
                <a:chOff x="9168011" y="5170684"/>
                <a:chExt cx="665163" cy="655637"/>
              </a:xfrm>
            </p:grpSpPr>
            <p:sp>
              <p:nvSpPr>
                <p:cNvPr id="268" name="Freeform 44">
                  <a:extLst>
                    <a:ext uri="{FF2B5EF4-FFF2-40B4-BE49-F238E27FC236}">
                      <a16:creationId xmlns:a16="http://schemas.microsoft.com/office/drawing/2014/main" id="{5ED75FA0-C3AC-4E70-BAE0-B6A8226ABD86}"/>
                    </a:ext>
                  </a:extLst>
                </p:cNvPr>
                <p:cNvSpPr>
                  <a:spLocks/>
                </p:cNvSpPr>
                <p:nvPr/>
              </p:nvSpPr>
              <p:spPr bwMode="auto">
                <a:xfrm>
                  <a:off x="9168012" y="5170684"/>
                  <a:ext cx="244474" cy="266700"/>
                </a:xfrm>
                <a:custGeom>
                  <a:avLst/>
                  <a:gdLst>
                    <a:gd name="T0" fmla="*/ 82 w 82"/>
                    <a:gd name="T1" fmla="*/ 76 h 82"/>
                    <a:gd name="T2" fmla="*/ 76 w 82"/>
                    <a:gd name="T3" fmla="*/ 82 h 82"/>
                    <a:gd name="T4" fmla="*/ 6 w 82"/>
                    <a:gd name="T5" fmla="*/ 82 h 82"/>
                    <a:gd name="T6" fmla="*/ 0 w 82"/>
                    <a:gd name="T7" fmla="*/ 76 h 82"/>
                    <a:gd name="T8" fmla="*/ 0 w 82"/>
                    <a:gd name="T9" fmla="*/ 5 h 82"/>
                    <a:gd name="T10" fmla="*/ 6 w 82"/>
                    <a:gd name="T11" fmla="*/ 0 h 82"/>
                    <a:gd name="T12" fmla="*/ 76 w 82"/>
                    <a:gd name="T13" fmla="*/ 0 h 82"/>
                    <a:gd name="T14" fmla="*/ 82 w 82"/>
                    <a:gd name="T15" fmla="*/ 5 h 82"/>
                    <a:gd name="T16" fmla="*/ 82 w 82"/>
                    <a:gd name="T1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2">
                      <a:moveTo>
                        <a:pt x="82" y="76"/>
                      </a:moveTo>
                      <a:cubicBezTo>
                        <a:pt x="82" y="79"/>
                        <a:pt x="79" y="82"/>
                        <a:pt x="76" y="82"/>
                      </a:cubicBezTo>
                      <a:cubicBezTo>
                        <a:pt x="6" y="82"/>
                        <a:pt x="6" y="82"/>
                        <a:pt x="6" y="82"/>
                      </a:cubicBezTo>
                      <a:cubicBezTo>
                        <a:pt x="2" y="82"/>
                        <a:pt x="0" y="79"/>
                        <a:pt x="0" y="76"/>
                      </a:cubicBezTo>
                      <a:cubicBezTo>
                        <a:pt x="0" y="5"/>
                        <a:pt x="0" y="5"/>
                        <a:pt x="0" y="5"/>
                      </a:cubicBezTo>
                      <a:cubicBezTo>
                        <a:pt x="0" y="2"/>
                        <a:pt x="2" y="0"/>
                        <a:pt x="6" y="0"/>
                      </a:cubicBezTo>
                      <a:cubicBezTo>
                        <a:pt x="76" y="0"/>
                        <a:pt x="76" y="0"/>
                        <a:pt x="76" y="0"/>
                      </a:cubicBezTo>
                      <a:cubicBezTo>
                        <a:pt x="79" y="0"/>
                        <a:pt x="82" y="2"/>
                        <a:pt x="82" y="5"/>
                      </a:cubicBezTo>
                      <a:lnTo>
                        <a:pt x="82" y="76"/>
                      </a:lnTo>
                      <a:close/>
                    </a:path>
                  </a:pathLst>
                </a:custGeom>
                <a:solidFill>
                  <a:srgbClr val="FFFFFF"/>
                </a:solidFill>
                <a:ln w="12700" cap="flat">
                  <a:solidFill>
                    <a:srgbClr val="FFFFFF"/>
                  </a:solidFill>
                  <a:prstDash val="solid"/>
                  <a:miter lim="800000"/>
                  <a:headEnd/>
                  <a:tailEnd/>
                </a:ln>
              </p:spPr>
              <p:txBody>
                <a:bodyPr vert="horz" wrap="square" lIns="95117" tIns="47558" rIns="95117" bIns="47558"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w="12700">
                      <a:solidFill>
                        <a:srgbClr val="353535"/>
                      </a:solidFill>
                    </a:ln>
                    <a:solidFill>
                      <a:srgbClr val="002050"/>
                    </a:solidFill>
                    <a:effectLst/>
                    <a:uLnTx/>
                    <a:uFillTx/>
                    <a:latin typeface="Segoe UI Semilight"/>
                  </a:endParaRPr>
                </a:p>
              </p:txBody>
            </p:sp>
            <p:sp>
              <p:nvSpPr>
                <p:cNvPr id="269" name="Freeform 45">
                  <a:extLst>
                    <a:ext uri="{FF2B5EF4-FFF2-40B4-BE49-F238E27FC236}">
                      <a16:creationId xmlns:a16="http://schemas.microsoft.com/office/drawing/2014/main" id="{9B9A4FE4-A675-4E41-B102-43530CF7C929}"/>
                    </a:ext>
                  </a:extLst>
                </p:cNvPr>
                <p:cNvSpPr>
                  <a:spLocks/>
                </p:cNvSpPr>
                <p:nvPr/>
              </p:nvSpPr>
              <p:spPr bwMode="auto">
                <a:xfrm>
                  <a:off x="9168014" y="5481833"/>
                  <a:ext cx="244474" cy="133350"/>
                </a:xfrm>
                <a:custGeom>
                  <a:avLst/>
                  <a:gdLst>
                    <a:gd name="T0" fmla="*/ 82 w 82"/>
                    <a:gd name="T1" fmla="*/ 38 h 41"/>
                    <a:gd name="T2" fmla="*/ 76 w 82"/>
                    <a:gd name="T3" fmla="*/ 41 h 41"/>
                    <a:gd name="T4" fmla="*/ 6 w 82"/>
                    <a:gd name="T5" fmla="*/ 41 h 41"/>
                    <a:gd name="T6" fmla="*/ 0 w 82"/>
                    <a:gd name="T7" fmla="*/ 38 h 41"/>
                    <a:gd name="T8" fmla="*/ 0 w 82"/>
                    <a:gd name="T9" fmla="*/ 3 h 41"/>
                    <a:gd name="T10" fmla="*/ 6 w 82"/>
                    <a:gd name="T11" fmla="*/ 0 h 41"/>
                    <a:gd name="T12" fmla="*/ 76 w 82"/>
                    <a:gd name="T13" fmla="*/ 0 h 41"/>
                    <a:gd name="T14" fmla="*/ 82 w 82"/>
                    <a:gd name="T15" fmla="*/ 3 h 41"/>
                    <a:gd name="T16" fmla="*/ 82 w 82"/>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1">
                      <a:moveTo>
                        <a:pt x="82" y="38"/>
                      </a:moveTo>
                      <a:cubicBezTo>
                        <a:pt x="82" y="39"/>
                        <a:pt x="79" y="41"/>
                        <a:pt x="76" y="41"/>
                      </a:cubicBezTo>
                      <a:cubicBezTo>
                        <a:pt x="6" y="41"/>
                        <a:pt x="6" y="41"/>
                        <a:pt x="6" y="41"/>
                      </a:cubicBezTo>
                      <a:cubicBezTo>
                        <a:pt x="2" y="41"/>
                        <a:pt x="0" y="39"/>
                        <a:pt x="0" y="38"/>
                      </a:cubicBezTo>
                      <a:cubicBezTo>
                        <a:pt x="0" y="3"/>
                        <a:pt x="0" y="3"/>
                        <a:pt x="0" y="3"/>
                      </a:cubicBezTo>
                      <a:cubicBezTo>
                        <a:pt x="0" y="1"/>
                        <a:pt x="2" y="0"/>
                        <a:pt x="6" y="0"/>
                      </a:cubicBezTo>
                      <a:cubicBezTo>
                        <a:pt x="76" y="0"/>
                        <a:pt x="76" y="0"/>
                        <a:pt x="76" y="0"/>
                      </a:cubicBezTo>
                      <a:cubicBezTo>
                        <a:pt x="79" y="0"/>
                        <a:pt x="82" y="1"/>
                        <a:pt x="82" y="3"/>
                      </a:cubicBezTo>
                      <a:lnTo>
                        <a:pt x="82" y="38"/>
                      </a:ln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w="12700">
                      <a:solidFill>
                        <a:srgbClr val="353535"/>
                      </a:solidFill>
                    </a:ln>
                    <a:solidFill>
                      <a:srgbClr val="002050"/>
                    </a:solidFill>
                    <a:effectLst/>
                    <a:uLnTx/>
                    <a:uFillTx/>
                    <a:latin typeface="Segoe UI Semilight"/>
                  </a:endParaRPr>
                </a:p>
              </p:txBody>
            </p:sp>
            <p:sp>
              <p:nvSpPr>
                <p:cNvPr id="270" name="Freeform 46">
                  <a:extLst>
                    <a:ext uri="{FF2B5EF4-FFF2-40B4-BE49-F238E27FC236}">
                      <a16:creationId xmlns:a16="http://schemas.microsoft.com/office/drawing/2014/main" id="{A02159CE-8190-4333-BB8D-6A3E1B5D27ED}"/>
                    </a:ext>
                  </a:extLst>
                </p:cNvPr>
                <p:cNvSpPr>
                  <a:spLocks/>
                </p:cNvSpPr>
                <p:nvPr/>
              </p:nvSpPr>
              <p:spPr bwMode="auto">
                <a:xfrm>
                  <a:off x="9456935" y="5170684"/>
                  <a:ext cx="376238" cy="444499"/>
                </a:xfrm>
                <a:custGeom>
                  <a:avLst/>
                  <a:gdLst>
                    <a:gd name="T0" fmla="*/ 126 w 126"/>
                    <a:gd name="T1" fmla="*/ 127 h 137"/>
                    <a:gd name="T2" fmla="*/ 117 w 126"/>
                    <a:gd name="T3" fmla="*/ 137 h 137"/>
                    <a:gd name="T4" fmla="*/ 9 w 126"/>
                    <a:gd name="T5" fmla="*/ 137 h 137"/>
                    <a:gd name="T6" fmla="*/ 0 w 126"/>
                    <a:gd name="T7" fmla="*/ 127 h 137"/>
                    <a:gd name="T8" fmla="*/ 0 w 126"/>
                    <a:gd name="T9" fmla="*/ 9 h 137"/>
                    <a:gd name="T10" fmla="*/ 9 w 126"/>
                    <a:gd name="T11" fmla="*/ 0 h 137"/>
                    <a:gd name="T12" fmla="*/ 117 w 126"/>
                    <a:gd name="T13" fmla="*/ 0 h 137"/>
                    <a:gd name="T14" fmla="*/ 126 w 126"/>
                    <a:gd name="T15" fmla="*/ 9 h 137"/>
                    <a:gd name="T16" fmla="*/ 126 w 126"/>
                    <a:gd name="T17"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7">
                      <a:moveTo>
                        <a:pt x="126" y="127"/>
                      </a:moveTo>
                      <a:cubicBezTo>
                        <a:pt x="126" y="133"/>
                        <a:pt x="122" y="137"/>
                        <a:pt x="117" y="137"/>
                      </a:cubicBezTo>
                      <a:cubicBezTo>
                        <a:pt x="9" y="137"/>
                        <a:pt x="9" y="137"/>
                        <a:pt x="9" y="137"/>
                      </a:cubicBezTo>
                      <a:cubicBezTo>
                        <a:pt x="4" y="137"/>
                        <a:pt x="0" y="133"/>
                        <a:pt x="0" y="127"/>
                      </a:cubicBezTo>
                      <a:cubicBezTo>
                        <a:pt x="0" y="9"/>
                        <a:pt x="0" y="9"/>
                        <a:pt x="0" y="9"/>
                      </a:cubicBezTo>
                      <a:cubicBezTo>
                        <a:pt x="0" y="4"/>
                        <a:pt x="4" y="0"/>
                        <a:pt x="9" y="0"/>
                      </a:cubicBezTo>
                      <a:cubicBezTo>
                        <a:pt x="117" y="0"/>
                        <a:pt x="117" y="0"/>
                        <a:pt x="117" y="0"/>
                      </a:cubicBezTo>
                      <a:cubicBezTo>
                        <a:pt x="122" y="0"/>
                        <a:pt x="126" y="4"/>
                        <a:pt x="126" y="9"/>
                      </a:cubicBezTo>
                      <a:lnTo>
                        <a:pt x="126" y="127"/>
                      </a:ln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w="12700">
                      <a:solidFill>
                        <a:srgbClr val="353535"/>
                      </a:solidFill>
                    </a:ln>
                    <a:solidFill>
                      <a:srgbClr val="002050"/>
                    </a:solidFill>
                    <a:effectLst/>
                    <a:uLnTx/>
                    <a:uFillTx/>
                    <a:latin typeface="Segoe UI Semilight"/>
                  </a:endParaRPr>
                </a:p>
              </p:txBody>
            </p:sp>
            <p:sp>
              <p:nvSpPr>
                <p:cNvPr id="271" name="Freeform 47">
                  <a:extLst>
                    <a:ext uri="{FF2B5EF4-FFF2-40B4-BE49-F238E27FC236}">
                      <a16:creationId xmlns:a16="http://schemas.microsoft.com/office/drawing/2014/main" id="{66A7F9B3-58B4-44A9-BBCA-C3D87B65667D}"/>
                    </a:ext>
                  </a:extLst>
                </p:cNvPr>
                <p:cNvSpPr>
                  <a:spLocks/>
                </p:cNvSpPr>
                <p:nvPr/>
              </p:nvSpPr>
              <p:spPr bwMode="auto">
                <a:xfrm>
                  <a:off x="9168011" y="5667570"/>
                  <a:ext cx="665163" cy="158751"/>
                </a:xfrm>
                <a:custGeom>
                  <a:avLst/>
                  <a:gdLst>
                    <a:gd name="T0" fmla="*/ 223 w 223"/>
                    <a:gd name="T1" fmla="*/ 46 h 49"/>
                    <a:gd name="T2" fmla="*/ 208 w 223"/>
                    <a:gd name="T3" fmla="*/ 49 h 49"/>
                    <a:gd name="T4" fmla="*/ 15 w 223"/>
                    <a:gd name="T5" fmla="*/ 49 h 49"/>
                    <a:gd name="T6" fmla="*/ 0 w 223"/>
                    <a:gd name="T7" fmla="*/ 46 h 49"/>
                    <a:gd name="T8" fmla="*/ 0 w 223"/>
                    <a:gd name="T9" fmla="*/ 3 h 49"/>
                    <a:gd name="T10" fmla="*/ 15 w 223"/>
                    <a:gd name="T11" fmla="*/ 0 h 49"/>
                    <a:gd name="T12" fmla="*/ 208 w 223"/>
                    <a:gd name="T13" fmla="*/ 0 h 49"/>
                    <a:gd name="T14" fmla="*/ 223 w 223"/>
                    <a:gd name="T15" fmla="*/ 3 h 49"/>
                    <a:gd name="T16" fmla="*/ 223 w 223"/>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9">
                      <a:moveTo>
                        <a:pt x="223" y="46"/>
                      </a:moveTo>
                      <a:cubicBezTo>
                        <a:pt x="223" y="48"/>
                        <a:pt x="216" y="49"/>
                        <a:pt x="208" y="49"/>
                      </a:cubicBezTo>
                      <a:cubicBezTo>
                        <a:pt x="15" y="49"/>
                        <a:pt x="15" y="49"/>
                        <a:pt x="15" y="49"/>
                      </a:cubicBezTo>
                      <a:cubicBezTo>
                        <a:pt x="7" y="49"/>
                        <a:pt x="0" y="48"/>
                        <a:pt x="0" y="46"/>
                      </a:cubicBezTo>
                      <a:cubicBezTo>
                        <a:pt x="0" y="3"/>
                        <a:pt x="0" y="3"/>
                        <a:pt x="0" y="3"/>
                      </a:cubicBezTo>
                      <a:cubicBezTo>
                        <a:pt x="0" y="1"/>
                        <a:pt x="7" y="0"/>
                        <a:pt x="15" y="0"/>
                      </a:cubicBezTo>
                      <a:cubicBezTo>
                        <a:pt x="208" y="0"/>
                        <a:pt x="208" y="0"/>
                        <a:pt x="208" y="0"/>
                      </a:cubicBezTo>
                      <a:cubicBezTo>
                        <a:pt x="216" y="0"/>
                        <a:pt x="223" y="1"/>
                        <a:pt x="223" y="3"/>
                      </a:cubicBezTo>
                      <a:lnTo>
                        <a:pt x="223" y="46"/>
                      </a:lnTo>
                      <a:close/>
                    </a:path>
                  </a:pathLst>
                </a:custGeom>
                <a:noFill/>
                <a:ln w="12700" cap="flat">
                  <a:solidFill>
                    <a:srgbClr val="FFFFFF"/>
                  </a:solidFill>
                  <a:prstDash val="solid"/>
                  <a:miter lim="800000"/>
                  <a:headEnd/>
                  <a:tailEnd/>
                </a:ln>
              </p:spPr>
              <p:txBody>
                <a:bodyPr vert="horz" wrap="square" lIns="95117" tIns="47558" rIns="95117" bIns="47558"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w="12700">
                      <a:solidFill>
                        <a:srgbClr val="353535"/>
                      </a:solidFill>
                    </a:ln>
                    <a:solidFill>
                      <a:srgbClr val="002050"/>
                    </a:solidFill>
                    <a:effectLst/>
                    <a:uLnTx/>
                    <a:uFillTx/>
                    <a:latin typeface="Segoe UI Semilight"/>
                  </a:endParaRPr>
                </a:p>
              </p:txBody>
            </p:sp>
          </p:grpSp>
          <p:sp>
            <p:nvSpPr>
              <p:cNvPr id="267" name="Rectangle 266">
                <a:extLst>
                  <a:ext uri="{FF2B5EF4-FFF2-40B4-BE49-F238E27FC236}">
                    <a16:creationId xmlns:a16="http://schemas.microsoft.com/office/drawing/2014/main" id="{D0DC71DE-3A5B-4465-9882-048D5712B3F5}"/>
                  </a:ext>
                </a:extLst>
              </p:cNvPr>
              <p:cNvSpPr/>
              <p:nvPr/>
            </p:nvSpPr>
            <p:spPr>
              <a:xfrm>
                <a:off x="10785459" y="2351841"/>
                <a:ext cx="850042" cy="300799"/>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t>Your apps</a:t>
                </a:r>
                <a:endParaRPr kumimoji="0" lang="en-US" sz="1224" b="0" i="0" u="none" strike="noStrike" kern="0" cap="none" spc="0" normalizeH="0" baseline="0" noProof="0" dirty="0">
                  <a:ln>
                    <a:noFill/>
                  </a:ln>
                  <a:solidFill>
                    <a:srgbClr val="353535"/>
                  </a:solidFill>
                  <a:effectLst/>
                  <a:uLnTx/>
                  <a:uFillTx/>
                  <a:latin typeface="Segoe UI Semilight"/>
                </a:endParaRPr>
              </a:p>
            </p:txBody>
          </p:sp>
        </p:grpSp>
        <p:grpSp>
          <p:nvGrpSpPr>
            <p:cNvPr id="245" name="Group 244">
              <a:extLst>
                <a:ext uri="{FF2B5EF4-FFF2-40B4-BE49-F238E27FC236}">
                  <a16:creationId xmlns:a16="http://schemas.microsoft.com/office/drawing/2014/main" id="{78F0C501-8D13-4A58-A9BA-D17B767888D1}"/>
                </a:ext>
              </a:extLst>
            </p:cNvPr>
            <p:cNvGrpSpPr>
              <a:grpSpLocks noChangeAspect="1"/>
            </p:cNvGrpSpPr>
            <p:nvPr/>
          </p:nvGrpSpPr>
          <p:grpSpPr>
            <a:xfrm>
              <a:off x="9667589" y="571500"/>
              <a:ext cx="1188720" cy="710563"/>
              <a:chOff x="6173007" y="5404371"/>
              <a:chExt cx="1609822" cy="962280"/>
            </a:xfrm>
          </p:grpSpPr>
          <p:sp>
            <p:nvSpPr>
              <p:cNvPr id="256" name="Freeform 5">
                <a:extLst>
                  <a:ext uri="{FF2B5EF4-FFF2-40B4-BE49-F238E27FC236}">
                    <a16:creationId xmlns:a16="http://schemas.microsoft.com/office/drawing/2014/main" id="{E63E0A61-CBCB-4C7E-A929-2B0A6FC6F4BB}"/>
                  </a:ext>
                </a:extLst>
              </p:cNvPr>
              <p:cNvSpPr>
                <a:spLocks noChangeAspect="1" noEditPoints="1"/>
              </p:cNvSpPr>
              <p:nvPr/>
            </p:nvSpPr>
            <p:spPr bwMode="black">
              <a:xfrm>
                <a:off x="6173007" y="6046611"/>
                <a:ext cx="1596596" cy="320040"/>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grpSp>
            <p:nvGrpSpPr>
              <p:cNvPr id="257" name="Group 256">
                <a:extLst>
                  <a:ext uri="{FF2B5EF4-FFF2-40B4-BE49-F238E27FC236}">
                    <a16:creationId xmlns:a16="http://schemas.microsoft.com/office/drawing/2014/main" id="{E633B0FF-D206-4C78-BAEC-1688192077D2}"/>
                  </a:ext>
                </a:extLst>
              </p:cNvPr>
              <p:cNvGrpSpPr/>
              <p:nvPr/>
            </p:nvGrpSpPr>
            <p:grpSpPr>
              <a:xfrm>
                <a:off x="6173007" y="5404371"/>
                <a:ext cx="460534" cy="460374"/>
                <a:chOff x="1477963" y="9724041"/>
                <a:chExt cx="9232900" cy="9229730"/>
              </a:xfrm>
              <a:solidFill>
                <a:srgbClr val="FFFFFF"/>
              </a:solidFill>
            </p:grpSpPr>
            <p:sp>
              <p:nvSpPr>
                <p:cNvPr id="264" name="Freeform 9">
                  <a:extLst>
                    <a:ext uri="{FF2B5EF4-FFF2-40B4-BE49-F238E27FC236}">
                      <a16:creationId xmlns:a16="http://schemas.microsoft.com/office/drawing/2014/main" id="{BDB74F01-E556-49DD-A280-08691063FC17}"/>
                    </a:ext>
                  </a:extLst>
                </p:cNvPr>
                <p:cNvSpPr>
                  <a:spLocks/>
                </p:cNvSpPr>
                <p:nvPr/>
              </p:nvSpPr>
              <p:spPr bwMode="auto">
                <a:xfrm>
                  <a:off x="3686174" y="12040203"/>
                  <a:ext cx="2589224" cy="2587624"/>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Semilight"/>
                  </a:endParaRPr>
                </a:p>
              </p:txBody>
            </p:sp>
            <p:sp>
              <p:nvSpPr>
                <p:cNvPr id="265" name="Freeform 10">
                  <a:extLst>
                    <a:ext uri="{FF2B5EF4-FFF2-40B4-BE49-F238E27FC236}">
                      <a16:creationId xmlns:a16="http://schemas.microsoft.com/office/drawing/2014/main" id="{804CB8FA-4823-4775-B2BE-47A31E0BC673}"/>
                    </a:ext>
                  </a:extLst>
                </p:cNvPr>
                <p:cNvSpPr>
                  <a:spLocks noEditPoints="1"/>
                </p:cNvSpPr>
                <p:nvPr/>
              </p:nvSpPr>
              <p:spPr bwMode="auto">
                <a:xfrm>
                  <a:off x="1477963" y="9724041"/>
                  <a:ext cx="9232900" cy="9229730"/>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Semilight"/>
                  </a:endParaRPr>
                </a:p>
              </p:txBody>
            </p:sp>
          </p:grpSp>
          <p:grpSp>
            <p:nvGrpSpPr>
              <p:cNvPr id="258" name="Group 257">
                <a:extLst>
                  <a:ext uri="{FF2B5EF4-FFF2-40B4-BE49-F238E27FC236}">
                    <a16:creationId xmlns:a16="http://schemas.microsoft.com/office/drawing/2014/main" id="{A5B668AE-5190-4460-8F80-A7A76F8FE659}"/>
                  </a:ext>
                </a:extLst>
              </p:cNvPr>
              <p:cNvGrpSpPr/>
              <p:nvPr/>
            </p:nvGrpSpPr>
            <p:grpSpPr>
              <a:xfrm>
                <a:off x="6747651" y="5404371"/>
                <a:ext cx="460534" cy="460374"/>
                <a:chOff x="1477963" y="9724041"/>
                <a:chExt cx="9232900" cy="9229730"/>
              </a:xfrm>
              <a:solidFill>
                <a:srgbClr val="FFFFFF"/>
              </a:solidFill>
            </p:grpSpPr>
            <p:sp>
              <p:nvSpPr>
                <p:cNvPr id="262" name="Freeform 9">
                  <a:extLst>
                    <a:ext uri="{FF2B5EF4-FFF2-40B4-BE49-F238E27FC236}">
                      <a16:creationId xmlns:a16="http://schemas.microsoft.com/office/drawing/2014/main" id="{E3E5B080-E167-4135-8EB7-6A528C8924D8}"/>
                    </a:ext>
                  </a:extLst>
                </p:cNvPr>
                <p:cNvSpPr>
                  <a:spLocks/>
                </p:cNvSpPr>
                <p:nvPr/>
              </p:nvSpPr>
              <p:spPr bwMode="auto">
                <a:xfrm>
                  <a:off x="3686174" y="12040211"/>
                  <a:ext cx="2589224" cy="258761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Semilight"/>
                  </a:endParaRPr>
                </a:p>
              </p:txBody>
            </p:sp>
            <p:sp>
              <p:nvSpPr>
                <p:cNvPr id="263" name="Freeform 10">
                  <a:extLst>
                    <a:ext uri="{FF2B5EF4-FFF2-40B4-BE49-F238E27FC236}">
                      <a16:creationId xmlns:a16="http://schemas.microsoft.com/office/drawing/2014/main" id="{854AC969-1C6E-4158-8CCF-09CB73355539}"/>
                    </a:ext>
                  </a:extLst>
                </p:cNvPr>
                <p:cNvSpPr>
                  <a:spLocks noEditPoints="1"/>
                </p:cNvSpPr>
                <p:nvPr/>
              </p:nvSpPr>
              <p:spPr bwMode="auto">
                <a:xfrm>
                  <a:off x="1477963" y="9724041"/>
                  <a:ext cx="9232900" cy="9229730"/>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Semilight"/>
                  </a:endParaRPr>
                </a:p>
              </p:txBody>
            </p:sp>
          </p:grpSp>
          <p:grpSp>
            <p:nvGrpSpPr>
              <p:cNvPr id="259" name="Group 258">
                <a:extLst>
                  <a:ext uri="{FF2B5EF4-FFF2-40B4-BE49-F238E27FC236}">
                    <a16:creationId xmlns:a16="http://schemas.microsoft.com/office/drawing/2014/main" id="{7A9644D5-2D42-4AAD-9FC1-7F9A352B1364}"/>
                  </a:ext>
                </a:extLst>
              </p:cNvPr>
              <p:cNvGrpSpPr/>
              <p:nvPr/>
            </p:nvGrpSpPr>
            <p:grpSpPr>
              <a:xfrm>
                <a:off x="7322295" y="5404371"/>
                <a:ext cx="460534" cy="460374"/>
                <a:chOff x="1477963" y="9724041"/>
                <a:chExt cx="9232900" cy="9229730"/>
              </a:xfrm>
              <a:solidFill>
                <a:srgbClr val="FFFFFF"/>
              </a:solidFill>
            </p:grpSpPr>
            <p:sp>
              <p:nvSpPr>
                <p:cNvPr id="260" name="Freeform 9">
                  <a:extLst>
                    <a:ext uri="{FF2B5EF4-FFF2-40B4-BE49-F238E27FC236}">
                      <a16:creationId xmlns:a16="http://schemas.microsoft.com/office/drawing/2014/main" id="{CB343B94-B589-4EDC-B269-2D2520463EA9}"/>
                    </a:ext>
                  </a:extLst>
                </p:cNvPr>
                <p:cNvSpPr>
                  <a:spLocks/>
                </p:cNvSpPr>
                <p:nvPr/>
              </p:nvSpPr>
              <p:spPr bwMode="auto">
                <a:xfrm>
                  <a:off x="3686174" y="12040211"/>
                  <a:ext cx="2589224" cy="258761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Semilight"/>
                  </a:endParaRPr>
                </a:p>
              </p:txBody>
            </p:sp>
            <p:sp>
              <p:nvSpPr>
                <p:cNvPr id="261" name="Freeform 10">
                  <a:extLst>
                    <a:ext uri="{FF2B5EF4-FFF2-40B4-BE49-F238E27FC236}">
                      <a16:creationId xmlns:a16="http://schemas.microsoft.com/office/drawing/2014/main" id="{4E96CF9F-5335-42A3-9BC3-0B26D1D17DF5}"/>
                    </a:ext>
                  </a:extLst>
                </p:cNvPr>
                <p:cNvSpPr>
                  <a:spLocks noEditPoints="1"/>
                </p:cNvSpPr>
                <p:nvPr/>
              </p:nvSpPr>
              <p:spPr bwMode="auto">
                <a:xfrm>
                  <a:off x="1477963" y="9724041"/>
                  <a:ext cx="9232900" cy="9229730"/>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Semilight"/>
                  </a:endParaRPr>
                </a:p>
              </p:txBody>
            </p:sp>
          </p:grpSp>
        </p:grpSp>
        <p:grpSp>
          <p:nvGrpSpPr>
            <p:cNvPr id="246" name="Group 245">
              <a:extLst>
                <a:ext uri="{FF2B5EF4-FFF2-40B4-BE49-F238E27FC236}">
                  <a16:creationId xmlns:a16="http://schemas.microsoft.com/office/drawing/2014/main" id="{E74BF9D7-D1D9-4041-8F7D-5CB4AA5FFFF2}"/>
                </a:ext>
              </a:extLst>
            </p:cNvPr>
            <p:cNvGrpSpPr/>
            <p:nvPr/>
          </p:nvGrpSpPr>
          <p:grpSpPr>
            <a:xfrm>
              <a:off x="9554946" y="1449029"/>
              <a:ext cx="779463" cy="676671"/>
              <a:chOff x="9646447" y="1408497"/>
              <a:chExt cx="779463" cy="676671"/>
            </a:xfrm>
          </p:grpSpPr>
          <p:sp>
            <p:nvSpPr>
              <p:cNvPr id="248" name="Freeform 14">
                <a:extLst>
                  <a:ext uri="{FF2B5EF4-FFF2-40B4-BE49-F238E27FC236}">
                    <a16:creationId xmlns:a16="http://schemas.microsoft.com/office/drawing/2014/main" id="{B5D52592-8F64-490A-971F-2883ED6F1CE2}"/>
                  </a:ext>
                </a:extLst>
              </p:cNvPr>
              <p:cNvSpPr>
                <a:spLocks/>
              </p:cNvSpPr>
              <p:nvPr/>
            </p:nvSpPr>
            <p:spPr bwMode="auto">
              <a:xfrm>
                <a:off x="9646447" y="1537084"/>
                <a:ext cx="88900" cy="196850"/>
              </a:xfrm>
              <a:custGeom>
                <a:avLst/>
                <a:gdLst>
                  <a:gd name="T0" fmla="*/ 17 w 43"/>
                  <a:gd name="T1" fmla="*/ 95 h 95"/>
                  <a:gd name="T2" fmla="*/ 17 w 43"/>
                  <a:gd name="T3" fmla="*/ 83 h 95"/>
                  <a:gd name="T4" fmla="*/ 0 w 43"/>
                  <a:gd name="T5" fmla="*/ 78 h 95"/>
                  <a:gd name="T6" fmla="*/ 3 w 43"/>
                  <a:gd name="T7" fmla="*/ 71 h 95"/>
                  <a:gd name="T8" fmla="*/ 19 w 43"/>
                  <a:gd name="T9" fmla="*/ 76 h 95"/>
                  <a:gd name="T10" fmla="*/ 33 w 43"/>
                  <a:gd name="T11" fmla="*/ 64 h 95"/>
                  <a:gd name="T12" fmla="*/ 20 w 43"/>
                  <a:gd name="T13" fmla="*/ 50 h 95"/>
                  <a:gd name="T14" fmla="*/ 1 w 43"/>
                  <a:gd name="T15" fmla="*/ 30 h 95"/>
                  <a:gd name="T16" fmla="*/ 18 w 43"/>
                  <a:gd name="T17" fmla="*/ 12 h 95"/>
                  <a:gd name="T18" fmla="*/ 18 w 43"/>
                  <a:gd name="T19" fmla="*/ 0 h 95"/>
                  <a:gd name="T20" fmla="*/ 26 w 43"/>
                  <a:gd name="T21" fmla="*/ 0 h 95"/>
                  <a:gd name="T22" fmla="*/ 26 w 43"/>
                  <a:gd name="T23" fmla="*/ 11 h 95"/>
                  <a:gd name="T24" fmla="*/ 41 w 43"/>
                  <a:gd name="T25" fmla="*/ 15 h 95"/>
                  <a:gd name="T26" fmla="*/ 38 w 43"/>
                  <a:gd name="T27" fmla="*/ 23 h 95"/>
                  <a:gd name="T28" fmla="*/ 23 w 43"/>
                  <a:gd name="T29" fmla="*/ 19 h 95"/>
                  <a:gd name="T30" fmla="*/ 11 w 43"/>
                  <a:gd name="T31" fmla="*/ 29 h 95"/>
                  <a:gd name="T32" fmla="*/ 25 w 43"/>
                  <a:gd name="T33" fmla="*/ 42 h 95"/>
                  <a:gd name="T34" fmla="*/ 43 w 43"/>
                  <a:gd name="T35" fmla="*/ 63 h 95"/>
                  <a:gd name="T36" fmla="*/ 25 w 43"/>
                  <a:gd name="T37" fmla="*/ 83 h 95"/>
                  <a:gd name="T38" fmla="*/ 25 w 43"/>
                  <a:gd name="T39" fmla="*/ 95 h 95"/>
                  <a:gd name="T40" fmla="*/ 17 w 43"/>
                  <a:gd name="T4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95">
                    <a:moveTo>
                      <a:pt x="17" y="95"/>
                    </a:moveTo>
                    <a:cubicBezTo>
                      <a:pt x="17" y="83"/>
                      <a:pt x="17" y="83"/>
                      <a:pt x="17" y="83"/>
                    </a:cubicBezTo>
                    <a:cubicBezTo>
                      <a:pt x="11" y="83"/>
                      <a:pt x="4" y="81"/>
                      <a:pt x="0" y="78"/>
                    </a:cubicBezTo>
                    <a:cubicBezTo>
                      <a:pt x="3" y="71"/>
                      <a:pt x="3" y="71"/>
                      <a:pt x="3" y="71"/>
                    </a:cubicBezTo>
                    <a:cubicBezTo>
                      <a:pt x="7" y="73"/>
                      <a:pt x="13" y="76"/>
                      <a:pt x="19" y="76"/>
                    </a:cubicBezTo>
                    <a:cubicBezTo>
                      <a:pt x="27" y="76"/>
                      <a:pt x="33" y="71"/>
                      <a:pt x="33" y="64"/>
                    </a:cubicBezTo>
                    <a:cubicBezTo>
                      <a:pt x="33" y="58"/>
                      <a:pt x="29" y="54"/>
                      <a:pt x="20" y="50"/>
                    </a:cubicBezTo>
                    <a:cubicBezTo>
                      <a:pt x="8" y="46"/>
                      <a:pt x="1" y="40"/>
                      <a:pt x="1" y="30"/>
                    </a:cubicBezTo>
                    <a:cubicBezTo>
                      <a:pt x="1" y="21"/>
                      <a:pt x="8" y="13"/>
                      <a:pt x="18" y="12"/>
                    </a:cubicBezTo>
                    <a:cubicBezTo>
                      <a:pt x="18" y="0"/>
                      <a:pt x="18" y="0"/>
                      <a:pt x="18" y="0"/>
                    </a:cubicBezTo>
                    <a:cubicBezTo>
                      <a:pt x="26" y="0"/>
                      <a:pt x="26" y="0"/>
                      <a:pt x="26" y="0"/>
                    </a:cubicBezTo>
                    <a:cubicBezTo>
                      <a:pt x="26" y="11"/>
                      <a:pt x="26" y="11"/>
                      <a:pt x="26" y="11"/>
                    </a:cubicBezTo>
                    <a:cubicBezTo>
                      <a:pt x="32" y="11"/>
                      <a:pt x="37" y="13"/>
                      <a:pt x="41" y="15"/>
                    </a:cubicBezTo>
                    <a:cubicBezTo>
                      <a:pt x="38" y="23"/>
                      <a:pt x="38" y="23"/>
                      <a:pt x="38" y="23"/>
                    </a:cubicBezTo>
                    <a:cubicBezTo>
                      <a:pt x="35" y="22"/>
                      <a:pt x="30" y="19"/>
                      <a:pt x="23" y="19"/>
                    </a:cubicBezTo>
                    <a:cubicBezTo>
                      <a:pt x="14" y="19"/>
                      <a:pt x="11" y="24"/>
                      <a:pt x="11" y="29"/>
                    </a:cubicBezTo>
                    <a:cubicBezTo>
                      <a:pt x="11" y="35"/>
                      <a:pt x="15" y="38"/>
                      <a:pt x="25" y="42"/>
                    </a:cubicBezTo>
                    <a:cubicBezTo>
                      <a:pt x="37" y="47"/>
                      <a:pt x="43" y="53"/>
                      <a:pt x="43" y="63"/>
                    </a:cubicBezTo>
                    <a:cubicBezTo>
                      <a:pt x="43" y="73"/>
                      <a:pt x="37" y="81"/>
                      <a:pt x="25" y="83"/>
                    </a:cubicBezTo>
                    <a:cubicBezTo>
                      <a:pt x="25" y="95"/>
                      <a:pt x="25" y="95"/>
                      <a:pt x="25" y="95"/>
                    </a:cubicBezTo>
                    <a:lnTo>
                      <a:pt x="17" y="95"/>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49" name="Freeform 15">
                <a:extLst>
                  <a:ext uri="{FF2B5EF4-FFF2-40B4-BE49-F238E27FC236}">
                    <a16:creationId xmlns:a16="http://schemas.microsoft.com/office/drawing/2014/main" id="{E8392B32-6A28-4A54-9580-6A67760E2E50}"/>
                  </a:ext>
                </a:extLst>
              </p:cNvPr>
              <p:cNvSpPr>
                <a:spLocks/>
              </p:cNvSpPr>
              <p:nvPr/>
            </p:nvSpPr>
            <p:spPr bwMode="auto">
              <a:xfrm>
                <a:off x="9800435" y="1408497"/>
                <a:ext cx="82550" cy="117475"/>
              </a:xfrm>
              <a:custGeom>
                <a:avLst/>
                <a:gdLst>
                  <a:gd name="T0" fmla="*/ 40 w 40"/>
                  <a:gd name="T1" fmla="*/ 53 h 57"/>
                  <a:gd name="T2" fmla="*/ 28 w 40"/>
                  <a:gd name="T3" fmla="*/ 57 h 57"/>
                  <a:gd name="T4" fmla="*/ 11 w 40"/>
                  <a:gd name="T5" fmla="*/ 49 h 57"/>
                  <a:gd name="T6" fmla="*/ 5 w 40"/>
                  <a:gd name="T7" fmla="*/ 35 h 57"/>
                  <a:gd name="T8" fmla="*/ 0 w 40"/>
                  <a:gd name="T9" fmla="*/ 35 h 57"/>
                  <a:gd name="T10" fmla="*/ 0 w 40"/>
                  <a:gd name="T11" fmla="*/ 31 h 57"/>
                  <a:gd name="T12" fmla="*/ 4 w 40"/>
                  <a:gd name="T13" fmla="*/ 31 h 57"/>
                  <a:gd name="T14" fmla="*/ 4 w 40"/>
                  <a:gd name="T15" fmla="*/ 29 h 57"/>
                  <a:gd name="T16" fmla="*/ 4 w 40"/>
                  <a:gd name="T17" fmla="*/ 26 h 57"/>
                  <a:gd name="T18" fmla="*/ 0 w 40"/>
                  <a:gd name="T19" fmla="*/ 26 h 57"/>
                  <a:gd name="T20" fmla="*/ 0 w 40"/>
                  <a:gd name="T21" fmla="*/ 21 h 57"/>
                  <a:gd name="T22" fmla="*/ 5 w 40"/>
                  <a:gd name="T23" fmla="*/ 21 h 57"/>
                  <a:gd name="T24" fmla="*/ 12 w 40"/>
                  <a:gd name="T25" fmla="*/ 7 h 57"/>
                  <a:gd name="T26" fmla="*/ 28 w 40"/>
                  <a:gd name="T27" fmla="*/ 0 h 57"/>
                  <a:gd name="T28" fmla="*/ 40 w 40"/>
                  <a:gd name="T29" fmla="*/ 3 h 57"/>
                  <a:gd name="T30" fmla="*/ 38 w 40"/>
                  <a:gd name="T31" fmla="*/ 9 h 57"/>
                  <a:gd name="T32" fmla="*/ 29 w 40"/>
                  <a:gd name="T33" fmla="*/ 6 h 57"/>
                  <a:gd name="T34" fmla="*/ 18 w 40"/>
                  <a:gd name="T35" fmla="*/ 11 h 57"/>
                  <a:gd name="T36" fmla="*/ 13 w 40"/>
                  <a:gd name="T37" fmla="*/ 21 h 57"/>
                  <a:gd name="T38" fmla="*/ 36 w 40"/>
                  <a:gd name="T39" fmla="*/ 21 h 57"/>
                  <a:gd name="T40" fmla="*/ 36 w 40"/>
                  <a:gd name="T41" fmla="*/ 26 h 57"/>
                  <a:gd name="T42" fmla="*/ 12 w 40"/>
                  <a:gd name="T43" fmla="*/ 26 h 57"/>
                  <a:gd name="T44" fmla="*/ 12 w 40"/>
                  <a:gd name="T45" fmla="*/ 29 h 57"/>
                  <a:gd name="T46" fmla="*/ 12 w 40"/>
                  <a:gd name="T47" fmla="*/ 31 h 57"/>
                  <a:gd name="T48" fmla="*/ 36 w 40"/>
                  <a:gd name="T49" fmla="*/ 31 h 57"/>
                  <a:gd name="T50" fmla="*/ 36 w 40"/>
                  <a:gd name="T51" fmla="*/ 35 h 57"/>
                  <a:gd name="T52" fmla="*/ 12 w 40"/>
                  <a:gd name="T53" fmla="*/ 35 h 57"/>
                  <a:gd name="T54" fmla="*/ 17 w 40"/>
                  <a:gd name="T55" fmla="*/ 46 h 57"/>
                  <a:gd name="T56" fmla="*/ 29 w 40"/>
                  <a:gd name="T57" fmla="*/ 51 h 57"/>
                  <a:gd name="T58" fmla="*/ 39 w 40"/>
                  <a:gd name="T59" fmla="*/ 48 h 57"/>
                  <a:gd name="T60" fmla="*/ 40 w 40"/>
                  <a:gd name="T61"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 h="57">
                    <a:moveTo>
                      <a:pt x="40" y="53"/>
                    </a:moveTo>
                    <a:cubicBezTo>
                      <a:pt x="38" y="55"/>
                      <a:pt x="33" y="57"/>
                      <a:pt x="28" y="57"/>
                    </a:cubicBezTo>
                    <a:cubicBezTo>
                      <a:pt x="21" y="57"/>
                      <a:pt x="15" y="54"/>
                      <a:pt x="11" y="49"/>
                    </a:cubicBezTo>
                    <a:cubicBezTo>
                      <a:pt x="8" y="46"/>
                      <a:pt x="5" y="41"/>
                      <a:pt x="5" y="35"/>
                    </a:cubicBezTo>
                    <a:cubicBezTo>
                      <a:pt x="0" y="35"/>
                      <a:pt x="0" y="35"/>
                      <a:pt x="0" y="35"/>
                    </a:cubicBezTo>
                    <a:cubicBezTo>
                      <a:pt x="0" y="31"/>
                      <a:pt x="0" y="31"/>
                      <a:pt x="0" y="31"/>
                    </a:cubicBezTo>
                    <a:cubicBezTo>
                      <a:pt x="4" y="31"/>
                      <a:pt x="4" y="31"/>
                      <a:pt x="4" y="31"/>
                    </a:cubicBezTo>
                    <a:cubicBezTo>
                      <a:pt x="4" y="30"/>
                      <a:pt x="4" y="30"/>
                      <a:pt x="4" y="29"/>
                    </a:cubicBezTo>
                    <a:cubicBezTo>
                      <a:pt x="4" y="28"/>
                      <a:pt x="4" y="27"/>
                      <a:pt x="4" y="26"/>
                    </a:cubicBezTo>
                    <a:cubicBezTo>
                      <a:pt x="0" y="26"/>
                      <a:pt x="0" y="26"/>
                      <a:pt x="0" y="26"/>
                    </a:cubicBezTo>
                    <a:cubicBezTo>
                      <a:pt x="0" y="21"/>
                      <a:pt x="0" y="21"/>
                      <a:pt x="0" y="21"/>
                    </a:cubicBezTo>
                    <a:cubicBezTo>
                      <a:pt x="5" y="21"/>
                      <a:pt x="5" y="21"/>
                      <a:pt x="5" y="21"/>
                    </a:cubicBezTo>
                    <a:cubicBezTo>
                      <a:pt x="6" y="16"/>
                      <a:pt x="9" y="11"/>
                      <a:pt x="12" y="7"/>
                    </a:cubicBezTo>
                    <a:cubicBezTo>
                      <a:pt x="16" y="3"/>
                      <a:pt x="22" y="0"/>
                      <a:pt x="28" y="0"/>
                    </a:cubicBezTo>
                    <a:cubicBezTo>
                      <a:pt x="33" y="0"/>
                      <a:pt x="37" y="2"/>
                      <a:pt x="40" y="3"/>
                    </a:cubicBezTo>
                    <a:cubicBezTo>
                      <a:pt x="38" y="9"/>
                      <a:pt x="38" y="9"/>
                      <a:pt x="38" y="9"/>
                    </a:cubicBezTo>
                    <a:cubicBezTo>
                      <a:pt x="36" y="7"/>
                      <a:pt x="32" y="6"/>
                      <a:pt x="29" y="6"/>
                    </a:cubicBezTo>
                    <a:cubicBezTo>
                      <a:pt x="24" y="6"/>
                      <a:pt x="20" y="8"/>
                      <a:pt x="18" y="11"/>
                    </a:cubicBezTo>
                    <a:cubicBezTo>
                      <a:pt x="15" y="13"/>
                      <a:pt x="13" y="17"/>
                      <a:pt x="13" y="21"/>
                    </a:cubicBezTo>
                    <a:cubicBezTo>
                      <a:pt x="36" y="21"/>
                      <a:pt x="36" y="21"/>
                      <a:pt x="36" y="21"/>
                    </a:cubicBezTo>
                    <a:cubicBezTo>
                      <a:pt x="36" y="26"/>
                      <a:pt x="36" y="26"/>
                      <a:pt x="36" y="26"/>
                    </a:cubicBezTo>
                    <a:cubicBezTo>
                      <a:pt x="12" y="26"/>
                      <a:pt x="12" y="26"/>
                      <a:pt x="12" y="26"/>
                    </a:cubicBezTo>
                    <a:cubicBezTo>
                      <a:pt x="12" y="27"/>
                      <a:pt x="12" y="28"/>
                      <a:pt x="12" y="29"/>
                    </a:cubicBezTo>
                    <a:cubicBezTo>
                      <a:pt x="12" y="30"/>
                      <a:pt x="12" y="30"/>
                      <a:pt x="12" y="31"/>
                    </a:cubicBezTo>
                    <a:cubicBezTo>
                      <a:pt x="36" y="31"/>
                      <a:pt x="36" y="31"/>
                      <a:pt x="36" y="31"/>
                    </a:cubicBezTo>
                    <a:cubicBezTo>
                      <a:pt x="36" y="35"/>
                      <a:pt x="36" y="35"/>
                      <a:pt x="36" y="35"/>
                    </a:cubicBezTo>
                    <a:cubicBezTo>
                      <a:pt x="12" y="35"/>
                      <a:pt x="12" y="35"/>
                      <a:pt x="12" y="35"/>
                    </a:cubicBezTo>
                    <a:cubicBezTo>
                      <a:pt x="13" y="40"/>
                      <a:pt x="15" y="43"/>
                      <a:pt x="17" y="46"/>
                    </a:cubicBezTo>
                    <a:cubicBezTo>
                      <a:pt x="20" y="49"/>
                      <a:pt x="24" y="51"/>
                      <a:pt x="29" y="51"/>
                    </a:cubicBezTo>
                    <a:cubicBezTo>
                      <a:pt x="33" y="51"/>
                      <a:pt x="37" y="49"/>
                      <a:pt x="39" y="48"/>
                    </a:cubicBezTo>
                    <a:lnTo>
                      <a:pt x="40" y="53"/>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50" name="Freeform 16">
                <a:extLst>
                  <a:ext uri="{FF2B5EF4-FFF2-40B4-BE49-F238E27FC236}">
                    <a16:creationId xmlns:a16="http://schemas.microsoft.com/office/drawing/2014/main" id="{39EB5E30-706D-474F-9663-7FCB22529707}"/>
                  </a:ext>
                </a:extLst>
              </p:cNvPr>
              <p:cNvSpPr>
                <a:spLocks/>
              </p:cNvSpPr>
              <p:nvPr/>
            </p:nvSpPr>
            <p:spPr bwMode="auto">
              <a:xfrm>
                <a:off x="10310022" y="1722822"/>
                <a:ext cx="115888" cy="155575"/>
              </a:xfrm>
              <a:custGeom>
                <a:avLst/>
                <a:gdLst>
                  <a:gd name="T0" fmla="*/ 22 w 56"/>
                  <a:gd name="T1" fmla="*/ 75 h 75"/>
                  <a:gd name="T2" fmla="*/ 22 w 56"/>
                  <a:gd name="T3" fmla="*/ 55 h 75"/>
                  <a:gd name="T4" fmla="*/ 4 w 56"/>
                  <a:gd name="T5" fmla="*/ 55 h 75"/>
                  <a:gd name="T6" fmla="*/ 4 w 56"/>
                  <a:gd name="T7" fmla="*/ 49 h 75"/>
                  <a:gd name="T8" fmla="*/ 22 w 56"/>
                  <a:gd name="T9" fmla="*/ 49 h 75"/>
                  <a:gd name="T10" fmla="*/ 22 w 56"/>
                  <a:gd name="T11" fmla="*/ 41 h 75"/>
                  <a:gd name="T12" fmla="*/ 4 w 56"/>
                  <a:gd name="T13" fmla="*/ 41 h 75"/>
                  <a:gd name="T14" fmla="*/ 4 w 56"/>
                  <a:gd name="T15" fmla="*/ 35 h 75"/>
                  <a:gd name="T16" fmla="*/ 19 w 56"/>
                  <a:gd name="T17" fmla="*/ 35 h 75"/>
                  <a:gd name="T18" fmla="*/ 0 w 56"/>
                  <a:gd name="T19" fmla="*/ 0 h 75"/>
                  <a:gd name="T20" fmla="*/ 11 w 56"/>
                  <a:gd name="T21" fmla="*/ 0 h 75"/>
                  <a:gd name="T22" fmla="*/ 23 w 56"/>
                  <a:gd name="T23" fmla="*/ 24 h 75"/>
                  <a:gd name="T24" fmla="*/ 27 w 56"/>
                  <a:gd name="T25" fmla="*/ 34 h 75"/>
                  <a:gd name="T26" fmla="*/ 28 w 56"/>
                  <a:gd name="T27" fmla="*/ 34 h 75"/>
                  <a:gd name="T28" fmla="*/ 32 w 56"/>
                  <a:gd name="T29" fmla="*/ 24 h 75"/>
                  <a:gd name="T30" fmla="*/ 45 w 56"/>
                  <a:gd name="T31" fmla="*/ 0 h 75"/>
                  <a:gd name="T32" fmla="*/ 56 w 56"/>
                  <a:gd name="T33" fmla="*/ 0 h 75"/>
                  <a:gd name="T34" fmla="*/ 35 w 56"/>
                  <a:gd name="T35" fmla="*/ 35 h 75"/>
                  <a:gd name="T36" fmla="*/ 50 w 56"/>
                  <a:gd name="T37" fmla="*/ 35 h 75"/>
                  <a:gd name="T38" fmla="*/ 50 w 56"/>
                  <a:gd name="T39" fmla="*/ 41 h 75"/>
                  <a:gd name="T40" fmla="*/ 32 w 56"/>
                  <a:gd name="T41" fmla="*/ 41 h 75"/>
                  <a:gd name="T42" fmla="*/ 32 w 56"/>
                  <a:gd name="T43" fmla="*/ 49 h 75"/>
                  <a:gd name="T44" fmla="*/ 50 w 56"/>
                  <a:gd name="T45" fmla="*/ 49 h 75"/>
                  <a:gd name="T46" fmla="*/ 50 w 56"/>
                  <a:gd name="T47" fmla="*/ 55 h 75"/>
                  <a:gd name="T48" fmla="*/ 32 w 56"/>
                  <a:gd name="T49" fmla="*/ 55 h 75"/>
                  <a:gd name="T50" fmla="*/ 32 w 56"/>
                  <a:gd name="T51" fmla="*/ 75 h 75"/>
                  <a:gd name="T52" fmla="*/ 22 w 56"/>
                  <a:gd name="T5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75">
                    <a:moveTo>
                      <a:pt x="22" y="75"/>
                    </a:moveTo>
                    <a:cubicBezTo>
                      <a:pt x="22" y="55"/>
                      <a:pt x="22" y="55"/>
                      <a:pt x="22" y="55"/>
                    </a:cubicBezTo>
                    <a:cubicBezTo>
                      <a:pt x="4" y="55"/>
                      <a:pt x="4" y="55"/>
                      <a:pt x="4" y="55"/>
                    </a:cubicBezTo>
                    <a:cubicBezTo>
                      <a:pt x="4" y="49"/>
                      <a:pt x="4" y="49"/>
                      <a:pt x="4" y="49"/>
                    </a:cubicBezTo>
                    <a:cubicBezTo>
                      <a:pt x="22" y="49"/>
                      <a:pt x="22" y="49"/>
                      <a:pt x="22" y="49"/>
                    </a:cubicBezTo>
                    <a:cubicBezTo>
                      <a:pt x="22" y="41"/>
                      <a:pt x="22" y="41"/>
                      <a:pt x="22" y="41"/>
                    </a:cubicBezTo>
                    <a:cubicBezTo>
                      <a:pt x="4" y="41"/>
                      <a:pt x="4" y="41"/>
                      <a:pt x="4" y="41"/>
                    </a:cubicBezTo>
                    <a:cubicBezTo>
                      <a:pt x="4" y="35"/>
                      <a:pt x="4" y="35"/>
                      <a:pt x="4" y="35"/>
                    </a:cubicBezTo>
                    <a:cubicBezTo>
                      <a:pt x="19" y="35"/>
                      <a:pt x="19" y="35"/>
                      <a:pt x="19" y="35"/>
                    </a:cubicBezTo>
                    <a:cubicBezTo>
                      <a:pt x="0" y="0"/>
                      <a:pt x="0" y="0"/>
                      <a:pt x="0" y="0"/>
                    </a:cubicBezTo>
                    <a:cubicBezTo>
                      <a:pt x="11" y="0"/>
                      <a:pt x="11" y="0"/>
                      <a:pt x="11" y="0"/>
                    </a:cubicBezTo>
                    <a:cubicBezTo>
                      <a:pt x="23" y="24"/>
                      <a:pt x="23" y="24"/>
                      <a:pt x="23" y="24"/>
                    </a:cubicBezTo>
                    <a:cubicBezTo>
                      <a:pt x="25" y="28"/>
                      <a:pt x="26" y="31"/>
                      <a:pt x="27" y="34"/>
                    </a:cubicBezTo>
                    <a:cubicBezTo>
                      <a:pt x="28" y="34"/>
                      <a:pt x="28" y="34"/>
                      <a:pt x="28" y="34"/>
                    </a:cubicBezTo>
                    <a:cubicBezTo>
                      <a:pt x="29" y="31"/>
                      <a:pt x="30" y="28"/>
                      <a:pt x="32" y="24"/>
                    </a:cubicBezTo>
                    <a:cubicBezTo>
                      <a:pt x="45" y="0"/>
                      <a:pt x="45" y="0"/>
                      <a:pt x="45" y="0"/>
                    </a:cubicBezTo>
                    <a:cubicBezTo>
                      <a:pt x="56" y="0"/>
                      <a:pt x="56" y="0"/>
                      <a:pt x="56" y="0"/>
                    </a:cubicBezTo>
                    <a:cubicBezTo>
                      <a:pt x="35" y="35"/>
                      <a:pt x="35" y="35"/>
                      <a:pt x="35" y="35"/>
                    </a:cubicBezTo>
                    <a:cubicBezTo>
                      <a:pt x="50" y="35"/>
                      <a:pt x="50" y="35"/>
                      <a:pt x="50" y="35"/>
                    </a:cubicBezTo>
                    <a:cubicBezTo>
                      <a:pt x="50" y="41"/>
                      <a:pt x="50" y="41"/>
                      <a:pt x="50" y="41"/>
                    </a:cubicBezTo>
                    <a:cubicBezTo>
                      <a:pt x="32" y="41"/>
                      <a:pt x="32" y="41"/>
                      <a:pt x="32" y="41"/>
                    </a:cubicBezTo>
                    <a:cubicBezTo>
                      <a:pt x="32" y="49"/>
                      <a:pt x="32" y="49"/>
                      <a:pt x="32" y="49"/>
                    </a:cubicBezTo>
                    <a:cubicBezTo>
                      <a:pt x="50" y="49"/>
                      <a:pt x="50" y="49"/>
                      <a:pt x="50" y="49"/>
                    </a:cubicBezTo>
                    <a:cubicBezTo>
                      <a:pt x="50" y="55"/>
                      <a:pt x="50" y="55"/>
                      <a:pt x="50" y="55"/>
                    </a:cubicBezTo>
                    <a:cubicBezTo>
                      <a:pt x="32" y="55"/>
                      <a:pt x="32" y="55"/>
                      <a:pt x="32" y="55"/>
                    </a:cubicBezTo>
                    <a:cubicBezTo>
                      <a:pt x="32" y="75"/>
                      <a:pt x="32" y="75"/>
                      <a:pt x="32" y="75"/>
                    </a:cubicBezTo>
                    <a:lnTo>
                      <a:pt x="22" y="75"/>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51" name="Freeform 17">
                <a:extLst>
                  <a:ext uri="{FF2B5EF4-FFF2-40B4-BE49-F238E27FC236}">
                    <a16:creationId xmlns:a16="http://schemas.microsoft.com/office/drawing/2014/main" id="{0D33C2AF-D16A-489E-955F-748F9B7F85E5}"/>
                  </a:ext>
                </a:extLst>
              </p:cNvPr>
              <p:cNvSpPr>
                <a:spLocks/>
              </p:cNvSpPr>
              <p:nvPr/>
            </p:nvSpPr>
            <p:spPr bwMode="auto">
              <a:xfrm>
                <a:off x="10268747" y="1473584"/>
                <a:ext cx="57150" cy="92075"/>
              </a:xfrm>
              <a:custGeom>
                <a:avLst/>
                <a:gdLst>
                  <a:gd name="T0" fmla="*/ 0 w 28"/>
                  <a:gd name="T1" fmla="*/ 44 h 44"/>
                  <a:gd name="T2" fmla="*/ 0 w 28"/>
                  <a:gd name="T3" fmla="*/ 41 h 44"/>
                  <a:gd name="T4" fmla="*/ 8 w 28"/>
                  <a:gd name="T5" fmla="*/ 29 h 44"/>
                  <a:gd name="T6" fmla="*/ 7 w 28"/>
                  <a:gd name="T7" fmla="*/ 25 h 44"/>
                  <a:gd name="T8" fmla="*/ 1 w 28"/>
                  <a:gd name="T9" fmla="*/ 25 h 44"/>
                  <a:gd name="T10" fmla="*/ 1 w 28"/>
                  <a:gd name="T11" fmla="*/ 20 h 44"/>
                  <a:gd name="T12" fmla="*/ 7 w 28"/>
                  <a:gd name="T13" fmla="*/ 20 h 44"/>
                  <a:gd name="T14" fmla="*/ 6 w 28"/>
                  <a:gd name="T15" fmla="*/ 13 h 44"/>
                  <a:gd name="T16" fmla="*/ 19 w 28"/>
                  <a:gd name="T17" fmla="*/ 0 h 44"/>
                  <a:gd name="T18" fmla="*/ 26 w 28"/>
                  <a:gd name="T19" fmla="*/ 2 h 44"/>
                  <a:gd name="T20" fmla="*/ 25 w 28"/>
                  <a:gd name="T21" fmla="*/ 6 h 44"/>
                  <a:gd name="T22" fmla="*/ 19 w 28"/>
                  <a:gd name="T23" fmla="*/ 5 h 44"/>
                  <a:gd name="T24" fmla="*/ 12 w 28"/>
                  <a:gd name="T25" fmla="*/ 13 h 44"/>
                  <a:gd name="T26" fmla="*/ 12 w 28"/>
                  <a:gd name="T27" fmla="*/ 20 h 44"/>
                  <a:gd name="T28" fmla="*/ 22 w 28"/>
                  <a:gd name="T29" fmla="*/ 20 h 44"/>
                  <a:gd name="T30" fmla="*/ 22 w 28"/>
                  <a:gd name="T31" fmla="*/ 25 h 44"/>
                  <a:gd name="T32" fmla="*/ 13 w 28"/>
                  <a:gd name="T33" fmla="*/ 25 h 44"/>
                  <a:gd name="T34" fmla="*/ 13 w 28"/>
                  <a:gd name="T35" fmla="*/ 32 h 44"/>
                  <a:gd name="T36" fmla="*/ 8 w 28"/>
                  <a:gd name="T37" fmla="*/ 39 h 44"/>
                  <a:gd name="T38" fmla="*/ 8 w 28"/>
                  <a:gd name="T39" fmla="*/ 40 h 44"/>
                  <a:gd name="T40" fmla="*/ 28 w 28"/>
                  <a:gd name="T41" fmla="*/ 40 h 44"/>
                  <a:gd name="T42" fmla="*/ 28 w 28"/>
                  <a:gd name="T43" fmla="*/ 44 h 44"/>
                  <a:gd name="T44" fmla="*/ 0 w 28"/>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44">
                    <a:moveTo>
                      <a:pt x="0" y="44"/>
                    </a:moveTo>
                    <a:cubicBezTo>
                      <a:pt x="0" y="41"/>
                      <a:pt x="0" y="41"/>
                      <a:pt x="0" y="41"/>
                    </a:cubicBezTo>
                    <a:cubicBezTo>
                      <a:pt x="5" y="39"/>
                      <a:pt x="8" y="34"/>
                      <a:pt x="8" y="29"/>
                    </a:cubicBezTo>
                    <a:cubicBezTo>
                      <a:pt x="8" y="28"/>
                      <a:pt x="8" y="26"/>
                      <a:pt x="7" y="25"/>
                    </a:cubicBezTo>
                    <a:cubicBezTo>
                      <a:pt x="1" y="25"/>
                      <a:pt x="1" y="25"/>
                      <a:pt x="1" y="25"/>
                    </a:cubicBezTo>
                    <a:cubicBezTo>
                      <a:pt x="1" y="20"/>
                      <a:pt x="1" y="20"/>
                      <a:pt x="1" y="20"/>
                    </a:cubicBezTo>
                    <a:cubicBezTo>
                      <a:pt x="7" y="20"/>
                      <a:pt x="7" y="20"/>
                      <a:pt x="7" y="20"/>
                    </a:cubicBezTo>
                    <a:cubicBezTo>
                      <a:pt x="6" y="18"/>
                      <a:pt x="6" y="16"/>
                      <a:pt x="6" y="13"/>
                    </a:cubicBezTo>
                    <a:cubicBezTo>
                      <a:pt x="6" y="5"/>
                      <a:pt x="11" y="0"/>
                      <a:pt x="19" y="0"/>
                    </a:cubicBezTo>
                    <a:cubicBezTo>
                      <a:pt x="22" y="0"/>
                      <a:pt x="25" y="1"/>
                      <a:pt x="26" y="2"/>
                    </a:cubicBezTo>
                    <a:cubicBezTo>
                      <a:pt x="25" y="6"/>
                      <a:pt x="25" y="6"/>
                      <a:pt x="25" y="6"/>
                    </a:cubicBezTo>
                    <a:cubicBezTo>
                      <a:pt x="24" y="5"/>
                      <a:pt x="22" y="5"/>
                      <a:pt x="19" y="5"/>
                    </a:cubicBezTo>
                    <a:cubicBezTo>
                      <a:pt x="14" y="5"/>
                      <a:pt x="12" y="8"/>
                      <a:pt x="12" y="13"/>
                    </a:cubicBezTo>
                    <a:cubicBezTo>
                      <a:pt x="12" y="16"/>
                      <a:pt x="12" y="18"/>
                      <a:pt x="12" y="20"/>
                    </a:cubicBezTo>
                    <a:cubicBezTo>
                      <a:pt x="22" y="20"/>
                      <a:pt x="22" y="20"/>
                      <a:pt x="22" y="20"/>
                    </a:cubicBezTo>
                    <a:cubicBezTo>
                      <a:pt x="22" y="25"/>
                      <a:pt x="22" y="25"/>
                      <a:pt x="22" y="25"/>
                    </a:cubicBezTo>
                    <a:cubicBezTo>
                      <a:pt x="13" y="25"/>
                      <a:pt x="13" y="25"/>
                      <a:pt x="13" y="25"/>
                    </a:cubicBezTo>
                    <a:cubicBezTo>
                      <a:pt x="13" y="27"/>
                      <a:pt x="13" y="30"/>
                      <a:pt x="13" y="32"/>
                    </a:cubicBezTo>
                    <a:cubicBezTo>
                      <a:pt x="12" y="35"/>
                      <a:pt x="10" y="37"/>
                      <a:pt x="8" y="39"/>
                    </a:cubicBezTo>
                    <a:cubicBezTo>
                      <a:pt x="8" y="40"/>
                      <a:pt x="8" y="40"/>
                      <a:pt x="8" y="40"/>
                    </a:cubicBezTo>
                    <a:cubicBezTo>
                      <a:pt x="28" y="40"/>
                      <a:pt x="28" y="40"/>
                      <a:pt x="28" y="40"/>
                    </a:cubicBezTo>
                    <a:cubicBezTo>
                      <a:pt x="28" y="44"/>
                      <a:pt x="28" y="44"/>
                      <a:pt x="28" y="44"/>
                    </a:cubicBezTo>
                    <a:lnTo>
                      <a:pt x="0" y="44"/>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grpSp>
            <p:nvGrpSpPr>
              <p:cNvPr id="252" name="Group 251">
                <a:extLst>
                  <a:ext uri="{FF2B5EF4-FFF2-40B4-BE49-F238E27FC236}">
                    <a16:creationId xmlns:a16="http://schemas.microsoft.com/office/drawing/2014/main" id="{24F70F35-2609-4F2A-9906-FA2F011BA11B}"/>
                  </a:ext>
                </a:extLst>
              </p:cNvPr>
              <p:cNvGrpSpPr/>
              <p:nvPr/>
            </p:nvGrpSpPr>
            <p:grpSpPr>
              <a:xfrm>
                <a:off x="9784163" y="1509696"/>
                <a:ext cx="470694" cy="575472"/>
                <a:chOff x="9784163" y="1509696"/>
                <a:chExt cx="470694" cy="575472"/>
              </a:xfrm>
            </p:grpSpPr>
            <p:sp>
              <p:nvSpPr>
                <p:cNvPr id="253" name="Freeform 18">
                  <a:extLst>
                    <a:ext uri="{FF2B5EF4-FFF2-40B4-BE49-F238E27FC236}">
                      <a16:creationId xmlns:a16="http://schemas.microsoft.com/office/drawing/2014/main" id="{086EB80F-D36C-46E9-958E-F02D71FA464D}"/>
                    </a:ext>
                  </a:extLst>
                </p:cNvPr>
                <p:cNvSpPr>
                  <a:spLocks noEditPoints="1"/>
                </p:cNvSpPr>
                <p:nvPr/>
              </p:nvSpPr>
              <p:spPr bwMode="auto">
                <a:xfrm rot="20525404">
                  <a:off x="9982997" y="1509696"/>
                  <a:ext cx="269875" cy="268288"/>
                </a:xfrm>
                <a:custGeom>
                  <a:avLst/>
                  <a:gdLst>
                    <a:gd name="T0" fmla="*/ 130 w 130"/>
                    <a:gd name="T1" fmla="*/ 59 h 130"/>
                    <a:gd name="T2" fmla="*/ 125 w 130"/>
                    <a:gd name="T3" fmla="*/ 38 h 130"/>
                    <a:gd name="T4" fmla="*/ 106 w 130"/>
                    <a:gd name="T5" fmla="*/ 40 h 130"/>
                    <a:gd name="T6" fmla="*/ 100 w 130"/>
                    <a:gd name="T7" fmla="*/ 32 h 130"/>
                    <a:gd name="T8" fmla="*/ 107 w 130"/>
                    <a:gd name="T9" fmla="*/ 15 h 130"/>
                    <a:gd name="T10" fmla="*/ 88 w 130"/>
                    <a:gd name="T11" fmla="*/ 4 h 130"/>
                    <a:gd name="T12" fmla="*/ 77 w 130"/>
                    <a:gd name="T13" fmla="*/ 18 h 130"/>
                    <a:gd name="T14" fmla="*/ 65 w 130"/>
                    <a:gd name="T15" fmla="*/ 16 h 130"/>
                    <a:gd name="T16" fmla="*/ 58 w 130"/>
                    <a:gd name="T17" fmla="*/ 0 h 130"/>
                    <a:gd name="T18" fmla="*/ 37 w 130"/>
                    <a:gd name="T19" fmla="*/ 6 h 130"/>
                    <a:gd name="T20" fmla="*/ 39 w 130"/>
                    <a:gd name="T21" fmla="*/ 24 h 130"/>
                    <a:gd name="T22" fmla="*/ 31 w 130"/>
                    <a:gd name="T23" fmla="*/ 30 h 130"/>
                    <a:gd name="T24" fmla="*/ 15 w 130"/>
                    <a:gd name="T25" fmla="*/ 23 h 130"/>
                    <a:gd name="T26" fmla="*/ 4 w 130"/>
                    <a:gd name="T27" fmla="*/ 42 h 130"/>
                    <a:gd name="T28" fmla="*/ 18 w 130"/>
                    <a:gd name="T29" fmla="*/ 53 h 130"/>
                    <a:gd name="T30" fmla="*/ 16 w 130"/>
                    <a:gd name="T31" fmla="*/ 64 h 130"/>
                    <a:gd name="T32" fmla="*/ 0 w 130"/>
                    <a:gd name="T33" fmla="*/ 71 h 130"/>
                    <a:gd name="T34" fmla="*/ 5 w 130"/>
                    <a:gd name="T35" fmla="*/ 92 h 130"/>
                    <a:gd name="T36" fmla="*/ 23 w 130"/>
                    <a:gd name="T37" fmla="*/ 90 h 130"/>
                    <a:gd name="T38" fmla="*/ 30 w 130"/>
                    <a:gd name="T39" fmla="*/ 99 h 130"/>
                    <a:gd name="T40" fmla="*/ 23 w 130"/>
                    <a:gd name="T41" fmla="*/ 115 h 130"/>
                    <a:gd name="T42" fmla="*/ 42 w 130"/>
                    <a:gd name="T43" fmla="*/ 126 h 130"/>
                    <a:gd name="T44" fmla="*/ 53 w 130"/>
                    <a:gd name="T45" fmla="*/ 112 h 130"/>
                    <a:gd name="T46" fmla="*/ 64 w 130"/>
                    <a:gd name="T47" fmla="*/ 114 h 130"/>
                    <a:gd name="T48" fmla="*/ 71 w 130"/>
                    <a:gd name="T49" fmla="*/ 130 h 130"/>
                    <a:gd name="T50" fmla="*/ 92 w 130"/>
                    <a:gd name="T51" fmla="*/ 125 h 130"/>
                    <a:gd name="T52" fmla="*/ 90 w 130"/>
                    <a:gd name="T53" fmla="*/ 107 h 130"/>
                    <a:gd name="T54" fmla="*/ 99 w 130"/>
                    <a:gd name="T55" fmla="*/ 100 h 130"/>
                    <a:gd name="T56" fmla="*/ 115 w 130"/>
                    <a:gd name="T57" fmla="*/ 107 h 130"/>
                    <a:gd name="T58" fmla="*/ 126 w 130"/>
                    <a:gd name="T59" fmla="*/ 88 h 130"/>
                    <a:gd name="T60" fmla="*/ 112 w 130"/>
                    <a:gd name="T61" fmla="*/ 77 h 130"/>
                    <a:gd name="T62" fmla="*/ 113 w 130"/>
                    <a:gd name="T63" fmla="*/ 66 h 130"/>
                    <a:gd name="T64" fmla="*/ 130 w 130"/>
                    <a:gd name="T65" fmla="*/ 59 h 130"/>
                    <a:gd name="T66" fmla="*/ 79 w 130"/>
                    <a:gd name="T67" fmla="*/ 92 h 130"/>
                    <a:gd name="T68" fmla="*/ 38 w 130"/>
                    <a:gd name="T69" fmla="*/ 79 h 130"/>
                    <a:gd name="T70" fmla="*/ 51 w 130"/>
                    <a:gd name="T71" fmla="*/ 38 h 130"/>
                    <a:gd name="T72" fmla="*/ 92 w 130"/>
                    <a:gd name="T73" fmla="*/ 51 h 130"/>
                    <a:gd name="T74" fmla="*/ 79 w 130"/>
                    <a:gd name="T75"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30">
                      <a:moveTo>
                        <a:pt x="130" y="59"/>
                      </a:moveTo>
                      <a:cubicBezTo>
                        <a:pt x="125" y="38"/>
                        <a:pt x="125" y="38"/>
                        <a:pt x="125" y="38"/>
                      </a:cubicBezTo>
                      <a:cubicBezTo>
                        <a:pt x="106" y="40"/>
                        <a:pt x="106" y="40"/>
                        <a:pt x="106" y="40"/>
                      </a:cubicBezTo>
                      <a:cubicBezTo>
                        <a:pt x="105" y="37"/>
                        <a:pt x="102" y="34"/>
                        <a:pt x="100" y="32"/>
                      </a:cubicBezTo>
                      <a:cubicBezTo>
                        <a:pt x="107" y="15"/>
                        <a:pt x="107" y="15"/>
                        <a:pt x="107" y="15"/>
                      </a:cubicBezTo>
                      <a:cubicBezTo>
                        <a:pt x="88" y="4"/>
                        <a:pt x="88" y="4"/>
                        <a:pt x="88" y="4"/>
                      </a:cubicBezTo>
                      <a:cubicBezTo>
                        <a:pt x="77" y="18"/>
                        <a:pt x="77" y="18"/>
                        <a:pt x="77" y="18"/>
                      </a:cubicBezTo>
                      <a:cubicBezTo>
                        <a:pt x="73" y="17"/>
                        <a:pt x="69" y="16"/>
                        <a:pt x="65" y="16"/>
                      </a:cubicBezTo>
                      <a:cubicBezTo>
                        <a:pt x="58" y="0"/>
                        <a:pt x="58" y="0"/>
                        <a:pt x="58" y="0"/>
                      </a:cubicBezTo>
                      <a:cubicBezTo>
                        <a:pt x="37" y="6"/>
                        <a:pt x="37" y="6"/>
                        <a:pt x="37" y="6"/>
                      </a:cubicBezTo>
                      <a:cubicBezTo>
                        <a:pt x="39" y="24"/>
                        <a:pt x="39" y="24"/>
                        <a:pt x="39" y="24"/>
                      </a:cubicBezTo>
                      <a:cubicBezTo>
                        <a:pt x="36" y="26"/>
                        <a:pt x="34" y="28"/>
                        <a:pt x="31" y="30"/>
                      </a:cubicBezTo>
                      <a:cubicBezTo>
                        <a:pt x="15" y="23"/>
                        <a:pt x="15" y="23"/>
                        <a:pt x="15" y="23"/>
                      </a:cubicBezTo>
                      <a:cubicBezTo>
                        <a:pt x="4" y="42"/>
                        <a:pt x="4" y="42"/>
                        <a:pt x="4" y="42"/>
                      </a:cubicBezTo>
                      <a:cubicBezTo>
                        <a:pt x="18" y="53"/>
                        <a:pt x="18" y="53"/>
                        <a:pt x="18" y="53"/>
                      </a:cubicBezTo>
                      <a:cubicBezTo>
                        <a:pt x="17" y="56"/>
                        <a:pt x="16" y="60"/>
                        <a:pt x="16" y="64"/>
                      </a:cubicBezTo>
                      <a:cubicBezTo>
                        <a:pt x="0" y="71"/>
                        <a:pt x="0" y="71"/>
                        <a:pt x="0" y="71"/>
                      </a:cubicBezTo>
                      <a:cubicBezTo>
                        <a:pt x="5" y="92"/>
                        <a:pt x="5" y="92"/>
                        <a:pt x="5" y="92"/>
                      </a:cubicBezTo>
                      <a:cubicBezTo>
                        <a:pt x="23" y="90"/>
                        <a:pt x="23" y="90"/>
                        <a:pt x="23" y="90"/>
                      </a:cubicBezTo>
                      <a:cubicBezTo>
                        <a:pt x="25" y="93"/>
                        <a:pt x="27" y="96"/>
                        <a:pt x="30" y="99"/>
                      </a:cubicBezTo>
                      <a:cubicBezTo>
                        <a:pt x="23" y="115"/>
                        <a:pt x="23" y="115"/>
                        <a:pt x="23" y="115"/>
                      </a:cubicBezTo>
                      <a:cubicBezTo>
                        <a:pt x="42" y="126"/>
                        <a:pt x="42" y="126"/>
                        <a:pt x="42" y="126"/>
                      </a:cubicBezTo>
                      <a:cubicBezTo>
                        <a:pt x="53" y="112"/>
                        <a:pt x="53" y="112"/>
                        <a:pt x="53" y="112"/>
                      </a:cubicBezTo>
                      <a:cubicBezTo>
                        <a:pt x="57" y="113"/>
                        <a:pt x="60" y="114"/>
                        <a:pt x="64" y="114"/>
                      </a:cubicBezTo>
                      <a:cubicBezTo>
                        <a:pt x="71" y="130"/>
                        <a:pt x="71" y="130"/>
                        <a:pt x="71" y="130"/>
                      </a:cubicBezTo>
                      <a:cubicBezTo>
                        <a:pt x="92" y="125"/>
                        <a:pt x="92" y="125"/>
                        <a:pt x="92" y="125"/>
                      </a:cubicBezTo>
                      <a:cubicBezTo>
                        <a:pt x="90" y="107"/>
                        <a:pt x="90" y="107"/>
                        <a:pt x="90" y="107"/>
                      </a:cubicBezTo>
                      <a:cubicBezTo>
                        <a:pt x="93" y="105"/>
                        <a:pt x="96" y="103"/>
                        <a:pt x="99" y="100"/>
                      </a:cubicBezTo>
                      <a:cubicBezTo>
                        <a:pt x="115" y="107"/>
                        <a:pt x="115" y="107"/>
                        <a:pt x="115" y="107"/>
                      </a:cubicBezTo>
                      <a:cubicBezTo>
                        <a:pt x="126" y="88"/>
                        <a:pt x="126" y="88"/>
                        <a:pt x="126" y="88"/>
                      </a:cubicBezTo>
                      <a:cubicBezTo>
                        <a:pt x="112" y="77"/>
                        <a:pt x="112" y="77"/>
                        <a:pt x="112" y="77"/>
                      </a:cubicBezTo>
                      <a:cubicBezTo>
                        <a:pt x="113" y="73"/>
                        <a:pt x="113" y="70"/>
                        <a:pt x="113" y="66"/>
                      </a:cubicBezTo>
                      <a:lnTo>
                        <a:pt x="130" y="59"/>
                      </a:lnTo>
                      <a:close/>
                      <a:moveTo>
                        <a:pt x="79" y="92"/>
                      </a:moveTo>
                      <a:cubicBezTo>
                        <a:pt x="64" y="99"/>
                        <a:pt x="46" y="94"/>
                        <a:pt x="38" y="79"/>
                      </a:cubicBezTo>
                      <a:cubicBezTo>
                        <a:pt x="31" y="64"/>
                        <a:pt x="37" y="46"/>
                        <a:pt x="51" y="38"/>
                      </a:cubicBezTo>
                      <a:cubicBezTo>
                        <a:pt x="66" y="30"/>
                        <a:pt x="84" y="36"/>
                        <a:pt x="92" y="51"/>
                      </a:cubicBezTo>
                      <a:cubicBezTo>
                        <a:pt x="100" y="66"/>
                        <a:pt x="94" y="84"/>
                        <a:pt x="79" y="92"/>
                      </a:cubicBezTo>
                    </a:path>
                  </a:pathLst>
                </a:custGeom>
                <a:solidFill>
                  <a:srgbClr val="FFFFFF"/>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54" name="Freeform 19">
                  <a:extLst>
                    <a:ext uri="{FF2B5EF4-FFF2-40B4-BE49-F238E27FC236}">
                      <a16:creationId xmlns:a16="http://schemas.microsoft.com/office/drawing/2014/main" id="{6FFAAA3D-9EE7-486A-9E51-A08674203B61}"/>
                    </a:ext>
                  </a:extLst>
                </p:cNvPr>
                <p:cNvSpPr>
                  <a:spLocks noEditPoints="1"/>
                </p:cNvSpPr>
                <p:nvPr/>
              </p:nvSpPr>
              <p:spPr bwMode="auto">
                <a:xfrm>
                  <a:off x="9798847" y="1593833"/>
                  <a:ext cx="192088" cy="195263"/>
                </a:xfrm>
                <a:custGeom>
                  <a:avLst/>
                  <a:gdLst>
                    <a:gd name="T0" fmla="*/ 93 w 93"/>
                    <a:gd name="T1" fmla="*/ 43 h 94"/>
                    <a:gd name="T2" fmla="*/ 90 w 93"/>
                    <a:gd name="T3" fmla="*/ 28 h 94"/>
                    <a:gd name="T4" fmla="*/ 76 w 93"/>
                    <a:gd name="T5" fmla="*/ 29 h 94"/>
                    <a:gd name="T6" fmla="*/ 72 w 93"/>
                    <a:gd name="T7" fmla="*/ 23 h 94"/>
                    <a:gd name="T8" fmla="*/ 77 w 93"/>
                    <a:gd name="T9" fmla="*/ 11 h 94"/>
                    <a:gd name="T10" fmla="*/ 63 w 93"/>
                    <a:gd name="T11" fmla="*/ 3 h 94"/>
                    <a:gd name="T12" fmla="*/ 55 w 93"/>
                    <a:gd name="T13" fmla="*/ 13 h 94"/>
                    <a:gd name="T14" fmla="*/ 46 w 93"/>
                    <a:gd name="T15" fmla="*/ 12 h 94"/>
                    <a:gd name="T16" fmla="*/ 41 w 93"/>
                    <a:gd name="T17" fmla="*/ 0 h 94"/>
                    <a:gd name="T18" fmla="*/ 26 w 93"/>
                    <a:gd name="T19" fmla="*/ 5 h 94"/>
                    <a:gd name="T20" fmla="*/ 28 w 93"/>
                    <a:gd name="T21" fmla="*/ 17 h 94"/>
                    <a:gd name="T22" fmla="*/ 22 w 93"/>
                    <a:gd name="T23" fmla="*/ 22 h 94"/>
                    <a:gd name="T24" fmla="*/ 11 w 93"/>
                    <a:gd name="T25" fmla="*/ 17 h 94"/>
                    <a:gd name="T26" fmla="*/ 2 w 93"/>
                    <a:gd name="T27" fmla="*/ 30 h 94"/>
                    <a:gd name="T28" fmla="*/ 12 w 93"/>
                    <a:gd name="T29" fmla="*/ 38 h 94"/>
                    <a:gd name="T30" fmla="*/ 11 w 93"/>
                    <a:gd name="T31" fmla="*/ 47 h 94"/>
                    <a:gd name="T32" fmla="*/ 0 w 93"/>
                    <a:gd name="T33" fmla="*/ 51 h 94"/>
                    <a:gd name="T34" fmla="*/ 3 w 93"/>
                    <a:gd name="T35" fmla="*/ 67 h 94"/>
                    <a:gd name="T36" fmla="*/ 16 w 93"/>
                    <a:gd name="T37" fmla="*/ 65 h 94"/>
                    <a:gd name="T38" fmla="*/ 21 w 93"/>
                    <a:gd name="T39" fmla="*/ 72 h 94"/>
                    <a:gd name="T40" fmla="*/ 16 w 93"/>
                    <a:gd name="T41" fmla="*/ 83 h 94"/>
                    <a:gd name="T42" fmla="*/ 30 w 93"/>
                    <a:gd name="T43" fmla="*/ 91 h 94"/>
                    <a:gd name="T44" fmla="*/ 38 w 93"/>
                    <a:gd name="T45" fmla="*/ 82 h 94"/>
                    <a:gd name="T46" fmla="*/ 46 w 93"/>
                    <a:gd name="T47" fmla="*/ 83 h 94"/>
                    <a:gd name="T48" fmla="*/ 51 w 93"/>
                    <a:gd name="T49" fmla="*/ 94 h 94"/>
                    <a:gd name="T50" fmla="*/ 66 w 93"/>
                    <a:gd name="T51" fmla="*/ 90 h 94"/>
                    <a:gd name="T52" fmla="*/ 65 w 93"/>
                    <a:gd name="T53" fmla="*/ 77 h 94"/>
                    <a:gd name="T54" fmla="*/ 71 w 93"/>
                    <a:gd name="T55" fmla="*/ 73 h 94"/>
                    <a:gd name="T56" fmla="*/ 83 w 93"/>
                    <a:gd name="T57" fmla="*/ 77 h 94"/>
                    <a:gd name="T58" fmla="*/ 91 w 93"/>
                    <a:gd name="T59" fmla="*/ 64 h 94"/>
                    <a:gd name="T60" fmla="*/ 81 w 93"/>
                    <a:gd name="T61" fmla="*/ 56 h 94"/>
                    <a:gd name="T62" fmla="*/ 82 w 93"/>
                    <a:gd name="T63" fmla="*/ 48 h 94"/>
                    <a:gd name="T64" fmla="*/ 93 w 93"/>
                    <a:gd name="T65" fmla="*/ 43 h 94"/>
                    <a:gd name="T66" fmla="*/ 57 w 93"/>
                    <a:gd name="T67" fmla="*/ 67 h 94"/>
                    <a:gd name="T68" fmla="*/ 27 w 93"/>
                    <a:gd name="T69" fmla="*/ 57 h 94"/>
                    <a:gd name="T70" fmla="*/ 37 w 93"/>
                    <a:gd name="T71" fmla="*/ 28 h 94"/>
                    <a:gd name="T72" fmla="*/ 66 w 93"/>
                    <a:gd name="T73" fmla="*/ 37 h 94"/>
                    <a:gd name="T74" fmla="*/ 57 w 93"/>
                    <a:gd name="T75" fmla="*/ 6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 h="94">
                      <a:moveTo>
                        <a:pt x="93" y="43"/>
                      </a:moveTo>
                      <a:cubicBezTo>
                        <a:pt x="90" y="28"/>
                        <a:pt x="90" y="28"/>
                        <a:pt x="90" y="28"/>
                      </a:cubicBezTo>
                      <a:cubicBezTo>
                        <a:pt x="76" y="29"/>
                        <a:pt x="76" y="29"/>
                        <a:pt x="76" y="29"/>
                      </a:cubicBezTo>
                      <a:cubicBezTo>
                        <a:pt x="75" y="27"/>
                        <a:pt x="74" y="25"/>
                        <a:pt x="72" y="23"/>
                      </a:cubicBezTo>
                      <a:cubicBezTo>
                        <a:pt x="77" y="11"/>
                        <a:pt x="77" y="11"/>
                        <a:pt x="77" y="11"/>
                      </a:cubicBezTo>
                      <a:cubicBezTo>
                        <a:pt x="63" y="3"/>
                        <a:pt x="63" y="3"/>
                        <a:pt x="63" y="3"/>
                      </a:cubicBezTo>
                      <a:cubicBezTo>
                        <a:pt x="55" y="13"/>
                        <a:pt x="55" y="13"/>
                        <a:pt x="55" y="13"/>
                      </a:cubicBezTo>
                      <a:cubicBezTo>
                        <a:pt x="52" y="12"/>
                        <a:pt x="49" y="12"/>
                        <a:pt x="46" y="12"/>
                      </a:cubicBezTo>
                      <a:cubicBezTo>
                        <a:pt x="41" y="0"/>
                        <a:pt x="41" y="0"/>
                        <a:pt x="41" y="0"/>
                      </a:cubicBezTo>
                      <a:cubicBezTo>
                        <a:pt x="26" y="5"/>
                        <a:pt x="26" y="5"/>
                        <a:pt x="26" y="5"/>
                      </a:cubicBezTo>
                      <a:cubicBezTo>
                        <a:pt x="28" y="17"/>
                        <a:pt x="28" y="17"/>
                        <a:pt x="28" y="17"/>
                      </a:cubicBezTo>
                      <a:cubicBezTo>
                        <a:pt x="26" y="19"/>
                        <a:pt x="24" y="20"/>
                        <a:pt x="22" y="22"/>
                      </a:cubicBezTo>
                      <a:cubicBezTo>
                        <a:pt x="11" y="17"/>
                        <a:pt x="11" y="17"/>
                        <a:pt x="11" y="17"/>
                      </a:cubicBezTo>
                      <a:cubicBezTo>
                        <a:pt x="2" y="30"/>
                        <a:pt x="2" y="30"/>
                        <a:pt x="2" y="30"/>
                      </a:cubicBezTo>
                      <a:cubicBezTo>
                        <a:pt x="12" y="38"/>
                        <a:pt x="12" y="38"/>
                        <a:pt x="12" y="38"/>
                      </a:cubicBezTo>
                      <a:cubicBezTo>
                        <a:pt x="11" y="41"/>
                        <a:pt x="11" y="44"/>
                        <a:pt x="11" y="47"/>
                      </a:cubicBezTo>
                      <a:cubicBezTo>
                        <a:pt x="0" y="51"/>
                        <a:pt x="0" y="51"/>
                        <a:pt x="0" y="51"/>
                      </a:cubicBezTo>
                      <a:cubicBezTo>
                        <a:pt x="3" y="67"/>
                        <a:pt x="3" y="67"/>
                        <a:pt x="3" y="67"/>
                      </a:cubicBezTo>
                      <a:cubicBezTo>
                        <a:pt x="16" y="65"/>
                        <a:pt x="16" y="65"/>
                        <a:pt x="16" y="65"/>
                      </a:cubicBezTo>
                      <a:cubicBezTo>
                        <a:pt x="17" y="68"/>
                        <a:pt x="19" y="70"/>
                        <a:pt x="21" y="72"/>
                      </a:cubicBezTo>
                      <a:cubicBezTo>
                        <a:pt x="16" y="83"/>
                        <a:pt x="16" y="83"/>
                        <a:pt x="16" y="83"/>
                      </a:cubicBezTo>
                      <a:cubicBezTo>
                        <a:pt x="30" y="91"/>
                        <a:pt x="30" y="91"/>
                        <a:pt x="30" y="91"/>
                      </a:cubicBezTo>
                      <a:cubicBezTo>
                        <a:pt x="38" y="82"/>
                        <a:pt x="38" y="82"/>
                        <a:pt x="38" y="82"/>
                      </a:cubicBezTo>
                      <a:cubicBezTo>
                        <a:pt x="40" y="82"/>
                        <a:pt x="43" y="83"/>
                        <a:pt x="46" y="83"/>
                      </a:cubicBezTo>
                      <a:cubicBezTo>
                        <a:pt x="51" y="94"/>
                        <a:pt x="51" y="94"/>
                        <a:pt x="51" y="94"/>
                      </a:cubicBezTo>
                      <a:cubicBezTo>
                        <a:pt x="66" y="90"/>
                        <a:pt x="66" y="90"/>
                        <a:pt x="66" y="90"/>
                      </a:cubicBezTo>
                      <a:cubicBezTo>
                        <a:pt x="65" y="77"/>
                        <a:pt x="65" y="77"/>
                        <a:pt x="65" y="77"/>
                      </a:cubicBezTo>
                      <a:cubicBezTo>
                        <a:pt x="67" y="76"/>
                        <a:pt x="69" y="74"/>
                        <a:pt x="71" y="73"/>
                      </a:cubicBezTo>
                      <a:cubicBezTo>
                        <a:pt x="83" y="77"/>
                        <a:pt x="83" y="77"/>
                        <a:pt x="83" y="77"/>
                      </a:cubicBezTo>
                      <a:cubicBezTo>
                        <a:pt x="91" y="64"/>
                        <a:pt x="91" y="64"/>
                        <a:pt x="91" y="64"/>
                      </a:cubicBezTo>
                      <a:cubicBezTo>
                        <a:pt x="81" y="56"/>
                        <a:pt x="81" y="56"/>
                        <a:pt x="81" y="56"/>
                      </a:cubicBezTo>
                      <a:cubicBezTo>
                        <a:pt x="81" y="53"/>
                        <a:pt x="81" y="51"/>
                        <a:pt x="82" y="48"/>
                      </a:cubicBezTo>
                      <a:lnTo>
                        <a:pt x="93" y="43"/>
                      </a:lnTo>
                      <a:close/>
                      <a:moveTo>
                        <a:pt x="57" y="67"/>
                      </a:moveTo>
                      <a:cubicBezTo>
                        <a:pt x="46" y="72"/>
                        <a:pt x="33" y="68"/>
                        <a:pt x="27" y="57"/>
                      </a:cubicBezTo>
                      <a:cubicBezTo>
                        <a:pt x="22" y="46"/>
                        <a:pt x="26" y="33"/>
                        <a:pt x="37" y="28"/>
                      </a:cubicBezTo>
                      <a:cubicBezTo>
                        <a:pt x="47" y="22"/>
                        <a:pt x="61" y="26"/>
                        <a:pt x="66" y="37"/>
                      </a:cubicBezTo>
                      <a:cubicBezTo>
                        <a:pt x="72" y="48"/>
                        <a:pt x="67" y="61"/>
                        <a:pt x="57" y="67"/>
                      </a:cubicBezTo>
                    </a:path>
                  </a:pathLst>
                </a:custGeom>
                <a:solidFill>
                  <a:srgbClr val="FFFFFF"/>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55" name="Freeform: Shape 254">
                  <a:extLst>
                    <a:ext uri="{FF2B5EF4-FFF2-40B4-BE49-F238E27FC236}">
                      <a16:creationId xmlns:a16="http://schemas.microsoft.com/office/drawing/2014/main" id="{CD768FA0-7D29-43A8-9C8C-DE84629998D1}"/>
                    </a:ext>
                  </a:extLst>
                </p:cNvPr>
                <p:cNvSpPr/>
                <p:nvPr/>
              </p:nvSpPr>
              <p:spPr bwMode="auto">
                <a:xfrm flipV="1">
                  <a:off x="9784163" y="1783146"/>
                  <a:ext cx="470694" cy="302022"/>
                </a:xfrm>
                <a:custGeom>
                  <a:avLst/>
                  <a:gdLst>
                    <a:gd name="connsiteX0" fmla="*/ 133116 w 470694"/>
                    <a:gd name="connsiteY0" fmla="*/ 259100 h 302022"/>
                    <a:gd name="connsiteX1" fmla="*/ 122539 w 470694"/>
                    <a:gd name="connsiteY1" fmla="*/ 248523 h 302022"/>
                    <a:gd name="connsiteX2" fmla="*/ 122539 w 470694"/>
                    <a:gd name="connsiteY2" fmla="*/ 206217 h 302022"/>
                    <a:gd name="connsiteX3" fmla="*/ 133116 w 470694"/>
                    <a:gd name="connsiteY3" fmla="*/ 195640 h 302022"/>
                    <a:gd name="connsiteX4" fmla="*/ 337578 w 470694"/>
                    <a:gd name="connsiteY4" fmla="*/ 195640 h 302022"/>
                    <a:gd name="connsiteX5" fmla="*/ 348155 w 470694"/>
                    <a:gd name="connsiteY5" fmla="*/ 206217 h 302022"/>
                    <a:gd name="connsiteX6" fmla="*/ 348155 w 470694"/>
                    <a:gd name="connsiteY6" fmla="*/ 248523 h 302022"/>
                    <a:gd name="connsiteX7" fmla="*/ 337578 w 470694"/>
                    <a:gd name="connsiteY7" fmla="*/ 259100 h 302022"/>
                    <a:gd name="connsiteX8" fmla="*/ 0 w 470694"/>
                    <a:gd name="connsiteY8" fmla="*/ 302022 h 302022"/>
                    <a:gd name="connsiteX9" fmla="*/ 470694 w 470694"/>
                    <a:gd name="connsiteY9" fmla="*/ 302022 h 302022"/>
                    <a:gd name="connsiteX10" fmla="*/ 470694 w 470694"/>
                    <a:gd name="connsiteY10" fmla="*/ 45575 h 302022"/>
                    <a:gd name="connsiteX11" fmla="*/ 425119 w 470694"/>
                    <a:gd name="connsiteY11" fmla="*/ 0 h 302022"/>
                    <a:gd name="connsiteX12" fmla="*/ 45575 w 470694"/>
                    <a:gd name="connsiteY12" fmla="*/ 0 h 302022"/>
                    <a:gd name="connsiteX13" fmla="*/ 0 w 470694"/>
                    <a:gd name="connsiteY13" fmla="*/ 45575 h 30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0694" h="302022">
                      <a:moveTo>
                        <a:pt x="133116" y="259100"/>
                      </a:moveTo>
                      <a:cubicBezTo>
                        <a:pt x="127274" y="259100"/>
                        <a:pt x="122539" y="254365"/>
                        <a:pt x="122539" y="248523"/>
                      </a:cubicBezTo>
                      <a:lnTo>
                        <a:pt x="122539" y="206217"/>
                      </a:lnTo>
                      <a:cubicBezTo>
                        <a:pt x="122539" y="200375"/>
                        <a:pt x="127274" y="195640"/>
                        <a:pt x="133116" y="195640"/>
                      </a:cubicBezTo>
                      <a:lnTo>
                        <a:pt x="337578" y="195640"/>
                      </a:lnTo>
                      <a:cubicBezTo>
                        <a:pt x="343420" y="195640"/>
                        <a:pt x="348155" y="200375"/>
                        <a:pt x="348155" y="206217"/>
                      </a:cubicBezTo>
                      <a:lnTo>
                        <a:pt x="348155" y="248523"/>
                      </a:lnTo>
                      <a:cubicBezTo>
                        <a:pt x="348155" y="254365"/>
                        <a:pt x="343420" y="259100"/>
                        <a:pt x="337578" y="259100"/>
                      </a:cubicBezTo>
                      <a:close/>
                      <a:moveTo>
                        <a:pt x="0" y="302022"/>
                      </a:moveTo>
                      <a:lnTo>
                        <a:pt x="470694" y="302022"/>
                      </a:lnTo>
                      <a:lnTo>
                        <a:pt x="470694" y="45575"/>
                      </a:lnTo>
                      <a:cubicBezTo>
                        <a:pt x="470694" y="20405"/>
                        <a:pt x="450289" y="0"/>
                        <a:pt x="425119" y="0"/>
                      </a:cubicBezTo>
                      <a:lnTo>
                        <a:pt x="45575" y="0"/>
                      </a:lnTo>
                      <a:cubicBezTo>
                        <a:pt x="20405" y="0"/>
                        <a:pt x="0" y="20405"/>
                        <a:pt x="0" y="45575"/>
                      </a:cubicBezTo>
                      <a:close/>
                    </a:path>
                  </a:pathLst>
                </a:custGeom>
                <a:solidFill>
                  <a:srgbClr val="FFFFFF"/>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sp>
          <p:nvSpPr>
            <p:cNvPr id="247" name="Rectangle 246">
              <a:extLst>
                <a:ext uri="{FF2B5EF4-FFF2-40B4-BE49-F238E27FC236}">
                  <a16:creationId xmlns:a16="http://schemas.microsoft.com/office/drawing/2014/main" id="{4EF33313-8874-49F0-807C-3F71EE1BB8E9}"/>
                </a:ext>
              </a:extLst>
            </p:cNvPr>
            <p:cNvSpPr/>
            <p:nvPr/>
          </p:nvSpPr>
          <p:spPr>
            <a:xfrm>
              <a:off x="10360868" y="1559752"/>
              <a:ext cx="1035796" cy="431400"/>
            </a:xfrm>
            <a:prstGeom prst="rect">
              <a:avLst/>
            </a:prstGeom>
          </p:spPr>
          <p:txBody>
            <a:bodyPr wrap="none">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24"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t>Line of</a:t>
              </a:r>
              <a:br>
                <a:rPr kumimoji="0" lang="en-US" sz="1224"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br>
              <a:r>
                <a:rPr kumimoji="0" lang="en-US" sz="1224" b="0" i="0" u="none" strike="noStrike" kern="0" cap="none" spc="-51" normalizeH="0" baseline="0" noProof="0" dirty="0">
                  <a:ln>
                    <a:noFill/>
                  </a:ln>
                  <a:solidFill>
                    <a:srgbClr val="FFFFFF"/>
                  </a:solidFill>
                  <a:effectLst/>
                  <a:uLnTx/>
                  <a:uFillTx/>
                  <a:latin typeface="Segoe UI Semilight"/>
                  <a:ea typeface="Segoe UI" pitchFamily="34" charset="0"/>
                  <a:cs typeface="Segoe UI Semibold" panose="020B0702040204020203" pitchFamily="34" charset="0"/>
                </a:rPr>
                <a:t>business apps</a:t>
              </a:r>
              <a:endParaRPr kumimoji="0" lang="en-US" sz="1224" b="0" i="0" u="none" strike="noStrike" kern="0" cap="none" spc="0" normalizeH="0" baseline="0" noProof="0" dirty="0">
                <a:ln>
                  <a:noFill/>
                </a:ln>
                <a:solidFill>
                  <a:srgbClr val="353535"/>
                </a:solidFill>
                <a:effectLst/>
                <a:uLnTx/>
                <a:uFillTx/>
                <a:latin typeface="Segoe UI Semilight"/>
              </a:endParaRPr>
            </a:p>
          </p:txBody>
        </p:sp>
      </p:grpSp>
      <p:grpSp>
        <p:nvGrpSpPr>
          <p:cNvPr id="282" name="Group 281">
            <a:extLst>
              <a:ext uri="{FF2B5EF4-FFF2-40B4-BE49-F238E27FC236}">
                <a16:creationId xmlns:a16="http://schemas.microsoft.com/office/drawing/2014/main" id="{CE211E54-7D64-4EA6-8DBD-DFB101F801AF}"/>
              </a:ext>
            </a:extLst>
          </p:cNvPr>
          <p:cNvGrpSpPr/>
          <p:nvPr/>
        </p:nvGrpSpPr>
        <p:grpSpPr>
          <a:xfrm>
            <a:off x="10760288" y="5431379"/>
            <a:ext cx="1403784" cy="992121"/>
            <a:chOff x="5279082" y="4834241"/>
            <a:chExt cx="1376384" cy="972756"/>
          </a:xfrm>
        </p:grpSpPr>
        <p:sp>
          <p:nvSpPr>
            <p:cNvPr id="283" name="Freeform 7">
              <a:extLst>
                <a:ext uri="{FF2B5EF4-FFF2-40B4-BE49-F238E27FC236}">
                  <a16:creationId xmlns:a16="http://schemas.microsoft.com/office/drawing/2014/main" id="{F91ECC20-A71D-484D-BF36-D73D471A9195}"/>
                </a:ext>
              </a:extLst>
            </p:cNvPr>
            <p:cNvSpPr>
              <a:spLocks noChangeAspect="1" noEditPoints="1"/>
            </p:cNvSpPr>
            <p:nvPr/>
          </p:nvSpPr>
          <p:spPr bwMode="auto">
            <a:xfrm>
              <a:off x="5761779"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rgbClr val="0078D7"/>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84" name="Rectangle 283">
              <a:extLst>
                <a:ext uri="{FF2B5EF4-FFF2-40B4-BE49-F238E27FC236}">
                  <a16:creationId xmlns:a16="http://schemas.microsoft.com/office/drawing/2014/main" id="{A2462966-71BB-484D-B0D4-747E4EEE38D6}"/>
                </a:ext>
              </a:extLst>
            </p:cNvPr>
            <p:cNvSpPr/>
            <p:nvPr/>
          </p:nvSpPr>
          <p:spPr>
            <a:xfrm>
              <a:off x="5279082" y="5337894"/>
              <a:ext cx="1376384" cy="469103"/>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dirty="0">
                  <a:ln>
                    <a:noFill/>
                  </a:ln>
                  <a:solidFill>
                    <a:srgbClr val="FFFFFF"/>
                  </a:solidFill>
                  <a:effectLst/>
                  <a:uLnTx/>
                  <a:uFillTx/>
                  <a:latin typeface="Segoe UI Semilight"/>
                </a:rPr>
                <a:t>Other Identity Provider* accounts</a:t>
              </a:r>
              <a:endParaRPr kumimoji="0" lang="en-US" sz="1224" b="0" i="0" u="none" strike="noStrike" kern="0" cap="none" spc="0" normalizeH="0" baseline="0" noProof="0" dirty="0">
                <a:ln>
                  <a:noFill/>
                </a:ln>
                <a:solidFill>
                  <a:srgbClr val="FFFFFF"/>
                </a:solidFill>
                <a:effectLst/>
                <a:uLnTx/>
                <a:uFillTx/>
                <a:latin typeface="Segoe UI Semilight"/>
              </a:endParaRPr>
            </a:p>
          </p:txBody>
        </p:sp>
      </p:grpSp>
      <p:grpSp>
        <p:nvGrpSpPr>
          <p:cNvPr id="285" name="Group 284">
            <a:extLst>
              <a:ext uri="{FF2B5EF4-FFF2-40B4-BE49-F238E27FC236}">
                <a16:creationId xmlns:a16="http://schemas.microsoft.com/office/drawing/2014/main" id="{23DA9877-4DC8-4533-BF70-2DE46F364AB0}"/>
              </a:ext>
            </a:extLst>
          </p:cNvPr>
          <p:cNvGrpSpPr/>
          <p:nvPr/>
        </p:nvGrpSpPr>
        <p:grpSpPr>
          <a:xfrm>
            <a:off x="9786815" y="5431379"/>
            <a:ext cx="932603" cy="992121"/>
            <a:chOff x="10389002" y="4834241"/>
            <a:chExt cx="914400" cy="972756"/>
          </a:xfrm>
        </p:grpSpPr>
        <p:sp>
          <p:nvSpPr>
            <p:cNvPr id="286" name="Freeform 7">
              <a:extLst>
                <a:ext uri="{FF2B5EF4-FFF2-40B4-BE49-F238E27FC236}">
                  <a16:creationId xmlns:a16="http://schemas.microsoft.com/office/drawing/2014/main" id="{E803C4A0-3280-49AF-BEF4-95CB25E4C4B8}"/>
                </a:ext>
              </a:extLst>
            </p:cNvPr>
            <p:cNvSpPr>
              <a:spLocks noChangeAspect="1" noEditPoints="1"/>
            </p:cNvSpPr>
            <p:nvPr/>
          </p:nvSpPr>
          <p:spPr bwMode="auto">
            <a:xfrm>
              <a:off x="10621493"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87" name="Rectangle 286">
              <a:extLst>
                <a:ext uri="{FF2B5EF4-FFF2-40B4-BE49-F238E27FC236}">
                  <a16:creationId xmlns:a16="http://schemas.microsoft.com/office/drawing/2014/main" id="{4D82B75B-AC24-4197-AB64-4BCEDF95F913}"/>
                </a:ext>
              </a:extLst>
            </p:cNvPr>
            <p:cNvSpPr/>
            <p:nvPr/>
          </p:nvSpPr>
          <p:spPr>
            <a:xfrm>
              <a:off x="10389002" y="5337894"/>
              <a:ext cx="914400" cy="469103"/>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dirty="0">
                  <a:ln>
                    <a:noFill/>
                  </a:ln>
                  <a:solidFill>
                    <a:srgbClr val="FFFFFF"/>
                  </a:solidFill>
                  <a:effectLst/>
                  <a:uLnTx/>
                  <a:uFillTx/>
                  <a:latin typeface="Segoe UI Semilight"/>
                </a:rPr>
                <a:t>Employee accounts</a:t>
              </a:r>
              <a:endParaRPr kumimoji="0" lang="en-US" sz="1224" b="0" i="0" u="none" strike="noStrike" kern="0" cap="none" spc="0" normalizeH="0" baseline="0" noProof="0" dirty="0">
                <a:ln>
                  <a:noFill/>
                </a:ln>
                <a:solidFill>
                  <a:srgbClr val="FFFFFF"/>
                </a:solidFill>
                <a:effectLst/>
                <a:uLnTx/>
                <a:uFillTx/>
                <a:latin typeface="Segoe UI Semilight"/>
              </a:endParaRPr>
            </a:p>
          </p:txBody>
        </p:sp>
      </p:grpSp>
      <p:grpSp>
        <p:nvGrpSpPr>
          <p:cNvPr id="288" name="Group 287">
            <a:extLst>
              <a:ext uri="{FF2B5EF4-FFF2-40B4-BE49-F238E27FC236}">
                <a16:creationId xmlns:a16="http://schemas.microsoft.com/office/drawing/2014/main" id="{E48C09B6-4ACA-4385-99C0-B42B2801948A}"/>
              </a:ext>
            </a:extLst>
          </p:cNvPr>
          <p:cNvGrpSpPr/>
          <p:nvPr/>
        </p:nvGrpSpPr>
        <p:grpSpPr>
          <a:xfrm>
            <a:off x="8538040" y="5431379"/>
            <a:ext cx="932603" cy="992121"/>
            <a:chOff x="9161145" y="4834241"/>
            <a:chExt cx="914400" cy="972756"/>
          </a:xfrm>
        </p:grpSpPr>
        <p:sp>
          <p:nvSpPr>
            <p:cNvPr id="289" name="Freeform 7">
              <a:extLst>
                <a:ext uri="{FF2B5EF4-FFF2-40B4-BE49-F238E27FC236}">
                  <a16:creationId xmlns:a16="http://schemas.microsoft.com/office/drawing/2014/main" id="{3BD5D025-B662-46E2-BC93-CB954476EA44}"/>
                </a:ext>
              </a:extLst>
            </p:cNvPr>
            <p:cNvSpPr>
              <a:spLocks noChangeAspect="1" noEditPoints="1"/>
            </p:cNvSpPr>
            <p:nvPr/>
          </p:nvSpPr>
          <p:spPr bwMode="auto">
            <a:xfrm>
              <a:off x="9398441"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rgbClr val="C00000"/>
            </a:solidFill>
            <a:ln>
              <a:noFill/>
            </a:ln>
          </p:spPr>
          <p:txBody>
            <a:bodyPr vert="horz" wrap="square" lIns="93260" tIns="46630" rIns="93260" bIns="46630" numCol="1" anchor="t" anchorCtr="0" compatLnSpc="1">
              <a:prstTxWarp prst="textNoShape">
                <a:avLst/>
              </a:prstTxWarp>
            </a:bodyPr>
            <a:lstStyle/>
            <a:p>
              <a:pPr>
                <a:defRPr/>
              </a:pPr>
              <a:endParaRPr lang="en-US" sz="1836">
                <a:solidFill>
                  <a:srgbClr val="353535"/>
                </a:solidFill>
                <a:latin typeface="Segoe UI Semilight"/>
              </a:endParaRPr>
            </a:p>
          </p:txBody>
        </p:sp>
        <p:sp>
          <p:nvSpPr>
            <p:cNvPr id="290" name="Rectangle 289">
              <a:extLst>
                <a:ext uri="{FF2B5EF4-FFF2-40B4-BE49-F238E27FC236}">
                  <a16:creationId xmlns:a16="http://schemas.microsoft.com/office/drawing/2014/main" id="{1D2D05F4-B220-4A25-95DB-500A20FC6F99}"/>
                </a:ext>
              </a:extLst>
            </p:cNvPr>
            <p:cNvSpPr/>
            <p:nvPr/>
          </p:nvSpPr>
          <p:spPr>
            <a:xfrm>
              <a:off x="9161145" y="5337894"/>
              <a:ext cx="914400" cy="469103"/>
            </a:xfrm>
            <a:prstGeom prst="rect">
              <a:avLst/>
            </a:prstGeom>
          </p:spPr>
          <p:txBody>
            <a:bodyPr wrap="square">
              <a:spAutoFit/>
            </a:bodyPr>
            <a:lstStyle/>
            <a:p>
              <a:pPr algn="ctr">
                <a:defRPr/>
              </a:pPr>
              <a:r>
                <a:rPr lang="en-US" sz="1224" spc="-51" dirty="0">
                  <a:solidFill>
                    <a:srgbClr val="FFFFFF"/>
                  </a:solidFill>
                  <a:latin typeface="Segoe UI Semilight"/>
                </a:rPr>
                <a:t>Google* accounts</a:t>
              </a:r>
            </a:p>
          </p:txBody>
        </p:sp>
      </p:grpSp>
      <p:grpSp>
        <p:nvGrpSpPr>
          <p:cNvPr id="291" name="Group 290">
            <a:extLst>
              <a:ext uri="{FF2B5EF4-FFF2-40B4-BE49-F238E27FC236}">
                <a16:creationId xmlns:a16="http://schemas.microsoft.com/office/drawing/2014/main" id="{955648AD-2C99-4C07-A92B-4166D44EAD5B}"/>
              </a:ext>
            </a:extLst>
          </p:cNvPr>
          <p:cNvGrpSpPr/>
          <p:nvPr/>
        </p:nvGrpSpPr>
        <p:grpSpPr>
          <a:xfrm>
            <a:off x="7289263" y="5431379"/>
            <a:ext cx="932603" cy="992121"/>
            <a:chOff x="7933290" y="4834241"/>
            <a:chExt cx="914400" cy="972756"/>
          </a:xfrm>
        </p:grpSpPr>
        <p:sp>
          <p:nvSpPr>
            <p:cNvPr id="292" name="Freeform 7">
              <a:extLst>
                <a:ext uri="{FF2B5EF4-FFF2-40B4-BE49-F238E27FC236}">
                  <a16:creationId xmlns:a16="http://schemas.microsoft.com/office/drawing/2014/main" id="{E98FFFCC-BD8C-437D-B04F-F6FBF2A7FD90}"/>
                </a:ext>
              </a:extLst>
            </p:cNvPr>
            <p:cNvSpPr>
              <a:spLocks noChangeAspect="1" noEditPoints="1"/>
            </p:cNvSpPr>
            <p:nvPr/>
          </p:nvSpPr>
          <p:spPr bwMode="auto">
            <a:xfrm>
              <a:off x="8175389"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rgbClr val="865FC5"/>
            </a:solidFill>
            <a:ln>
              <a:noFill/>
            </a:ln>
          </p:spPr>
          <p:txBody>
            <a:bodyPr vert="horz" wrap="square" lIns="93260" tIns="46630" rIns="93260" bIns="46630" numCol="1" anchor="t" anchorCtr="0" compatLnSpc="1">
              <a:prstTxWarp prst="textNoShape">
                <a:avLst/>
              </a:prstTxWarp>
            </a:bodyPr>
            <a:lstStyle/>
            <a:p>
              <a:pPr>
                <a:defRPr/>
              </a:pPr>
              <a:endParaRPr lang="en-US" sz="1836" dirty="0">
                <a:solidFill>
                  <a:srgbClr val="353535"/>
                </a:solidFill>
                <a:latin typeface="Segoe UI Semilight"/>
              </a:endParaRPr>
            </a:p>
          </p:txBody>
        </p:sp>
        <p:sp>
          <p:nvSpPr>
            <p:cNvPr id="293" name="Rectangle 292">
              <a:extLst>
                <a:ext uri="{FF2B5EF4-FFF2-40B4-BE49-F238E27FC236}">
                  <a16:creationId xmlns:a16="http://schemas.microsoft.com/office/drawing/2014/main" id="{045A6D3C-D226-4B8D-9833-73489F45042E}"/>
                </a:ext>
              </a:extLst>
            </p:cNvPr>
            <p:cNvSpPr/>
            <p:nvPr/>
          </p:nvSpPr>
          <p:spPr>
            <a:xfrm>
              <a:off x="7933290" y="5337894"/>
              <a:ext cx="914400" cy="469103"/>
            </a:xfrm>
            <a:prstGeom prst="rect">
              <a:avLst/>
            </a:prstGeom>
          </p:spPr>
          <p:txBody>
            <a:bodyPr wrap="square">
              <a:spAutoFit/>
            </a:bodyPr>
            <a:lstStyle/>
            <a:p>
              <a:pPr algn="ctr">
                <a:defRPr/>
              </a:pPr>
              <a:r>
                <a:rPr lang="en-US" sz="1224" spc="-51" dirty="0">
                  <a:solidFill>
                    <a:srgbClr val="FFFFFF"/>
                  </a:solidFill>
                  <a:latin typeface="Segoe UI Semilight"/>
                </a:rPr>
                <a:t>Azure AD accounts</a:t>
              </a:r>
            </a:p>
          </p:txBody>
        </p:sp>
      </p:grpSp>
      <p:grpSp>
        <p:nvGrpSpPr>
          <p:cNvPr id="294" name="Group 293">
            <a:extLst>
              <a:ext uri="{FF2B5EF4-FFF2-40B4-BE49-F238E27FC236}">
                <a16:creationId xmlns:a16="http://schemas.microsoft.com/office/drawing/2014/main" id="{EDC2E1BE-5092-4533-BE3E-B3F3DAA53887}"/>
              </a:ext>
            </a:extLst>
          </p:cNvPr>
          <p:cNvGrpSpPr/>
          <p:nvPr/>
        </p:nvGrpSpPr>
        <p:grpSpPr>
          <a:xfrm>
            <a:off x="6040487" y="5431379"/>
            <a:ext cx="932603" cy="992121"/>
            <a:chOff x="6705435" y="4834241"/>
            <a:chExt cx="914400" cy="972756"/>
          </a:xfrm>
        </p:grpSpPr>
        <p:sp>
          <p:nvSpPr>
            <p:cNvPr id="295" name="Freeform 7">
              <a:extLst>
                <a:ext uri="{FF2B5EF4-FFF2-40B4-BE49-F238E27FC236}">
                  <a16:creationId xmlns:a16="http://schemas.microsoft.com/office/drawing/2014/main" id="{26502334-251D-47B6-BC89-84135A3BD2AD}"/>
                </a:ext>
              </a:extLst>
            </p:cNvPr>
            <p:cNvSpPr>
              <a:spLocks noChangeAspect="1" noEditPoints="1"/>
            </p:cNvSpPr>
            <p:nvPr/>
          </p:nvSpPr>
          <p:spPr bwMode="auto">
            <a:xfrm>
              <a:off x="6952337"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rgbClr val="00188F"/>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96" name="Rectangle 295">
              <a:extLst>
                <a:ext uri="{FF2B5EF4-FFF2-40B4-BE49-F238E27FC236}">
                  <a16:creationId xmlns:a16="http://schemas.microsoft.com/office/drawing/2014/main" id="{69811D72-F824-429B-8AC7-A5335036240B}"/>
                </a:ext>
              </a:extLst>
            </p:cNvPr>
            <p:cNvSpPr/>
            <p:nvPr/>
          </p:nvSpPr>
          <p:spPr>
            <a:xfrm>
              <a:off x="6705435" y="5337894"/>
              <a:ext cx="914400" cy="469103"/>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dirty="0">
                  <a:ln>
                    <a:noFill/>
                  </a:ln>
                  <a:solidFill>
                    <a:srgbClr val="FFFFFF"/>
                  </a:solidFill>
                  <a:effectLst/>
                  <a:uLnTx/>
                  <a:uFillTx/>
                  <a:latin typeface="Segoe UI Semilight"/>
                </a:rPr>
                <a:t>MSA accounts</a:t>
              </a:r>
            </a:p>
          </p:txBody>
        </p:sp>
      </p:grpSp>
      <p:pic>
        <p:nvPicPr>
          <p:cNvPr id="297" name="Picture 296">
            <a:extLst>
              <a:ext uri="{FF2B5EF4-FFF2-40B4-BE49-F238E27FC236}">
                <a16:creationId xmlns:a16="http://schemas.microsoft.com/office/drawing/2014/main" id="{90C4BF66-43C7-475C-9164-94CE65AE8700}"/>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5717653" y="2426088"/>
            <a:ext cx="438815" cy="294326"/>
          </a:xfrm>
          <a:prstGeom prst="rect">
            <a:avLst/>
          </a:prstGeom>
        </p:spPr>
      </p:pic>
      <p:sp>
        <p:nvSpPr>
          <p:cNvPr id="299" name="Rectangle 298">
            <a:extLst>
              <a:ext uri="{FF2B5EF4-FFF2-40B4-BE49-F238E27FC236}">
                <a16:creationId xmlns:a16="http://schemas.microsoft.com/office/drawing/2014/main" id="{24448F0F-18CA-42CB-8EBC-058CEF972D79}"/>
              </a:ext>
            </a:extLst>
          </p:cNvPr>
          <p:cNvSpPr/>
          <p:nvPr/>
        </p:nvSpPr>
        <p:spPr>
          <a:xfrm>
            <a:off x="289433" y="6560590"/>
            <a:ext cx="2170979" cy="369332"/>
          </a:xfrm>
          <a:prstGeom prst="rect">
            <a:avLst/>
          </a:prstGeom>
        </p:spPr>
        <p:txBody>
          <a:bodyPr wrap="square">
            <a:spAutoFit/>
          </a:bodyPr>
          <a:lstStyle/>
          <a:p>
            <a:r>
              <a:rPr lang="en-US" dirty="0">
                <a:hlinkClick r:id="rId35"/>
              </a:rPr>
              <a:t>aka.ms/Azure/B2</a:t>
            </a:r>
            <a:r>
              <a:rPr lang="en-US" b="1" dirty="0">
                <a:hlinkClick r:id="rId35"/>
              </a:rPr>
              <a:t>B</a:t>
            </a:r>
            <a:r>
              <a:rPr lang="en-US" dirty="0"/>
              <a:t>  </a:t>
            </a:r>
          </a:p>
        </p:txBody>
      </p:sp>
    </p:spTree>
    <p:extLst>
      <p:ext uri="{BB962C8B-B14F-4D97-AF65-F5344CB8AC3E}">
        <p14:creationId xmlns:p14="http://schemas.microsoft.com/office/powerpoint/2010/main" val="195867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9"/>
                                        </p:tgtEl>
                                        <p:attrNameLst>
                                          <p:attrName>style.visibility</p:attrName>
                                        </p:attrNameLst>
                                      </p:cBhvr>
                                      <p:to>
                                        <p:strVal val="visible"/>
                                      </p:to>
                                    </p:set>
                                    <p:animEffect transition="in" filter="fade">
                                      <p:cBhvr>
                                        <p:cTn id="11" dur="500"/>
                                        <p:tgtEl>
                                          <p:spTgt spid="17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80"/>
                                        </p:tgtEl>
                                        <p:attrNameLst>
                                          <p:attrName>style.visibility</p:attrName>
                                        </p:attrNameLst>
                                      </p:cBhvr>
                                      <p:to>
                                        <p:strVal val="visible"/>
                                      </p:to>
                                    </p:set>
                                    <p:animEffect transition="in" filter="fade">
                                      <p:cBhvr>
                                        <p:cTn id="15" dur="500"/>
                                        <p:tgtEl>
                                          <p:spTgt spid="1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8" grpId="0"/>
      <p:bldP spid="179" grpId="0"/>
      <p:bldP spid="180"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B2C to B2B?</a:t>
            </a:r>
          </a:p>
        </p:txBody>
      </p:sp>
      <p:graphicFrame>
        <p:nvGraphicFramePr>
          <p:cNvPr id="3" name="Table 2"/>
          <p:cNvGraphicFramePr>
            <a:graphicFrameLocks noGrp="1"/>
          </p:cNvGraphicFramePr>
          <p:nvPr>
            <p:extLst>
              <p:ext uri="{D42A27DB-BD31-4B8C-83A1-F6EECF244321}">
                <p14:modId xmlns:p14="http://schemas.microsoft.com/office/powerpoint/2010/main" val="2356103411"/>
              </p:ext>
            </p:extLst>
          </p:nvPr>
        </p:nvGraphicFramePr>
        <p:xfrm>
          <a:off x="190402" y="1363662"/>
          <a:ext cx="11971406" cy="4847244"/>
        </p:xfrm>
        <a:graphic>
          <a:graphicData uri="http://schemas.openxmlformats.org/drawingml/2006/table">
            <a:tbl>
              <a:tblPr firstRow="1" bandRow="1">
                <a:tableStyleId>{5C22544A-7EE6-4342-B048-85BDC9FD1C3A}</a:tableStyleId>
              </a:tblPr>
              <a:tblGrid>
                <a:gridCol w="5985703">
                  <a:extLst>
                    <a:ext uri="{9D8B030D-6E8A-4147-A177-3AD203B41FA5}">
                      <a16:colId xmlns:a16="http://schemas.microsoft.com/office/drawing/2014/main" val="3314740692"/>
                    </a:ext>
                  </a:extLst>
                </a:gridCol>
                <a:gridCol w="5985703">
                  <a:extLst>
                    <a:ext uri="{9D8B030D-6E8A-4147-A177-3AD203B41FA5}">
                      <a16:colId xmlns:a16="http://schemas.microsoft.com/office/drawing/2014/main" val="1549101287"/>
                    </a:ext>
                  </a:extLst>
                </a:gridCol>
              </a:tblGrid>
              <a:tr h="485144">
                <a:tc>
                  <a:txBody>
                    <a:bodyPr/>
                    <a:lstStyle/>
                    <a:p>
                      <a:pPr algn="ctr"/>
                      <a:r>
                        <a:rPr lang="en-US" sz="2400" b="0" i="0" dirty="0">
                          <a:latin typeface="Segoe UI Semibold" panose="020B0702040204020203" pitchFamily="34" charset="0"/>
                          <a:cs typeface="Segoe UI Semibold" panose="020B0702040204020203" pitchFamily="34" charset="0"/>
                        </a:rPr>
                        <a:t>Azure AD B2B Collaboration</a:t>
                      </a:r>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2400" b="0" i="0" dirty="0">
                          <a:latin typeface="Segoe UI Semibold" panose="020B0702040204020203" pitchFamily="34" charset="0"/>
                          <a:cs typeface="Segoe UI Semibold" panose="020B0702040204020203" pitchFamily="34" charset="0"/>
                        </a:rPr>
                        <a:t>Azure AD B2C</a:t>
                      </a:r>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97540576"/>
                  </a:ext>
                </a:extLst>
              </a:tr>
              <a:tr h="388110">
                <a:tc gridSpan="2">
                  <a:txBody>
                    <a:bodyPr/>
                    <a:lstStyle/>
                    <a:p>
                      <a:pPr algn="ctr"/>
                      <a:r>
                        <a:rPr lang="en-US" sz="1800" b="0" i="0" dirty="0">
                          <a:solidFill>
                            <a:schemeClr val="bg1"/>
                          </a:solidFill>
                          <a:latin typeface="Segoe UI Semibold" panose="020B0702040204020203" pitchFamily="34" charset="0"/>
                          <a:cs typeface="Segoe UI Semibold" panose="020B0702040204020203" pitchFamily="34" charset="0"/>
                        </a:rPr>
                        <a:t>What is it for?</a:t>
                      </a:r>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US" dirty="0"/>
                    </a:p>
                  </a:txBody>
                  <a:tcPr/>
                </a:tc>
                <a:extLst>
                  <a:ext uri="{0D108BD9-81ED-4DB2-BD59-A6C34878D82A}">
                    <a16:rowId xmlns:a16="http://schemas.microsoft.com/office/drawing/2014/main" val="3430799503"/>
                  </a:ext>
                </a:extLst>
              </a:tr>
              <a:tr h="67921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1" dirty="0"/>
                        <a:t>IT Pros</a:t>
                      </a:r>
                      <a:r>
                        <a:rPr lang="en-US" sz="1600" dirty="0"/>
                        <a:t> providing access to their organization’s data and apps to a </a:t>
                      </a:r>
                      <a:r>
                        <a:rPr lang="en-US" sz="1600" b="1" dirty="0"/>
                        <a:t>partner organization and collaborators</a:t>
                      </a:r>
                      <a:endParaRPr lang="en-US" sz="1600" b="0" dirty="0"/>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alpha val="39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1" dirty="0"/>
                        <a:t>Developers</a:t>
                      </a:r>
                      <a:r>
                        <a:rPr lang="en-US" sz="1600" b="0" dirty="0"/>
                        <a:t> working on </a:t>
                      </a:r>
                      <a:r>
                        <a:rPr lang="en-US" sz="1600" b="1" dirty="0"/>
                        <a:t>consumer and citizen-facing          </a:t>
                      </a:r>
                      <a:r>
                        <a:rPr lang="en-US" sz="1600" b="1" u="none" dirty="0"/>
                        <a:t>mobile and web apps</a:t>
                      </a:r>
                      <a:endParaRPr lang="en-US" sz="1600" dirty="0"/>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7689389"/>
                  </a:ext>
                </a:extLst>
              </a:tr>
              <a:tr h="388110">
                <a:tc gridSpan="2">
                  <a:txBody>
                    <a:bodyPr/>
                    <a:lstStyle/>
                    <a:p>
                      <a:pPr marL="0" algn="ctr" defTabSz="932594" rtl="0" eaLnBrk="1" latinLnBrk="0" hangingPunct="1"/>
                      <a:r>
                        <a:rPr lang="en-US" sz="1800" b="0" i="0" kern="1200" dirty="0">
                          <a:solidFill>
                            <a:schemeClr val="bg1"/>
                          </a:solidFill>
                          <a:latin typeface="Segoe UI Semibold" panose="020B0702040204020203" pitchFamily="34" charset="0"/>
                          <a:ea typeface="+mn-ea"/>
                          <a:cs typeface="Segoe UI Semibold" panose="020B0702040204020203" pitchFamily="34" charset="0"/>
                        </a:rPr>
                        <a:t>Who is it for?</a:t>
                      </a:r>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US" dirty="0"/>
                    </a:p>
                  </a:txBody>
                  <a:tcPr/>
                </a:tc>
                <a:extLst>
                  <a:ext uri="{0D108BD9-81ED-4DB2-BD59-A6C34878D82A}">
                    <a16:rowId xmlns:a16="http://schemas.microsoft.com/office/drawing/2014/main" val="1677261905"/>
                  </a:ext>
                </a:extLst>
              </a:tr>
              <a:tr h="679212">
                <a:tc>
                  <a:txBody>
                    <a:bodyPr/>
                    <a:lstStyle/>
                    <a:p>
                      <a:r>
                        <a:rPr lang="en-US" sz="1600" dirty="0"/>
                        <a:t>Partner users acting *</a:t>
                      </a:r>
                      <a:r>
                        <a:rPr lang="en-US" sz="1600" b="1" dirty="0"/>
                        <a:t>on behalf of</a:t>
                      </a:r>
                      <a:r>
                        <a:rPr lang="en-US" sz="1600" dirty="0"/>
                        <a:t>*, i.e., as representatives           or employees of their organizations</a:t>
                      </a:r>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alpha val="39000"/>
                      </a:schemeClr>
                    </a:solidFill>
                  </a:tcPr>
                </a:tc>
                <a:tc>
                  <a:txBody>
                    <a:bodyPr/>
                    <a:lstStyle/>
                    <a:p>
                      <a:r>
                        <a:rPr lang="en-US" sz="1600" dirty="0"/>
                        <a:t>Consumers and citizens </a:t>
                      </a:r>
                      <a:r>
                        <a:rPr lang="en-US" sz="1600" b="1" dirty="0"/>
                        <a:t>acting as themselves</a:t>
                      </a:r>
                      <a:endParaRPr lang="en-US" sz="1600" dirty="0"/>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3412"/>
                  </a:ext>
                </a:extLst>
              </a:tr>
              <a:tr h="388110">
                <a:tc gridSpan="2">
                  <a:txBody>
                    <a:bodyPr/>
                    <a:lstStyle/>
                    <a:p>
                      <a:pPr marL="0" algn="ctr" defTabSz="932594" rtl="0" eaLnBrk="1" latinLnBrk="0" hangingPunct="1"/>
                      <a:r>
                        <a:rPr lang="en-US" sz="1800" b="0" i="0" kern="1200" dirty="0">
                          <a:solidFill>
                            <a:schemeClr val="bg1"/>
                          </a:solidFill>
                          <a:latin typeface="Segoe UI Semibold" panose="020B0702040204020203" pitchFamily="34" charset="0"/>
                          <a:ea typeface="+mn-ea"/>
                          <a:cs typeface="Segoe UI Semibold" panose="020B0702040204020203" pitchFamily="34" charset="0"/>
                        </a:rPr>
                        <a:t>Manageability</a:t>
                      </a:r>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US" dirty="0"/>
                    </a:p>
                  </a:txBody>
                  <a:tcPr/>
                </a:tc>
                <a:extLst>
                  <a:ext uri="{0D108BD9-81ED-4DB2-BD59-A6C34878D82A}">
                    <a16:rowId xmlns:a16="http://schemas.microsoft.com/office/drawing/2014/main" val="2746577641"/>
                  </a:ext>
                </a:extLst>
              </a:tr>
              <a:tr h="679212">
                <a:tc>
                  <a:txBody>
                    <a:bodyPr/>
                    <a:lstStyle/>
                    <a:p>
                      <a:r>
                        <a:rPr lang="en-US" sz="1600" b="1" dirty="0"/>
                        <a:t>Access reviews</a:t>
                      </a:r>
                      <a:r>
                        <a:rPr lang="en-US" sz="1600" dirty="0"/>
                        <a:t>, </a:t>
                      </a:r>
                      <a:r>
                        <a:rPr lang="en-US" sz="1600" b="1" dirty="0"/>
                        <a:t>email verification</a:t>
                      </a:r>
                      <a:r>
                        <a:rPr lang="en-US" sz="1600" dirty="0"/>
                        <a:t>, </a:t>
                      </a:r>
                      <a:r>
                        <a:rPr lang="en-US" sz="1600" b="1" dirty="0"/>
                        <a:t>allowlist/</a:t>
                      </a:r>
                      <a:r>
                        <a:rPr lang="en-US" sz="1600" b="1" dirty="0" err="1"/>
                        <a:t>denylist</a:t>
                      </a:r>
                      <a:r>
                        <a:rPr lang="en-US" sz="1600" b="1" dirty="0"/>
                        <a:t>, etc.</a:t>
                      </a:r>
                      <a:r>
                        <a:rPr lang="en-US" sz="1600" dirty="0"/>
                        <a:t> govern access to host application and resources</a:t>
                      </a:r>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alpha val="39000"/>
                      </a:schemeClr>
                    </a:solidFill>
                  </a:tcPr>
                </a:tc>
                <a:tc>
                  <a:txBody>
                    <a:bodyPr/>
                    <a:lstStyle/>
                    <a:p>
                      <a:r>
                        <a:rPr lang="en-US" sz="1600" b="1" dirty="0"/>
                        <a:t>Self-service</a:t>
                      </a:r>
                      <a:r>
                        <a:rPr lang="en-US" sz="1600" dirty="0"/>
                        <a:t>: Users manage their own profiles</a:t>
                      </a:r>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04403153"/>
                  </a:ext>
                </a:extLst>
              </a:tr>
              <a:tr h="388110">
                <a:tc gridSpan="2">
                  <a:txBody>
                    <a:bodyPr/>
                    <a:lstStyle/>
                    <a:p>
                      <a:pPr marL="0" algn="ctr" defTabSz="932594" rtl="0" eaLnBrk="1" latinLnBrk="0" hangingPunct="1"/>
                      <a:r>
                        <a:rPr lang="en-US" sz="1800" b="0" i="0" kern="1200" dirty="0">
                          <a:solidFill>
                            <a:schemeClr val="bg1"/>
                          </a:solidFill>
                          <a:latin typeface="Segoe UI Semibold" panose="020B0702040204020203" pitchFamily="34" charset="0"/>
                          <a:ea typeface="+mn-ea"/>
                          <a:cs typeface="Segoe UI Semibold" panose="020B0702040204020203" pitchFamily="34" charset="0"/>
                        </a:rPr>
                        <a:t>Discoverability</a:t>
                      </a:r>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US" dirty="0"/>
                    </a:p>
                  </a:txBody>
                  <a:tcPr/>
                </a:tc>
                <a:extLst>
                  <a:ext uri="{0D108BD9-81ED-4DB2-BD59-A6C34878D82A}">
                    <a16:rowId xmlns:a16="http://schemas.microsoft.com/office/drawing/2014/main" val="2358420941"/>
                  </a:ext>
                </a:extLst>
              </a:tr>
              <a:tr h="772024">
                <a:tc>
                  <a:txBody>
                    <a:bodyPr/>
                    <a:lstStyle/>
                    <a:p>
                      <a:r>
                        <a:rPr lang="en-US" sz="1600" dirty="0"/>
                        <a:t>Partner users are </a:t>
                      </a:r>
                      <a:r>
                        <a:rPr lang="en-US" sz="1600" b="1" dirty="0"/>
                        <a:t>discoverable</a:t>
                      </a:r>
                      <a:r>
                        <a:rPr lang="en-US" sz="1600" dirty="0"/>
                        <a:t> and can see other users                 from their own organization (subject to policy)</a:t>
                      </a:r>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alpha val="39000"/>
                      </a:schemeClr>
                    </a:solidFill>
                  </a:tcPr>
                </a:tc>
                <a:tc>
                  <a:txBody>
                    <a:bodyPr/>
                    <a:lstStyle/>
                    <a:p>
                      <a:r>
                        <a:rPr lang="en-US" sz="1600" dirty="0"/>
                        <a:t>Consumers and citizens are </a:t>
                      </a:r>
                      <a:r>
                        <a:rPr lang="en-US" sz="1600" b="1" dirty="0"/>
                        <a:t>invisible</a:t>
                      </a:r>
                      <a:r>
                        <a:rPr lang="en-US" sz="1600" dirty="0"/>
                        <a:t> to other consumers           and citizens. Privacy and consent are paramount</a:t>
                      </a:r>
                    </a:p>
                  </a:txBody>
                  <a:tcPr marL="91415" marR="91415" marT="45707" marB="457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3526685"/>
                  </a:ext>
                </a:extLst>
              </a:tr>
            </a:tbl>
          </a:graphicData>
        </a:graphic>
      </p:graphicFrame>
      <p:sp>
        <p:nvSpPr>
          <p:cNvPr id="4" name="Rectangle 3"/>
          <p:cNvSpPr/>
          <p:nvPr/>
        </p:nvSpPr>
        <p:spPr>
          <a:xfrm>
            <a:off x="275447" y="6533993"/>
            <a:ext cx="8443722" cy="369332"/>
          </a:xfrm>
          <a:prstGeom prst="rect">
            <a:avLst/>
          </a:prstGeom>
        </p:spPr>
        <p:txBody>
          <a:bodyPr wrap="none">
            <a:spAutoFit/>
          </a:bodyPr>
          <a:lstStyle/>
          <a:p>
            <a:r>
              <a:rPr lang="en-US" dirty="0">
                <a:hlinkClick r:id="rId3"/>
              </a:rPr>
              <a:t>aka.ms/azure/b2b</a:t>
            </a:r>
            <a:r>
              <a:rPr lang="en-US" dirty="0"/>
              <a:t>     Also watch and search </a:t>
            </a:r>
            <a:r>
              <a:rPr lang="en-US" dirty="0">
                <a:hlinkClick r:id="rId4"/>
              </a:rPr>
              <a:t>MS Ignite</a:t>
            </a:r>
            <a:r>
              <a:rPr lang="en-US" dirty="0"/>
              <a:t> for the latest on Azure B2B </a:t>
            </a:r>
          </a:p>
        </p:txBody>
      </p:sp>
    </p:spTree>
    <p:extLst>
      <p:ext uri="{BB962C8B-B14F-4D97-AF65-F5344CB8AC3E}">
        <p14:creationId xmlns:p14="http://schemas.microsoft.com/office/powerpoint/2010/main" val="4234093882"/>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168" y="1897062"/>
            <a:ext cx="11702553" cy="1098762"/>
          </a:xfrm>
        </p:spPr>
        <p:txBody>
          <a:bodyPr/>
          <a:lstStyle/>
          <a:p>
            <a:r>
              <a:rPr lang="en-US" dirty="0"/>
              <a:t>Next steps</a:t>
            </a:r>
          </a:p>
        </p:txBody>
      </p:sp>
      <p:pic>
        <p:nvPicPr>
          <p:cNvPr id="4" name="Picture 3" descr="A close up of a logo&#10;&#10;Description generated with high confidence">
            <a:extLst>
              <a:ext uri="{FF2B5EF4-FFF2-40B4-BE49-F238E27FC236}">
                <a16:creationId xmlns:a16="http://schemas.microsoft.com/office/drawing/2014/main" id="{0869FD46-F3A0-4D9C-AC48-515257E40DB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4160044" y="3573462"/>
            <a:ext cx="4267200" cy="3200400"/>
          </a:xfrm>
          <a:prstGeom prst="rect">
            <a:avLst/>
          </a:prstGeom>
        </p:spPr>
      </p:pic>
    </p:spTree>
    <p:extLst>
      <p:ext uri="{BB962C8B-B14F-4D97-AF65-F5344CB8AC3E}">
        <p14:creationId xmlns:p14="http://schemas.microsoft.com/office/powerpoint/2010/main" val="327812926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4838248"/>
          </a:xfrm>
        </p:spPr>
        <p:txBody>
          <a:bodyPr/>
          <a:lstStyle/>
          <a:p>
            <a:pPr marL="0" indent="0">
              <a:buNone/>
            </a:pPr>
            <a:r>
              <a:rPr lang="en-US" sz="2800" dirty="0">
                <a:solidFill>
                  <a:srgbClr val="0078D7"/>
                </a:solidFill>
              </a:rPr>
              <a:t>Current Active Directory environment.  </a:t>
            </a:r>
          </a:p>
          <a:p>
            <a:pPr marL="0" indent="0">
              <a:buNone/>
            </a:pPr>
            <a:r>
              <a:rPr lang="en-US" sz="2800" dirty="0">
                <a:solidFill>
                  <a:srgbClr val="0078D7"/>
                </a:solidFill>
              </a:rPr>
              <a:t>Synchronization and or Federation </a:t>
            </a:r>
          </a:p>
          <a:p>
            <a:pPr marL="0" indent="0">
              <a:buNone/>
            </a:pPr>
            <a:r>
              <a:rPr lang="en-US" sz="2800" dirty="0">
                <a:solidFill>
                  <a:srgbClr val="0078D7"/>
                </a:solidFill>
              </a:rPr>
              <a:t>How many Azure AD tenants per subscription and their purpose</a:t>
            </a:r>
          </a:p>
          <a:p>
            <a:pPr marL="0" indent="0">
              <a:buNone/>
            </a:pPr>
            <a:r>
              <a:rPr lang="en-US" sz="2800" dirty="0">
                <a:solidFill>
                  <a:srgbClr val="0078D7"/>
                </a:solidFill>
              </a:rPr>
              <a:t>Verified Custom Domain Name established?</a:t>
            </a:r>
          </a:p>
          <a:p>
            <a:pPr marL="0" indent="0">
              <a:buNone/>
            </a:pPr>
            <a:r>
              <a:rPr lang="en-US" sz="2800" dirty="0">
                <a:solidFill>
                  <a:srgbClr val="0078D7"/>
                </a:solidFill>
              </a:rPr>
              <a:t>UPN Alignment</a:t>
            </a:r>
          </a:p>
          <a:p>
            <a:pPr marL="0" indent="0">
              <a:buNone/>
            </a:pPr>
            <a:r>
              <a:rPr lang="en-US" sz="2800" dirty="0">
                <a:solidFill>
                  <a:srgbClr val="0078D7"/>
                </a:solidFill>
              </a:rPr>
              <a:t>Multi-factor authentication</a:t>
            </a:r>
          </a:p>
          <a:p>
            <a:pPr marL="0" indent="0">
              <a:buNone/>
            </a:pPr>
            <a:r>
              <a:rPr lang="en-US" sz="2800" dirty="0">
                <a:solidFill>
                  <a:srgbClr val="0078D7"/>
                </a:solidFill>
              </a:rPr>
              <a:t>Azure AD Role Based Access Controls</a:t>
            </a:r>
          </a:p>
          <a:p>
            <a:pPr marL="0" indent="0">
              <a:buNone/>
            </a:pPr>
            <a:r>
              <a:rPr lang="en-US" sz="2800" dirty="0">
                <a:solidFill>
                  <a:srgbClr val="0078D7"/>
                </a:solidFill>
              </a:rPr>
              <a:t>Azure PIM requirements?</a:t>
            </a:r>
          </a:p>
          <a:p>
            <a:pPr marL="0" indent="0">
              <a:buNone/>
            </a:pPr>
            <a:r>
              <a:rPr lang="en-US" sz="2800" dirty="0">
                <a:solidFill>
                  <a:srgbClr val="0078D7"/>
                </a:solidFill>
              </a:rPr>
              <a:t>Licenses assigned? O365 and/or Azure AD Premium</a:t>
            </a:r>
          </a:p>
          <a:p>
            <a:pPr marL="0" indent="0">
              <a:buNone/>
            </a:pPr>
            <a:r>
              <a:rPr lang="en-US" sz="2800" dirty="0">
                <a:solidFill>
                  <a:srgbClr val="0078D7"/>
                </a:solidFill>
              </a:rPr>
              <a:t>Domain Controllers or Federation Servers in IaaS</a:t>
            </a:r>
          </a:p>
        </p:txBody>
      </p:sp>
      <p:sp>
        <p:nvSpPr>
          <p:cNvPr id="3" name="Title 2"/>
          <p:cNvSpPr>
            <a:spLocks noGrp="1"/>
          </p:cNvSpPr>
          <p:nvPr>
            <p:ph type="title"/>
          </p:nvPr>
        </p:nvSpPr>
        <p:spPr/>
        <p:txBody>
          <a:bodyPr/>
          <a:lstStyle/>
          <a:p>
            <a:r>
              <a:rPr lang="en-US" dirty="0"/>
              <a:t>Review of Discussions and Decisions</a:t>
            </a:r>
          </a:p>
        </p:txBody>
      </p:sp>
    </p:spTree>
    <p:extLst>
      <p:ext uri="{BB962C8B-B14F-4D97-AF65-F5344CB8AC3E}">
        <p14:creationId xmlns:p14="http://schemas.microsoft.com/office/powerpoint/2010/main" val="3900694368"/>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80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66168" y="1212850"/>
            <a:ext cx="11702552" cy="4567404"/>
          </a:xfrm>
        </p:spPr>
        <p:txBody>
          <a:bodyPr/>
          <a:lstStyle/>
          <a:p>
            <a:pPr lvl="1"/>
            <a:r>
              <a:rPr lang="en-US" dirty="0">
                <a:latin typeface="+mj-lt"/>
              </a:rPr>
              <a:t>Review these slides before presenting the first section for ideas to think about while presenting the core topics</a:t>
            </a:r>
          </a:p>
          <a:p>
            <a:pPr lvl="1"/>
            <a:r>
              <a:rPr lang="en-US" dirty="0">
                <a:latin typeface="+mj-lt"/>
              </a:rPr>
              <a:t>Chances are, it will take 2+ hours to just cover the first 70+ slides. By then, their heads will be spinning</a:t>
            </a:r>
          </a:p>
          <a:p>
            <a:pPr lvl="1"/>
            <a:r>
              <a:rPr lang="en-US" dirty="0">
                <a:latin typeface="+mj-lt"/>
              </a:rPr>
              <a:t>As suggested in the beginning of this deck, it will be more efficient to take notes as you go along</a:t>
            </a:r>
          </a:p>
          <a:p>
            <a:pPr lvl="1"/>
            <a:r>
              <a:rPr lang="en-US" dirty="0">
                <a:latin typeface="+mj-lt"/>
              </a:rPr>
              <a:t>But if the deck flies by, and you are short on time, then these slides can be used to review and gather additional information</a:t>
            </a:r>
          </a:p>
          <a:p>
            <a:pPr lvl="1"/>
            <a:r>
              <a:rPr lang="en-US" dirty="0">
                <a:latin typeface="+mj-lt"/>
              </a:rPr>
              <a:t>You will have to unhide this section in order to present it</a:t>
            </a:r>
          </a:p>
        </p:txBody>
      </p:sp>
      <p:sp>
        <p:nvSpPr>
          <p:cNvPr id="6" name="Text Placeholder 5"/>
          <p:cNvSpPr>
            <a:spLocks noGrp="1"/>
          </p:cNvSpPr>
          <p:nvPr>
            <p:ph type="body" sz="quarter" idx="11"/>
          </p:nvPr>
        </p:nvSpPr>
        <p:spPr/>
        <p:txBody>
          <a:bodyPr/>
          <a:lstStyle/>
          <a:p>
            <a:pPr algn="ctr"/>
            <a:r>
              <a:rPr lang="en-US" dirty="0"/>
              <a:t>DELETE THIS SLIDE BEFORE DELIVERY</a:t>
            </a:r>
          </a:p>
        </p:txBody>
      </p:sp>
      <p:sp>
        <p:nvSpPr>
          <p:cNvPr id="4" name="Title 3"/>
          <p:cNvSpPr>
            <a:spLocks noGrp="1"/>
          </p:cNvSpPr>
          <p:nvPr>
            <p:ph type="title"/>
          </p:nvPr>
        </p:nvSpPr>
        <p:spPr/>
        <p:txBody>
          <a:bodyPr/>
          <a:lstStyle/>
          <a:p>
            <a:r>
              <a:rPr lang="en-US" dirty="0">
                <a:latin typeface="+mj-lt"/>
              </a:rPr>
              <a:t>Design decisions section – Guidance</a:t>
            </a:r>
          </a:p>
        </p:txBody>
      </p:sp>
    </p:spTree>
    <p:extLst>
      <p:ext uri="{BB962C8B-B14F-4D97-AF65-F5344CB8AC3E}">
        <p14:creationId xmlns:p14="http://schemas.microsoft.com/office/powerpoint/2010/main" val="183351863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3" name="Freeform 74"/>
          <p:cNvSpPr>
            <a:spLocks/>
          </p:cNvSpPr>
          <p:nvPr/>
        </p:nvSpPr>
        <p:spPr bwMode="auto">
          <a:xfrm>
            <a:off x="6611339" y="1408055"/>
            <a:ext cx="5805884" cy="3583910"/>
          </a:xfrm>
          <a:custGeom>
            <a:avLst/>
            <a:gdLst>
              <a:gd name="T0" fmla="*/ 209 w 242"/>
              <a:gd name="T1" fmla="*/ 64 h 129"/>
              <a:gd name="T2" fmla="*/ 208 w 242"/>
              <a:gd name="T3" fmla="*/ 64 h 129"/>
              <a:gd name="T4" fmla="*/ 144 w 242"/>
              <a:gd name="T5" fmla="*/ 0 h 129"/>
              <a:gd name="T6" fmla="*/ 80 w 242"/>
              <a:gd name="T7" fmla="*/ 57 h 129"/>
              <a:gd name="T8" fmla="*/ 45 w 242"/>
              <a:gd name="T9" fmla="*/ 40 h 129"/>
              <a:gd name="T10" fmla="*/ 0 w 242"/>
              <a:gd name="T11" fmla="*/ 84 h 129"/>
              <a:gd name="T12" fmla="*/ 45 w 242"/>
              <a:gd name="T13" fmla="*/ 129 h 129"/>
              <a:gd name="T14" fmla="*/ 209 w 242"/>
              <a:gd name="T15" fmla="*/ 129 h 129"/>
              <a:gd name="T16" fmla="*/ 242 w 242"/>
              <a:gd name="T17" fmla="*/ 96 h 129"/>
              <a:gd name="T18" fmla="*/ 209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09" y="64"/>
                </a:moveTo>
                <a:cubicBezTo>
                  <a:pt x="209" y="64"/>
                  <a:pt x="209" y="64"/>
                  <a:pt x="208" y="64"/>
                </a:cubicBezTo>
                <a:cubicBezTo>
                  <a:pt x="208" y="29"/>
                  <a:pt x="179" y="0"/>
                  <a:pt x="144" y="0"/>
                </a:cubicBezTo>
                <a:cubicBezTo>
                  <a:pt x="111" y="0"/>
                  <a:pt x="84" y="25"/>
                  <a:pt x="80" y="57"/>
                </a:cubicBezTo>
                <a:cubicBezTo>
                  <a:pt x="72" y="46"/>
                  <a:pt x="59" y="40"/>
                  <a:pt x="45" y="40"/>
                </a:cubicBezTo>
                <a:cubicBezTo>
                  <a:pt x="20" y="40"/>
                  <a:pt x="0" y="60"/>
                  <a:pt x="0" y="84"/>
                </a:cubicBezTo>
                <a:cubicBezTo>
                  <a:pt x="0" y="109"/>
                  <a:pt x="20" y="129"/>
                  <a:pt x="45" y="129"/>
                </a:cubicBezTo>
                <a:cubicBezTo>
                  <a:pt x="209" y="129"/>
                  <a:pt x="209" y="129"/>
                  <a:pt x="209" y="129"/>
                </a:cubicBezTo>
                <a:cubicBezTo>
                  <a:pt x="227" y="129"/>
                  <a:pt x="242" y="115"/>
                  <a:pt x="242" y="96"/>
                </a:cubicBezTo>
                <a:cubicBezTo>
                  <a:pt x="242" y="78"/>
                  <a:pt x="227" y="64"/>
                  <a:pt x="209" y="64"/>
                </a:cubicBezTo>
                <a:close/>
              </a:path>
            </a:pathLst>
          </a:custGeom>
          <a:solidFill>
            <a:schemeClr val="bg1"/>
          </a:solidFill>
          <a:ln>
            <a:solidFill>
              <a:srgbClr val="0078D7"/>
            </a:solidFill>
          </a:ln>
          <a:effectLst/>
        </p:spPr>
        <p:txBody>
          <a:bodyPr vert="horz" wrap="square" lIns="91414" tIns="45706" rIns="91414" bIns="45706" numCol="1" anchor="t" anchorCtr="0" compatLnSpc="1">
            <a:prstTxWarp prst="textNoShape">
              <a:avLst/>
            </a:prstTxWarp>
          </a:bodyPr>
          <a:lstStyle/>
          <a:p>
            <a:pPr defTabSz="932418">
              <a:defRPr/>
            </a:pPr>
            <a:endParaRPr lang="en-US" kern="0" dirty="0">
              <a:solidFill>
                <a:srgbClr val="505050"/>
              </a:solidFill>
              <a:latin typeface="Calibri" panose="020F0502020204030204"/>
            </a:endParaRPr>
          </a:p>
        </p:txBody>
      </p:sp>
      <p:sp>
        <p:nvSpPr>
          <p:cNvPr id="3" name="Title 2"/>
          <p:cNvSpPr>
            <a:spLocks noGrp="1"/>
          </p:cNvSpPr>
          <p:nvPr>
            <p:ph type="title"/>
          </p:nvPr>
        </p:nvSpPr>
        <p:spPr/>
        <p:txBody>
          <a:bodyPr/>
          <a:lstStyle/>
          <a:p>
            <a:r>
              <a:rPr lang="en-US"/>
              <a:t>Hybrid identity components</a:t>
            </a:r>
            <a:endParaRPr lang="en-US" dirty="0"/>
          </a:p>
        </p:txBody>
      </p:sp>
      <p:sp>
        <p:nvSpPr>
          <p:cNvPr id="104" name="Rectangle 103"/>
          <p:cNvSpPr/>
          <p:nvPr/>
        </p:nvSpPr>
        <p:spPr bwMode="auto">
          <a:xfrm>
            <a:off x="3326107" y="1241778"/>
            <a:ext cx="2994768" cy="5529664"/>
          </a:xfrm>
          <a:prstGeom prst="rect">
            <a:avLst/>
          </a:prstGeom>
          <a:solidFill>
            <a:srgbClr val="FFFFFF"/>
          </a:solidFill>
          <a:ln w="10795"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5" name="Rectangle 104"/>
          <p:cNvSpPr/>
          <p:nvPr/>
        </p:nvSpPr>
        <p:spPr bwMode="auto">
          <a:xfrm>
            <a:off x="248051" y="1244198"/>
            <a:ext cx="2994768" cy="5529664"/>
          </a:xfrm>
          <a:prstGeom prst="rect">
            <a:avLst/>
          </a:prstGeom>
          <a:solidFill>
            <a:srgbClr val="FFFFFF"/>
          </a:solidFill>
          <a:ln w="10795"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6" name="TextBox 105"/>
          <p:cNvSpPr txBox="1"/>
          <p:nvPr/>
        </p:nvSpPr>
        <p:spPr>
          <a:xfrm>
            <a:off x="108614" y="3514360"/>
            <a:ext cx="1140062" cy="215444"/>
          </a:xfrm>
          <a:prstGeom prst="rect">
            <a:avLst/>
          </a:prstGeom>
          <a:noFill/>
        </p:spPr>
        <p:txBody>
          <a:bodyPr wrap="square" lIns="0" tIns="0" rIns="0" bIns="0" rtlCol="0">
            <a:spAutoFit/>
          </a:bodyP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78D7"/>
                </a:solidFill>
                <a:effectLst/>
                <a:uLnTx/>
                <a:uFillTx/>
              </a:rPr>
              <a:t>AD DS </a:t>
            </a:r>
          </a:p>
        </p:txBody>
      </p:sp>
      <p:cxnSp>
        <p:nvCxnSpPr>
          <p:cNvPr id="107" name="Straight Arrow Connector 106"/>
          <p:cNvCxnSpPr>
            <a:cxnSpLocks/>
          </p:cNvCxnSpPr>
          <p:nvPr/>
        </p:nvCxnSpPr>
        <p:spPr>
          <a:xfrm flipV="1">
            <a:off x="5227637" y="4037234"/>
            <a:ext cx="1606939" cy="183400"/>
          </a:xfrm>
          <a:prstGeom prst="straightConnector1">
            <a:avLst/>
          </a:prstGeom>
          <a:noFill/>
          <a:ln w="19050" cap="flat" cmpd="sng" algn="ctr">
            <a:solidFill>
              <a:srgbClr val="0078D7"/>
            </a:solidFill>
            <a:prstDash val="dash"/>
            <a:headEnd type="none" w="lg" len="lg"/>
            <a:tailEnd type="triangle" w="lg" len="lg"/>
          </a:ln>
          <a:effectLst/>
        </p:spPr>
      </p:cxnSp>
      <p:sp>
        <p:nvSpPr>
          <p:cNvPr id="108" name="TextBox 107"/>
          <p:cNvSpPr txBox="1"/>
          <p:nvPr/>
        </p:nvSpPr>
        <p:spPr>
          <a:xfrm>
            <a:off x="231432" y="4592438"/>
            <a:ext cx="992699" cy="395493"/>
          </a:xfrm>
          <a:prstGeom prst="rect">
            <a:avLst/>
          </a:prstGeom>
          <a:noFill/>
        </p:spPr>
        <p:txBody>
          <a:bodyPr wrap="square" lIns="0" tIns="0" rIns="0" bIns="0" rtlCol="0">
            <a:spAutoFit/>
          </a:bodyPr>
          <a:lstStyle/>
          <a:p>
            <a:pPr marL="0" marR="0" lvl="0" indent="0" algn="ctr" defTabSz="932418" eaLnBrk="1" fontAlgn="auto" latinLnBrk="0" hangingPunct="1">
              <a:lnSpc>
                <a:spcPct val="90000"/>
              </a:lnSpc>
              <a:spcBef>
                <a:spcPct val="20000"/>
              </a:spcBef>
              <a:spcAft>
                <a:spcPts val="0"/>
              </a:spcAft>
              <a:buClrTx/>
              <a:buSzPct val="80000"/>
              <a:buFontTx/>
              <a:buNone/>
              <a:tabLst/>
              <a:defRPr/>
            </a:pPr>
            <a:r>
              <a:rPr kumimoji="0" lang="en-US" sz="1400" b="1" i="0" u="none" strike="noStrike" kern="0" cap="none" spc="0" normalizeH="0" baseline="0" noProof="0" dirty="0">
                <a:ln>
                  <a:noFill/>
                </a:ln>
                <a:solidFill>
                  <a:srgbClr val="0078D7"/>
                </a:solidFill>
                <a:effectLst/>
                <a:uLnTx/>
                <a:uFillTx/>
              </a:rPr>
              <a:t>FIM/MIM Sync</a:t>
            </a:r>
          </a:p>
        </p:txBody>
      </p:sp>
      <p:sp>
        <p:nvSpPr>
          <p:cNvPr id="109" name="TextBox 108"/>
          <p:cNvSpPr txBox="1"/>
          <p:nvPr/>
        </p:nvSpPr>
        <p:spPr>
          <a:xfrm>
            <a:off x="274639" y="1439862"/>
            <a:ext cx="2968180" cy="289587"/>
          </a:xfrm>
          <a:prstGeom prst="rect">
            <a:avLst/>
          </a:prstGeom>
          <a:noFill/>
        </p:spPr>
        <p:txBody>
          <a:bodyPr wrap="square" lIns="0" tIns="0" rIns="0" bIns="0" rtlCol="0">
            <a:spAutoFit/>
          </a:bodyPr>
          <a:lstStyle/>
          <a:p>
            <a:pPr marL="0" marR="0" lvl="0" indent="0" algn="ctr" defTabSz="932418" eaLnBrk="1" fontAlgn="auto" latinLnBrk="0" hangingPunct="1">
              <a:lnSpc>
                <a:spcPct val="90000"/>
              </a:lnSpc>
              <a:spcBef>
                <a:spcPct val="20000"/>
              </a:spcBef>
              <a:spcAft>
                <a:spcPts val="0"/>
              </a:spcAft>
              <a:buClrTx/>
              <a:buSzPct val="80000"/>
              <a:buFontTx/>
              <a:buNone/>
              <a:tabLst/>
              <a:defRPr/>
            </a:pPr>
            <a:r>
              <a:rPr kumimoji="0" lang="en-US" sz="2040" b="1" i="0" u="none" strike="noStrike" kern="0" cap="none" spc="0" normalizeH="0" baseline="0" noProof="0" dirty="0">
                <a:ln>
                  <a:noFill/>
                </a:ln>
                <a:solidFill>
                  <a:srgbClr val="0078D7">
                    <a:alpha val="99000"/>
                  </a:srgbClr>
                </a:solidFill>
                <a:effectLst/>
                <a:uLnTx/>
                <a:uFillTx/>
              </a:rPr>
              <a:t>On-premises</a:t>
            </a:r>
          </a:p>
        </p:txBody>
      </p:sp>
      <p:grpSp>
        <p:nvGrpSpPr>
          <p:cNvPr id="110" name="Group 109"/>
          <p:cNvGrpSpPr/>
          <p:nvPr/>
        </p:nvGrpSpPr>
        <p:grpSpPr>
          <a:xfrm>
            <a:off x="1523475" y="4516452"/>
            <a:ext cx="435492" cy="497936"/>
            <a:chOff x="3337766" y="1428258"/>
            <a:chExt cx="426992" cy="488217"/>
          </a:xfrm>
          <a:solidFill>
            <a:srgbClr val="0078D7"/>
          </a:solidFill>
        </p:grpSpPr>
        <p:sp>
          <p:nvSpPr>
            <p:cNvPr id="111" name="Freeform 99"/>
            <p:cNvSpPr>
              <a:spLocks/>
            </p:cNvSpPr>
            <p:nvPr/>
          </p:nvSpPr>
          <p:spPr bwMode="black">
            <a:xfrm>
              <a:off x="3372248" y="1628835"/>
              <a:ext cx="392510" cy="28764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3" name="Freeform 99"/>
            <p:cNvSpPr>
              <a:spLocks/>
            </p:cNvSpPr>
            <p:nvPr/>
          </p:nvSpPr>
          <p:spPr bwMode="black">
            <a:xfrm rot="10800000">
              <a:off x="3337766" y="1428258"/>
              <a:ext cx="392510" cy="28764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cxnSp>
        <p:nvCxnSpPr>
          <p:cNvPr id="115" name="Straight Arrow Connector 114"/>
          <p:cNvCxnSpPr>
            <a:cxnSpLocks/>
          </p:cNvCxnSpPr>
          <p:nvPr/>
        </p:nvCxnSpPr>
        <p:spPr>
          <a:xfrm flipV="1">
            <a:off x="1703692" y="4037234"/>
            <a:ext cx="1880" cy="364443"/>
          </a:xfrm>
          <a:prstGeom prst="straightConnector1">
            <a:avLst/>
          </a:prstGeom>
          <a:noFill/>
          <a:ln w="19050" cap="flat" cmpd="sng" algn="ctr">
            <a:solidFill>
              <a:srgbClr val="0078D7"/>
            </a:solidFill>
            <a:prstDash val="dash"/>
            <a:tailEnd type="triangle" w="lg" len="med"/>
          </a:ln>
          <a:effectLst/>
        </p:spPr>
      </p:cxnSp>
      <p:cxnSp>
        <p:nvCxnSpPr>
          <p:cNvPr id="116" name="Straight Arrow Connector 115"/>
          <p:cNvCxnSpPr>
            <a:cxnSpLocks/>
          </p:cNvCxnSpPr>
          <p:nvPr/>
        </p:nvCxnSpPr>
        <p:spPr>
          <a:xfrm flipV="1">
            <a:off x="758433" y="5153933"/>
            <a:ext cx="685293" cy="756430"/>
          </a:xfrm>
          <a:prstGeom prst="straightConnector1">
            <a:avLst/>
          </a:prstGeom>
          <a:noFill/>
          <a:ln w="19050" cap="flat" cmpd="sng" algn="ctr">
            <a:solidFill>
              <a:srgbClr val="0078D7"/>
            </a:solidFill>
            <a:prstDash val="dash"/>
            <a:tailEnd type="triangle" w="lg" len="med"/>
          </a:ln>
          <a:effectLst/>
        </p:spPr>
      </p:cxnSp>
      <p:grpSp>
        <p:nvGrpSpPr>
          <p:cNvPr id="117" name="Group 116"/>
          <p:cNvGrpSpPr/>
          <p:nvPr/>
        </p:nvGrpSpPr>
        <p:grpSpPr>
          <a:xfrm>
            <a:off x="4659688" y="4860566"/>
            <a:ext cx="435492" cy="497936"/>
            <a:chOff x="3337766" y="1428258"/>
            <a:chExt cx="426992" cy="488217"/>
          </a:xfrm>
          <a:solidFill>
            <a:srgbClr val="0078D7"/>
          </a:solidFill>
        </p:grpSpPr>
        <p:sp>
          <p:nvSpPr>
            <p:cNvPr id="118" name="Freeform 99"/>
            <p:cNvSpPr>
              <a:spLocks/>
            </p:cNvSpPr>
            <p:nvPr/>
          </p:nvSpPr>
          <p:spPr bwMode="black">
            <a:xfrm>
              <a:off x="3372248" y="1628835"/>
              <a:ext cx="392510" cy="28764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D83B01"/>
                </a:solidFill>
                <a:effectLst/>
                <a:uLnTx/>
                <a:uFillTx/>
              </a:endParaRPr>
            </a:p>
          </p:txBody>
        </p:sp>
        <p:sp>
          <p:nvSpPr>
            <p:cNvPr id="119" name="Freeform 99"/>
            <p:cNvSpPr>
              <a:spLocks/>
            </p:cNvSpPr>
            <p:nvPr/>
          </p:nvSpPr>
          <p:spPr bwMode="black">
            <a:xfrm rot="10800000">
              <a:off x="3337766" y="1428258"/>
              <a:ext cx="392510" cy="28764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D83B01"/>
                </a:solidFill>
                <a:effectLst/>
                <a:uLnTx/>
                <a:uFillTx/>
              </a:endParaRPr>
            </a:p>
          </p:txBody>
        </p:sp>
      </p:grpSp>
      <p:sp>
        <p:nvSpPr>
          <p:cNvPr id="120" name="TextBox 119"/>
          <p:cNvSpPr txBox="1"/>
          <p:nvPr/>
        </p:nvSpPr>
        <p:spPr>
          <a:xfrm>
            <a:off x="4109058" y="5789159"/>
            <a:ext cx="1428866" cy="667875"/>
          </a:xfrm>
          <a:prstGeom prst="rect">
            <a:avLst/>
          </a:prstGeom>
          <a:noFill/>
        </p:spPr>
        <p:txBody>
          <a:bodyPr wrap="square" lIns="0" tIns="0" rIns="0" bIns="0" rtlCol="0">
            <a:spAutoFit/>
          </a:bodyPr>
          <a:lstStyle/>
          <a:p>
            <a:pPr marL="0" marR="0" lvl="0" indent="0" algn="ctr" defTabSz="932418" eaLnBrk="1" fontAlgn="auto" latinLnBrk="0" hangingPunct="1">
              <a:lnSpc>
                <a:spcPct val="90000"/>
              </a:lnSpc>
              <a:spcBef>
                <a:spcPct val="20000"/>
              </a:spcBef>
              <a:spcAft>
                <a:spcPts val="0"/>
              </a:spcAft>
              <a:buClrTx/>
              <a:buSzPct val="80000"/>
              <a:buFontTx/>
              <a:buNone/>
              <a:tabLst/>
              <a:defRPr/>
            </a:pPr>
            <a:r>
              <a:rPr kumimoji="0" lang="en-US" sz="1400" b="1" i="0" u="none" strike="noStrike" kern="0" cap="none" spc="0" normalizeH="0" baseline="0" noProof="0" dirty="0">
                <a:ln>
                  <a:noFill/>
                </a:ln>
                <a:solidFill>
                  <a:srgbClr val="0078D7"/>
                </a:solidFill>
                <a:effectLst/>
                <a:uLnTx/>
                <a:uFillTx/>
              </a:rPr>
              <a:t>AD FS (optional)</a:t>
            </a:r>
          </a:p>
          <a:p>
            <a:pPr marL="0" marR="0" lvl="0" indent="0" algn="ctr" defTabSz="932418" eaLnBrk="1" fontAlgn="auto" latinLnBrk="0" hangingPunct="1">
              <a:lnSpc>
                <a:spcPct val="90000"/>
              </a:lnSpc>
              <a:spcBef>
                <a:spcPct val="20000"/>
              </a:spcBef>
              <a:spcAft>
                <a:spcPts val="0"/>
              </a:spcAft>
              <a:buClrTx/>
              <a:buSzPct val="80000"/>
              <a:buFontTx/>
              <a:buNone/>
              <a:tabLst/>
              <a:defRPr/>
            </a:pPr>
            <a:endParaRPr kumimoji="0" lang="en-US" sz="1400" b="1" i="0" u="none" strike="noStrike" kern="0" cap="none" spc="0" normalizeH="0" baseline="0" noProof="0" dirty="0">
              <a:ln>
                <a:noFill/>
              </a:ln>
              <a:solidFill>
                <a:srgbClr val="0078D7"/>
              </a:solidFill>
              <a:effectLst/>
              <a:uLnTx/>
              <a:uFillTx/>
            </a:endParaRPr>
          </a:p>
          <a:p>
            <a:pPr marL="0" marR="0" lvl="0" indent="0" algn="ctr" defTabSz="932418" eaLnBrk="1" fontAlgn="auto" latinLnBrk="0" hangingPunct="1">
              <a:lnSpc>
                <a:spcPct val="90000"/>
              </a:lnSpc>
              <a:spcBef>
                <a:spcPct val="20000"/>
              </a:spcBef>
              <a:spcAft>
                <a:spcPts val="0"/>
              </a:spcAft>
              <a:buClrTx/>
              <a:buSzPct val="80000"/>
              <a:buFontTx/>
              <a:buNone/>
              <a:tabLst/>
              <a:defRPr/>
            </a:pPr>
            <a:r>
              <a:rPr kumimoji="0" lang="en-US" sz="1400" b="1" i="0" u="none" strike="noStrike" kern="0" cap="none" spc="0" normalizeH="0" baseline="0" noProof="0" dirty="0">
                <a:ln>
                  <a:noFill/>
                </a:ln>
                <a:solidFill>
                  <a:srgbClr val="0078D7"/>
                </a:solidFill>
                <a:effectLst/>
                <a:uLnTx/>
                <a:uFillTx/>
              </a:rPr>
              <a:t>Sync engine</a:t>
            </a:r>
          </a:p>
        </p:txBody>
      </p:sp>
      <p:sp>
        <p:nvSpPr>
          <p:cNvPr id="121" name="TextBox 120"/>
          <p:cNvSpPr txBox="1"/>
          <p:nvPr/>
        </p:nvSpPr>
        <p:spPr>
          <a:xfrm>
            <a:off x="10256837" y="2049462"/>
            <a:ext cx="1213506" cy="1164421"/>
          </a:xfrm>
          <a:prstGeom prst="rect">
            <a:avLst/>
          </a:prstGeom>
          <a:noFill/>
        </p:spPr>
        <p:txBody>
          <a:bodyPr wrap="square" lIns="0" tIns="0" rIns="0" bIns="0" rtlCol="0">
            <a:spAutoFit/>
          </a:bodyPr>
          <a:lstStyle/>
          <a:p>
            <a:pPr marL="0" marR="0" lvl="0" indent="0" defTabSz="932418" eaLnBrk="1" fontAlgn="auto" latinLnBrk="0" hangingPunct="1">
              <a:lnSpc>
                <a:spcPct val="90000"/>
              </a:lnSpc>
              <a:spcBef>
                <a:spcPct val="20000"/>
              </a:spcBef>
              <a:spcAft>
                <a:spcPts val="0"/>
              </a:spcAft>
              <a:buClrTx/>
              <a:buSzPct val="80000"/>
              <a:buFontTx/>
              <a:buNone/>
              <a:tabLst/>
              <a:defRPr/>
            </a:pPr>
            <a:r>
              <a:rPr kumimoji="0" lang="en-US" sz="1428" b="1" i="0" u="none" strike="noStrike" kern="0" cap="none" spc="0" normalizeH="0" baseline="0" noProof="0" dirty="0">
                <a:ln>
                  <a:noFill/>
                </a:ln>
                <a:solidFill>
                  <a:srgbClr val="0078D7"/>
                </a:solidFill>
                <a:effectLst/>
                <a:uLnTx/>
                <a:uFillTx/>
              </a:rPr>
              <a:t>Salesforce</a:t>
            </a:r>
          </a:p>
          <a:p>
            <a:pPr marL="0" marR="0" lvl="0" indent="0" defTabSz="932418" eaLnBrk="1" fontAlgn="auto" latinLnBrk="0" hangingPunct="1">
              <a:lnSpc>
                <a:spcPct val="90000"/>
              </a:lnSpc>
              <a:spcBef>
                <a:spcPct val="20000"/>
              </a:spcBef>
              <a:spcAft>
                <a:spcPts val="0"/>
              </a:spcAft>
              <a:buClrTx/>
              <a:buSzPct val="80000"/>
              <a:buFontTx/>
              <a:buNone/>
              <a:tabLst/>
              <a:defRPr/>
            </a:pPr>
            <a:r>
              <a:rPr kumimoji="0" lang="en-US" sz="1428" b="1" i="0" u="none" strike="noStrike" kern="0" cap="none" spc="0" normalizeH="0" baseline="0" noProof="0" dirty="0">
                <a:ln>
                  <a:noFill/>
                </a:ln>
                <a:solidFill>
                  <a:srgbClr val="0078D7"/>
                </a:solidFill>
                <a:effectLst/>
                <a:uLnTx/>
                <a:uFillTx/>
              </a:rPr>
              <a:t>Box</a:t>
            </a:r>
          </a:p>
          <a:p>
            <a:pPr marL="0" marR="0" lvl="0" indent="0" defTabSz="932418" eaLnBrk="1" fontAlgn="auto" latinLnBrk="0" hangingPunct="1">
              <a:lnSpc>
                <a:spcPct val="90000"/>
              </a:lnSpc>
              <a:spcBef>
                <a:spcPct val="20000"/>
              </a:spcBef>
              <a:spcAft>
                <a:spcPts val="0"/>
              </a:spcAft>
              <a:buClrTx/>
              <a:buSzPct val="80000"/>
              <a:buFontTx/>
              <a:buNone/>
              <a:tabLst/>
              <a:defRPr/>
            </a:pPr>
            <a:r>
              <a:rPr kumimoji="0" lang="en-US" sz="1428" b="1" i="0" u="none" strike="noStrike" kern="0" cap="none" spc="0" normalizeH="0" baseline="0" noProof="0" dirty="0" err="1">
                <a:ln>
                  <a:noFill/>
                </a:ln>
                <a:solidFill>
                  <a:srgbClr val="0078D7"/>
                </a:solidFill>
                <a:effectLst/>
                <a:uLnTx/>
                <a:uFillTx/>
              </a:rPr>
              <a:t>DropBox</a:t>
            </a:r>
            <a:endParaRPr kumimoji="0" lang="en-US" sz="1428" b="1" i="0" u="none" strike="noStrike" kern="0" cap="none" spc="0" normalizeH="0" baseline="0" noProof="0" dirty="0">
              <a:ln>
                <a:noFill/>
              </a:ln>
              <a:solidFill>
                <a:srgbClr val="0078D7"/>
              </a:solidFill>
              <a:effectLst/>
              <a:uLnTx/>
              <a:uFillTx/>
            </a:endParaRPr>
          </a:p>
          <a:p>
            <a:pPr marL="0" marR="0" lvl="0" indent="0" defTabSz="932418" eaLnBrk="1" fontAlgn="auto" latinLnBrk="0" hangingPunct="1">
              <a:lnSpc>
                <a:spcPct val="90000"/>
              </a:lnSpc>
              <a:spcBef>
                <a:spcPct val="20000"/>
              </a:spcBef>
              <a:spcAft>
                <a:spcPts val="0"/>
              </a:spcAft>
              <a:buClrTx/>
              <a:buSzPct val="80000"/>
              <a:buFontTx/>
              <a:buNone/>
              <a:tabLst/>
              <a:defRPr/>
            </a:pPr>
            <a:r>
              <a:rPr kumimoji="0" lang="en-US" sz="1428" b="1" i="0" u="none" strike="noStrike" kern="0" cap="none" spc="0" normalizeH="0" baseline="0" noProof="0" dirty="0">
                <a:ln>
                  <a:noFill/>
                </a:ln>
                <a:solidFill>
                  <a:srgbClr val="0078D7"/>
                </a:solidFill>
                <a:effectLst/>
                <a:uLnTx/>
                <a:uFillTx/>
              </a:rPr>
              <a:t>Google</a:t>
            </a:r>
          </a:p>
          <a:p>
            <a:pPr marL="0" marR="0" lvl="0" indent="0" defTabSz="932418" eaLnBrk="1" fontAlgn="auto" latinLnBrk="0" hangingPunct="1">
              <a:lnSpc>
                <a:spcPct val="90000"/>
              </a:lnSpc>
              <a:spcBef>
                <a:spcPct val="20000"/>
              </a:spcBef>
              <a:spcAft>
                <a:spcPts val="0"/>
              </a:spcAft>
              <a:buClrTx/>
              <a:buSzPct val="80000"/>
              <a:buFontTx/>
              <a:buNone/>
              <a:tabLst/>
              <a:defRPr/>
            </a:pPr>
            <a:r>
              <a:rPr kumimoji="0" lang="en-US" sz="1428" b="1" i="0" u="none" strike="noStrike" kern="0" cap="none" spc="0" normalizeH="0" baseline="0" noProof="0" dirty="0">
                <a:ln>
                  <a:noFill/>
                </a:ln>
                <a:solidFill>
                  <a:srgbClr val="0078D7"/>
                </a:solidFill>
                <a:effectLst/>
                <a:uLnTx/>
                <a:uFillTx/>
              </a:rPr>
              <a:t>…</a:t>
            </a:r>
          </a:p>
        </p:txBody>
      </p:sp>
      <p:sp>
        <p:nvSpPr>
          <p:cNvPr id="122" name="TextBox 121"/>
          <p:cNvSpPr txBox="1"/>
          <p:nvPr/>
        </p:nvSpPr>
        <p:spPr>
          <a:xfrm>
            <a:off x="3326107" y="1287462"/>
            <a:ext cx="2994768" cy="576274"/>
          </a:xfrm>
          <a:prstGeom prst="rect">
            <a:avLst/>
          </a:prstGeom>
          <a:noFill/>
        </p:spPr>
        <p:txBody>
          <a:bodyPr wrap="square" lIns="0" tIns="0" rIns="0" bIns="0" rtlCol="0">
            <a:spAutoFit/>
          </a:bodyPr>
          <a:lstStyle/>
          <a:p>
            <a:pPr marL="0" marR="0" lvl="0" indent="0" algn="ctr" defTabSz="932418" eaLnBrk="1" fontAlgn="auto" latinLnBrk="0" hangingPunct="1">
              <a:lnSpc>
                <a:spcPct val="90000"/>
              </a:lnSpc>
              <a:spcBef>
                <a:spcPct val="20000"/>
              </a:spcBef>
              <a:spcAft>
                <a:spcPts val="0"/>
              </a:spcAft>
              <a:buClrTx/>
              <a:buSzPct val="80000"/>
              <a:buFontTx/>
              <a:buNone/>
              <a:tabLst/>
              <a:defRPr/>
            </a:pPr>
            <a:r>
              <a:rPr kumimoji="0" lang="en-US" sz="2040" b="1" i="0" u="none" strike="noStrike" kern="0" cap="none" spc="0" normalizeH="0" baseline="0" noProof="0" dirty="0">
                <a:ln>
                  <a:noFill/>
                </a:ln>
                <a:solidFill>
                  <a:srgbClr val="0078D7">
                    <a:alpha val="99000"/>
                  </a:srgbClr>
                </a:solidFill>
                <a:effectLst/>
                <a:uLnTx/>
                <a:uFillTx/>
              </a:rPr>
              <a:t>Identity</a:t>
            </a:r>
            <a:br>
              <a:rPr kumimoji="0" lang="en-US" sz="2040" b="1" i="0" u="none" strike="noStrike" kern="0" cap="none" spc="0" normalizeH="0" baseline="0" noProof="0" dirty="0">
                <a:ln>
                  <a:noFill/>
                </a:ln>
                <a:solidFill>
                  <a:srgbClr val="0078D7">
                    <a:alpha val="99000"/>
                  </a:srgbClr>
                </a:solidFill>
                <a:effectLst/>
                <a:uLnTx/>
                <a:uFillTx/>
              </a:rPr>
            </a:br>
            <a:r>
              <a:rPr kumimoji="0" lang="en-US" sz="2040" b="1" i="0" u="none" strike="noStrike" kern="0" cap="none" spc="0" normalizeH="0" baseline="0" noProof="0" dirty="0">
                <a:ln>
                  <a:noFill/>
                </a:ln>
                <a:solidFill>
                  <a:srgbClr val="0078D7">
                    <a:alpha val="99000"/>
                  </a:srgbClr>
                </a:solidFill>
                <a:effectLst/>
                <a:uLnTx/>
                <a:uFillTx/>
              </a:rPr>
              <a:t>Bridge</a:t>
            </a:r>
          </a:p>
        </p:txBody>
      </p:sp>
      <p:cxnSp>
        <p:nvCxnSpPr>
          <p:cNvPr id="123" name="Straight Arrow Connector 122"/>
          <p:cNvCxnSpPr>
            <a:cxnSpLocks/>
          </p:cNvCxnSpPr>
          <p:nvPr/>
        </p:nvCxnSpPr>
        <p:spPr>
          <a:xfrm flipV="1">
            <a:off x="1947898" y="5249862"/>
            <a:ext cx="2550153" cy="699467"/>
          </a:xfrm>
          <a:prstGeom prst="straightConnector1">
            <a:avLst/>
          </a:prstGeom>
          <a:noFill/>
          <a:ln w="19050" cap="flat" cmpd="sng" algn="ctr">
            <a:solidFill>
              <a:srgbClr val="0078D7"/>
            </a:solidFill>
            <a:prstDash val="dash"/>
            <a:headEnd type="triangle" w="lg" len="lg"/>
            <a:tailEnd type="triangle" w="lg" len="lg"/>
          </a:ln>
          <a:effectLst/>
        </p:spPr>
      </p:cxnSp>
      <p:cxnSp>
        <p:nvCxnSpPr>
          <p:cNvPr id="126" name="Straight Arrow Connector 125"/>
          <p:cNvCxnSpPr>
            <a:cxnSpLocks/>
          </p:cNvCxnSpPr>
          <p:nvPr/>
        </p:nvCxnSpPr>
        <p:spPr>
          <a:xfrm flipV="1">
            <a:off x="2888682" y="5402262"/>
            <a:ext cx="1609369" cy="600482"/>
          </a:xfrm>
          <a:prstGeom prst="straightConnector1">
            <a:avLst/>
          </a:prstGeom>
          <a:noFill/>
          <a:ln w="19050" cap="flat" cmpd="sng" algn="ctr">
            <a:solidFill>
              <a:srgbClr val="0078D7"/>
            </a:solidFill>
            <a:prstDash val="dash"/>
            <a:headEnd type="triangle" w="lg" len="lg"/>
            <a:tailEnd type="triangle" w="lg" len="lg"/>
          </a:ln>
          <a:effectLst/>
        </p:spPr>
      </p:cxnSp>
      <p:cxnSp>
        <p:nvCxnSpPr>
          <p:cNvPr id="127" name="Straight Arrow Connector 126"/>
          <p:cNvCxnSpPr>
            <a:cxnSpLocks/>
          </p:cNvCxnSpPr>
          <p:nvPr/>
        </p:nvCxnSpPr>
        <p:spPr>
          <a:xfrm>
            <a:off x="5227637" y="3268662"/>
            <a:ext cx="1606939" cy="457200"/>
          </a:xfrm>
          <a:prstGeom prst="straightConnector1">
            <a:avLst/>
          </a:prstGeom>
          <a:noFill/>
          <a:ln w="19050" cap="flat" cmpd="sng" algn="ctr">
            <a:solidFill>
              <a:srgbClr val="0078D7"/>
            </a:solidFill>
            <a:prstDash val="dash"/>
            <a:headEnd type="none" w="lg" len="lg"/>
            <a:tailEnd type="triangle" w="lg" len="lg"/>
          </a:ln>
          <a:effectLst/>
        </p:spPr>
      </p:cxnSp>
      <p:cxnSp>
        <p:nvCxnSpPr>
          <p:cNvPr id="128" name="Straight Arrow Connector 127"/>
          <p:cNvCxnSpPr>
            <a:cxnSpLocks/>
          </p:cNvCxnSpPr>
          <p:nvPr/>
        </p:nvCxnSpPr>
        <p:spPr>
          <a:xfrm flipV="1">
            <a:off x="7608127" y="2735262"/>
            <a:ext cx="1658110" cy="736364"/>
          </a:xfrm>
          <a:prstGeom prst="straightConnector1">
            <a:avLst/>
          </a:prstGeom>
          <a:noFill/>
          <a:ln w="19050" cap="flat" cmpd="sng" algn="ctr">
            <a:solidFill>
              <a:srgbClr val="0078D7"/>
            </a:solidFill>
            <a:prstDash val="dash"/>
            <a:headEnd type="triangle" w="lg" len="lg"/>
            <a:tailEnd type="triangle" w="lg" len="lg"/>
          </a:ln>
          <a:effectLst/>
        </p:spPr>
      </p:cxnSp>
      <p:sp>
        <p:nvSpPr>
          <p:cNvPr id="129" name="TextBox 128"/>
          <p:cNvSpPr txBox="1"/>
          <p:nvPr/>
        </p:nvSpPr>
        <p:spPr>
          <a:xfrm>
            <a:off x="10256837" y="4259262"/>
            <a:ext cx="1464963" cy="254237"/>
          </a:xfrm>
          <a:prstGeom prst="rect">
            <a:avLst/>
          </a:prstGeom>
          <a:noFill/>
        </p:spPr>
        <p:txBody>
          <a:bodyPr wrap="square" lIns="0" tIns="0" rIns="0" bIns="0" rtlCol="0">
            <a:spAutoFit/>
          </a:bodyPr>
          <a:lstStyle/>
          <a:p>
            <a:pPr marL="0" marR="0" lvl="0" indent="0" defTabSz="932418" eaLnBrk="1" fontAlgn="auto" latinLnBrk="0" hangingPunct="1">
              <a:lnSpc>
                <a:spcPct val="90000"/>
              </a:lnSpc>
              <a:spcBef>
                <a:spcPct val="20000"/>
              </a:spcBef>
              <a:spcAft>
                <a:spcPts val="0"/>
              </a:spcAft>
              <a:buClrTx/>
              <a:buSzPct val="80000"/>
              <a:buFontTx/>
              <a:buNone/>
              <a:tabLst/>
              <a:defRPr/>
            </a:pPr>
            <a:r>
              <a:rPr kumimoji="0" lang="en-US" sz="1836" b="1" i="0" u="none" strike="noStrike" kern="0" cap="none" spc="0" normalizeH="0" baseline="0" noProof="0" dirty="0">
                <a:ln>
                  <a:noFill/>
                </a:ln>
                <a:solidFill>
                  <a:srgbClr val="0078D7">
                    <a:alpha val="99000"/>
                  </a:srgbClr>
                </a:solidFill>
                <a:effectLst/>
                <a:uLnTx/>
                <a:uFillTx/>
              </a:rPr>
              <a:t>Your apps</a:t>
            </a:r>
          </a:p>
        </p:txBody>
      </p:sp>
      <p:pic>
        <p:nvPicPr>
          <p:cNvPr id="130" name="Picture 129"/>
          <p:cNvPicPr>
            <a:picLocks noChangeAspect="1"/>
          </p:cNvPicPr>
          <p:nvPr/>
        </p:nvPicPr>
        <p:blipFill>
          <a:blip r:embed="rId3" cstate="screen">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409241" y="4006610"/>
            <a:ext cx="780290" cy="780290"/>
          </a:xfrm>
          <a:prstGeom prst="rect">
            <a:avLst/>
          </a:prstGeom>
        </p:spPr>
      </p:pic>
      <p:pic>
        <p:nvPicPr>
          <p:cNvPr id="133" name="Picture 13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43726" y="3341011"/>
            <a:ext cx="624232" cy="624232"/>
          </a:xfrm>
          <a:prstGeom prst="rect">
            <a:avLst/>
          </a:prstGeom>
        </p:spPr>
      </p:pic>
      <p:pic>
        <p:nvPicPr>
          <p:cNvPr id="134" name="Picture 13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67719" y="5979478"/>
            <a:ext cx="602518" cy="602518"/>
          </a:xfrm>
          <a:prstGeom prst="rect">
            <a:avLst/>
          </a:prstGeom>
        </p:spPr>
      </p:pic>
      <p:pic>
        <p:nvPicPr>
          <p:cNvPr id="135" name="Picture 13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8125" y="6035793"/>
            <a:ext cx="546203" cy="546203"/>
          </a:xfrm>
          <a:prstGeom prst="rect">
            <a:avLst/>
          </a:prstGeom>
        </p:spPr>
      </p:pic>
      <p:pic>
        <p:nvPicPr>
          <p:cNvPr id="137" name="Picture 13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627922" y="6035794"/>
            <a:ext cx="546203" cy="546203"/>
          </a:xfrm>
          <a:prstGeom prst="rect">
            <a:avLst/>
          </a:prstGeom>
        </p:spPr>
      </p:pic>
      <p:pic>
        <p:nvPicPr>
          <p:cNvPr id="139" name="Picture 13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27837" y="3478972"/>
            <a:ext cx="780290" cy="780290"/>
          </a:xfrm>
          <a:prstGeom prst="rect">
            <a:avLst/>
          </a:prstGeom>
        </p:spPr>
      </p:pic>
      <p:pic>
        <p:nvPicPr>
          <p:cNvPr id="141" name="Picture 14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409241" y="2294312"/>
            <a:ext cx="780290" cy="780290"/>
          </a:xfrm>
          <a:prstGeom prst="rect">
            <a:avLst/>
          </a:prstGeom>
        </p:spPr>
      </p:pic>
      <p:pic>
        <p:nvPicPr>
          <p:cNvPr id="142" name="Picture 14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342438" y="3083658"/>
            <a:ext cx="863286" cy="863286"/>
          </a:xfrm>
          <a:prstGeom prst="rect">
            <a:avLst/>
          </a:prstGeom>
        </p:spPr>
      </p:pic>
      <p:cxnSp>
        <p:nvCxnSpPr>
          <p:cNvPr id="143" name="Straight Arrow Connector 142"/>
          <p:cNvCxnSpPr>
            <a:cxnSpLocks/>
          </p:cNvCxnSpPr>
          <p:nvPr/>
        </p:nvCxnSpPr>
        <p:spPr>
          <a:xfrm flipV="1">
            <a:off x="7608127" y="3627328"/>
            <a:ext cx="1658110" cy="174734"/>
          </a:xfrm>
          <a:prstGeom prst="straightConnector1">
            <a:avLst/>
          </a:prstGeom>
          <a:noFill/>
          <a:ln w="19050" cap="flat" cmpd="sng" algn="ctr">
            <a:solidFill>
              <a:srgbClr val="0078D7"/>
            </a:solidFill>
            <a:prstDash val="dash"/>
            <a:headEnd type="triangle" w="lg" len="lg"/>
            <a:tailEnd type="triangle" w="lg" len="lg"/>
          </a:ln>
          <a:effectLst/>
        </p:spPr>
      </p:cxnSp>
      <p:sp>
        <p:nvSpPr>
          <p:cNvPr id="144" name="TextBox 143"/>
          <p:cNvSpPr txBox="1"/>
          <p:nvPr/>
        </p:nvSpPr>
        <p:spPr>
          <a:xfrm>
            <a:off x="10256837" y="3471625"/>
            <a:ext cx="1464963" cy="254237"/>
          </a:xfrm>
          <a:prstGeom prst="rect">
            <a:avLst/>
          </a:prstGeom>
          <a:noFill/>
        </p:spPr>
        <p:txBody>
          <a:bodyPr wrap="square" lIns="0" tIns="0" rIns="0" bIns="0" rtlCol="0">
            <a:spAutoFit/>
          </a:bodyPr>
          <a:lstStyle/>
          <a:p>
            <a:pPr marL="0" marR="0" lvl="0" indent="0" defTabSz="932418" eaLnBrk="1" fontAlgn="auto" latinLnBrk="0" hangingPunct="1">
              <a:lnSpc>
                <a:spcPct val="90000"/>
              </a:lnSpc>
              <a:spcBef>
                <a:spcPct val="20000"/>
              </a:spcBef>
              <a:spcAft>
                <a:spcPts val="0"/>
              </a:spcAft>
              <a:buClrTx/>
              <a:buSzPct val="80000"/>
              <a:buFontTx/>
              <a:buNone/>
              <a:tabLst/>
              <a:defRPr/>
            </a:pPr>
            <a:r>
              <a:rPr kumimoji="0" lang="en-US" sz="1836" b="1" i="0" u="none" strike="noStrike" kern="0" cap="none" spc="0" normalizeH="0" baseline="0" noProof="0" dirty="0">
                <a:ln>
                  <a:noFill/>
                </a:ln>
                <a:solidFill>
                  <a:srgbClr val="0078D7">
                    <a:alpha val="99000"/>
                  </a:srgbClr>
                </a:solidFill>
                <a:effectLst/>
                <a:uLnTx/>
                <a:uFillTx/>
              </a:rPr>
              <a:t>Office 365</a:t>
            </a:r>
          </a:p>
        </p:txBody>
      </p:sp>
      <p:cxnSp>
        <p:nvCxnSpPr>
          <p:cNvPr id="146" name="Straight Arrow Connector 145"/>
          <p:cNvCxnSpPr>
            <a:cxnSpLocks/>
          </p:cNvCxnSpPr>
          <p:nvPr/>
        </p:nvCxnSpPr>
        <p:spPr>
          <a:xfrm>
            <a:off x="7608127" y="4106862"/>
            <a:ext cx="1658110" cy="294815"/>
          </a:xfrm>
          <a:prstGeom prst="straightConnector1">
            <a:avLst/>
          </a:prstGeom>
          <a:noFill/>
          <a:ln w="19050" cap="flat" cmpd="sng" algn="ctr">
            <a:solidFill>
              <a:srgbClr val="0078D7"/>
            </a:solidFill>
            <a:prstDash val="dash"/>
            <a:headEnd type="triangle" w="lg" len="lg"/>
            <a:tailEnd type="triangle" w="lg" len="lg"/>
          </a:ln>
          <a:effectLst/>
        </p:spPr>
      </p:cxnSp>
      <p:pic>
        <p:nvPicPr>
          <p:cNvPr id="147" name="Picture 14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604333" y="3081125"/>
            <a:ext cx="546203" cy="546203"/>
          </a:xfrm>
          <a:prstGeom prst="rect">
            <a:avLst/>
          </a:prstGeom>
        </p:spPr>
      </p:pic>
      <p:cxnSp>
        <p:nvCxnSpPr>
          <p:cNvPr id="148" name="Straight Arrow Connector 147"/>
          <p:cNvCxnSpPr>
            <a:cxnSpLocks/>
          </p:cNvCxnSpPr>
          <p:nvPr/>
        </p:nvCxnSpPr>
        <p:spPr>
          <a:xfrm flipV="1">
            <a:off x="1079514" y="5065136"/>
            <a:ext cx="3418537" cy="898667"/>
          </a:xfrm>
          <a:prstGeom prst="straightConnector1">
            <a:avLst/>
          </a:prstGeom>
          <a:noFill/>
          <a:ln w="19050" cap="flat" cmpd="sng" algn="ctr">
            <a:solidFill>
              <a:srgbClr val="0078D7"/>
            </a:solidFill>
            <a:prstDash val="dash"/>
            <a:headEnd type="triangle" w="lg" len="lg"/>
            <a:tailEnd type="triangle" w="lg" len="lg"/>
          </a:ln>
          <a:effectLst/>
        </p:spPr>
      </p:cxnSp>
      <p:cxnSp>
        <p:nvCxnSpPr>
          <p:cNvPr id="149" name="Straight Arrow Connector 148"/>
          <p:cNvCxnSpPr>
            <a:cxnSpLocks/>
          </p:cNvCxnSpPr>
          <p:nvPr/>
        </p:nvCxnSpPr>
        <p:spPr>
          <a:xfrm flipH="1" flipV="1">
            <a:off x="1703692" y="5145995"/>
            <a:ext cx="18513" cy="803334"/>
          </a:xfrm>
          <a:prstGeom prst="straightConnector1">
            <a:avLst/>
          </a:prstGeom>
          <a:noFill/>
          <a:ln w="19050" cap="flat" cmpd="sng" algn="ctr">
            <a:solidFill>
              <a:srgbClr val="0078D7"/>
            </a:solidFill>
            <a:prstDash val="dash"/>
            <a:tailEnd type="triangle" w="lg" len="med"/>
          </a:ln>
          <a:effectLst/>
        </p:spPr>
      </p:cxnSp>
      <p:cxnSp>
        <p:nvCxnSpPr>
          <p:cNvPr id="150" name="Straight Arrow Connector 149"/>
          <p:cNvCxnSpPr>
            <a:cxnSpLocks/>
          </p:cNvCxnSpPr>
          <p:nvPr/>
        </p:nvCxnSpPr>
        <p:spPr>
          <a:xfrm flipH="1" flipV="1">
            <a:off x="2027237" y="5153933"/>
            <a:ext cx="544185" cy="804318"/>
          </a:xfrm>
          <a:prstGeom prst="straightConnector1">
            <a:avLst/>
          </a:prstGeom>
          <a:noFill/>
          <a:ln w="19050" cap="flat" cmpd="sng" algn="ctr">
            <a:solidFill>
              <a:srgbClr val="0078D7"/>
            </a:solidFill>
            <a:prstDash val="dash"/>
            <a:tailEnd type="triangle" w="lg" len="med"/>
          </a:ln>
          <a:effectLst/>
        </p:spPr>
      </p:cxnSp>
      <p:sp>
        <p:nvSpPr>
          <p:cNvPr id="151" name="TextBox 150"/>
          <p:cNvSpPr txBox="1"/>
          <p:nvPr/>
        </p:nvSpPr>
        <p:spPr>
          <a:xfrm>
            <a:off x="3686841" y="1904063"/>
            <a:ext cx="2330173" cy="221599"/>
          </a:xfrm>
          <a:prstGeom prst="rect">
            <a:avLst/>
          </a:prstGeom>
          <a:noFill/>
        </p:spPr>
        <p:txBody>
          <a:bodyPr wrap="square" lIns="0" tIns="0" rIns="0" bIns="0" rtlCol="0">
            <a:spAutoFit/>
          </a:bodyPr>
          <a:lstStyle/>
          <a:p>
            <a:pPr marL="0" marR="0" lvl="0" indent="0" algn="ctr" defTabSz="932418" eaLnBrk="1" fontAlgn="auto" latinLnBrk="0" hangingPunct="1">
              <a:lnSpc>
                <a:spcPct val="90000"/>
              </a:lnSpc>
              <a:spcBef>
                <a:spcPct val="20000"/>
              </a:spcBef>
              <a:spcAft>
                <a:spcPts val="0"/>
              </a:spcAft>
              <a:buClrTx/>
              <a:buSzPct val="80000"/>
              <a:buFontTx/>
              <a:buNone/>
              <a:tabLst/>
              <a:defRPr/>
            </a:pPr>
            <a:r>
              <a:rPr kumimoji="0" lang="en-US" sz="1600" b="1" i="0" u="none" strike="noStrike" kern="0" cap="none" spc="0" normalizeH="0" baseline="0" noProof="0" dirty="0">
                <a:ln>
                  <a:noFill/>
                </a:ln>
                <a:solidFill>
                  <a:srgbClr val="0078D7"/>
                </a:solidFill>
                <a:effectLst/>
                <a:uLnTx/>
                <a:uFillTx/>
              </a:rPr>
              <a:t>Azure AD Connect</a:t>
            </a:r>
          </a:p>
        </p:txBody>
      </p:sp>
      <p:pic>
        <p:nvPicPr>
          <p:cNvPr id="152" name="Picture 15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604333" y="3970845"/>
            <a:ext cx="546203" cy="546203"/>
          </a:xfrm>
          <a:prstGeom prst="rect">
            <a:avLst/>
          </a:prstGeom>
        </p:spPr>
      </p:pic>
      <p:cxnSp>
        <p:nvCxnSpPr>
          <p:cNvPr id="153" name="Straight Arrow Connector 152"/>
          <p:cNvCxnSpPr>
            <a:cxnSpLocks/>
          </p:cNvCxnSpPr>
          <p:nvPr/>
        </p:nvCxnSpPr>
        <p:spPr>
          <a:xfrm flipV="1">
            <a:off x="5227637" y="4335462"/>
            <a:ext cx="1606939" cy="525104"/>
          </a:xfrm>
          <a:prstGeom prst="straightConnector1">
            <a:avLst/>
          </a:prstGeom>
          <a:noFill/>
          <a:ln w="19050" cap="flat" cmpd="sng" algn="ctr">
            <a:solidFill>
              <a:srgbClr val="0078D7"/>
            </a:solidFill>
            <a:prstDash val="dash"/>
            <a:headEnd type="triangle" w="lg" len="lg"/>
            <a:tailEnd type="triangle" w="lg" len="lg"/>
          </a:ln>
          <a:effectLst/>
        </p:spPr>
      </p:cxnSp>
      <p:cxnSp>
        <p:nvCxnSpPr>
          <p:cNvPr id="155" name="Straight Arrow Connector 154"/>
          <p:cNvCxnSpPr>
            <a:cxnSpLocks/>
          </p:cNvCxnSpPr>
          <p:nvPr/>
        </p:nvCxnSpPr>
        <p:spPr>
          <a:xfrm flipV="1">
            <a:off x="4846637" y="4522378"/>
            <a:ext cx="4556" cy="266745"/>
          </a:xfrm>
          <a:prstGeom prst="straightConnector1">
            <a:avLst/>
          </a:prstGeom>
          <a:noFill/>
          <a:ln w="19050" cap="flat" cmpd="sng" algn="ctr">
            <a:solidFill>
              <a:srgbClr val="0078D7"/>
            </a:solidFill>
            <a:prstDash val="dash"/>
            <a:headEnd type="none" w="lg" len="lg"/>
            <a:tailEnd type="triangle" w="lg" len="lg"/>
          </a:ln>
          <a:effectLst/>
        </p:spPr>
      </p:cxnSp>
      <p:cxnSp>
        <p:nvCxnSpPr>
          <p:cNvPr id="157" name="Straight Arrow Connector 156"/>
          <p:cNvCxnSpPr>
            <a:cxnSpLocks/>
            <a:endCxn id="152" idx="0"/>
          </p:cNvCxnSpPr>
          <p:nvPr/>
        </p:nvCxnSpPr>
        <p:spPr>
          <a:xfrm>
            <a:off x="4877434" y="3694200"/>
            <a:ext cx="1" cy="276645"/>
          </a:xfrm>
          <a:prstGeom prst="straightConnector1">
            <a:avLst/>
          </a:prstGeom>
          <a:noFill/>
          <a:ln w="19050" cap="flat" cmpd="sng" algn="ctr">
            <a:solidFill>
              <a:srgbClr val="0078D7"/>
            </a:solidFill>
            <a:prstDash val="dash"/>
            <a:headEnd type="none" w="lg" len="lg"/>
            <a:tailEnd type="triangle" w="lg" len="lg"/>
          </a:ln>
          <a:effectLst/>
        </p:spPr>
      </p:cxnSp>
      <p:cxnSp>
        <p:nvCxnSpPr>
          <p:cNvPr id="158" name="Straight Arrow Connector 157"/>
          <p:cNvCxnSpPr>
            <a:cxnSpLocks/>
          </p:cNvCxnSpPr>
          <p:nvPr/>
        </p:nvCxnSpPr>
        <p:spPr>
          <a:xfrm>
            <a:off x="2067958" y="3725862"/>
            <a:ext cx="2430093" cy="462917"/>
          </a:xfrm>
          <a:prstGeom prst="straightConnector1">
            <a:avLst/>
          </a:prstGeom>
          <a:noFill/>
          <a:ln w="19050" cap="flat" cmpd="sng" algn="ctr">
            <a:solidFill>
              <a:srgbClr val="0078D7"/>
            </a:solidFill>
            <a:prstDash val="dash"/>
            <a:headEnd type="none" w="lg" len="lg"/>
            <a:tailEnd type="triangle" w="lg" len="lg"/>
          </a:ln>
          <a:effectLst/>
        </p:spPr>
      </p:cxnSp>
      <p:cxnSp>
        <p:nvCxnSpPr>
          <p:cNvPr id="159" name="Straight Arrow Connector 158"/>
          <p:cNvCxnSpPr>
            <a:cxnSpLocks/>
          </p:cNvCxnSpPr>
          <p:nvPr/>
        </p:nvCxnSpPr>
        <p:spPr>
          <a:xfrm flipV="1">
            <a:off x="2067958" y="3268663"/>
            <a:ext cx="2430093" cy="210309"/>
          </a:xfrm>
          <a:prstGeom prst="straightConnector1">
            <a:avLst/>
          </a:prstGeom>
          <a:noFill/>
          <a:ln w="19050" cap="flat" cmpd="sng" algn="ctr">
            <a:solidFill>
              <a:srgbClr val="0078D7"/>
            </a:solidFill>
            <a:prstDash val="dash"/>
            <a:headEnd type="none" w="lg" len="lg"/>
            <a:tailEnd type="triangle" w="lg" len="lg"/>
          </a:ln>
          <a:effectLst/>
        </p:spPr>
      </p:cxnSp>
      <p:cxnSp>
        <p:nvCxnSpPr>
          <p:cNvPr id="160" name="Straight Arrow Connector 159"/>
          <p:cNvCxnSpPr>
            <a:cxnSpLocks/>
          </p:cNvCxnSpPr>
          <p:nvPr/>
        </p:nvCxnSpPr>
        <p:spPr>
          <a:xfrm>
            <a:off x="2067958" y="3965243"/>
            <a:ext cx="2430093" cy="895323"/>
          </a:xfrm>
          <a:prstGeom prst="straightConnector1">
            <a:avLst/>
          </a:prstGeom>
          <a:noFill/>
          <a:ln w="19050" cap="flat" cmpd="sng" algn="ctr">
            <a:solidFill>
              <a:srgbClr val="0078D7"/>
            </a:solidFill>
            <a:prstDash val="dash"/>
            <a:headEnd type="triangle" w="lg" len="lg"/>
            <a:tailEnd type="triangle" w="lg" len="lg"/>
          </a:ln>
          <a:effectLst/>
        </p:spPr>
      </p:cxnSp>
      <p:sp>
        <p:nvSpPr>
          <p:cNvPr id="161" name="TextBox 160"/>
          <p:cNvSpPr txBox="1"/>
          <p:nvPr/>
        </p:nvSpPr>
        <p:spPr>
          <a:xfrm>
            <a:off x="4103571" y="6031673"/>
            <a:ext cx="1428866" cy="193899"/>
          </a:xfrm>
          <a:prstGeom prst="rect">
            <a:avLst/>
          </a:prstGeom>
          <a:noFill/>
        </p:spPr>
        <p:txBody>
          <a:bodyPr wrap="square" lIns="0" tIns="0" rIns="0" bIns="0" rtlCol="0">
            <a:spAutoFit/>
          </a:bodyPr>
          <a:lstStyle/>
          <a:p>
            <a:pPr marL="0" marR="0" lvl="0" indent="0" algn="ctr" defTabSz="932418" eaLnBrk="1" fontAlgn="auto" latinLnBrk="0" hangingPunct="1">
              <a:lnSpc>
                <a:spcPct val="90000"/>
              </a:lnSpc>
              <a:spcBef>
                <a:spcPct val="20000"/>
              </a:spcBef>
              <a:spcAft>
                <a:spcPts val="0"/>
              </a:spcAft>
              <a:buClrTx/>
              <a:buSzPct val="80000"/>
              <a:buFontTx/>
              <a:buNone/>
              <a:tabLst/>
              <a:defRPr/>
            </a:pPr>
            <a:r>
              <a:rPr kumimoji="0" lang="en-US" sz="1400" b="1" i="0" u="none" strike="noStrike" kern="0" cap="none" spc="0" normalizeH="0" baseline="0" noProof="0" dirty="0">
                <a:ln>
                  <a:noFill/>
                </a:ln>
                <a:solidFill>
                  <a:srgbClr val="0078D7"/>
                </a:solidFill>
                <a:effectLst/>
                <a:uLnTx/>
                <a:uFillTx/>
              </a:rPr>
              <a:t>Health</a:t>
            </a:r>
          </a:p>
        </p:txBody>
      </p:sp>
    </p:spTree>
    <p:extLst>
      <p:ext uri="{BB962C8B-B14F-4D97-AF65-F5344CB8AC3E}">
        <p14:creationId xmlns:p14="http://schemas.microsoft.com/office/powerpoint/2010/main" val="20023077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9"/>
                                        </p:tgtEl>
                                        <p:attrNameLst>
                                          <p:attrName>style.visibility</p:attrName>
                                        </p:attrNameLst>
                                      </p:cBhvr>
                                      <p:to>
                                        <p:strVal val="visible"/>
                                      </p:to>
                                    </p:set>
                                    <p:animEffect transition="in" filter="wipe(left)">
                                      <p:cBhvr>
                                        <p:cTn id="7" dur="500"/>
                                        <p:tgtEl>
                                          <p:spTgt spid="159"/>
                                        </p:tgtEl>
                                      </p:cBhvr>
                                    </p:animEffect>
                                  </p:childTnLst>
                                </p:cTn>
                              </p:par>
                              <p:par>
                                <p:cTn id="8" presetID="22" presetClass="entr" presetSubtype="8" fill="hold" nodeType="withEffect">
                                  <p:stCondLst>
                                    <p:cond delay="0"/>
                                  </p:stCondLst>
                                  <p:childTnLst>
                                    <p:set>
                                      <p:cBhvr>
                                        <p:cTn id="9" dur="1" fill="hold">
                                          <p:stCondLst>
                                            <p:cond delay="0"/>
                                          </p:stCondLst>
                                        </p:cTn>
                                        <p:tgtEl>
                                          <p:spTgt spid="160"/>
                                        </p:tgtEl>
                                        <p:attrNameLst>
                                          <p:attrName>style.visibility</p:attrName>
                                        </p:attrNameLst>
                                      </p:cBhvr>
                                      <p:to>
                                        <p:strVal val="visible"/>
                                      </p:to>
                                    </p:set>
                                    <p:animEffect transition="in" filter="wipe(left)">
                                      <p:cBhvr>
                                        <p:cTn id="10" dur="500"/>
                                        <p:tgtEl>
                                          <p:spTgt spid="160"/>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27"/>
                                        </p:tgtEl>
                                        <p:attrNameLst>
                                          <p:attrName>style.visibility</p:attrName>
                                        </p:attrNameLst>
                                      </p:cBhvr>
                                      <p:to>
                                        <p:strVal val="visible"/>
                                      </p:to>
                                    </p:set>
                                    <p:animEffect transition="in" filter="wipe(left)">
                                      <p:cBhvr>
                                        <p:cTn id="14" dur="500"/>
                                        <p:tgtEl>
                                          <p:spTgt spid="127"/>
                                        </p:tgtEl>
                                      </p:cBhvr>
                                    </p:animEffect>
                                  </p:childTnLst>
                                </p:cTn>
                              </p:par>
                              <p:par>
                                <p:cTn id="15" presetID="22" presetClass="entr" presetSubtype="8" fill="hold" nodeType="withEffect">
                                  <p:stCondLst>
                                    <p:cond delay="0"/>
                                  </p:stCondLst>
                                  <p:childTnLst>
                                    <p:set>
                                      <p:cBhvr>
                                        <p:cTn id="16" dur="1" fill="hold">
                                          <p:stCondLst>
                                            <p:cond delay="0"/>
                                          </p:stCondLst>
                                        </p:cTn>
                                        <p:tgtEl>
                                          <p:spTgt spid="153"/>
                                        </p:tgtEl>
                                        <p:attrNameLst>
                                          <p:attrName>style.visibility</p:attrName>
                                        </p:attrNameLst>
                                      </p:cBhvr>
                                      <p:to>
                                        <p:strVal val="visible"/>
                                      </p:to>
                                    </p:set>
                                    <p:animEffect transition="in" filter="wipe(left)">
                                      <p:cBhvr>
                                        <p:cTn id="17" dur="500"/>
                                        <p:tgtEl>
                                          <p:spTgt spid="153"/>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128"/>
                                        </p:tgtEl>
                                        <p:attrNameLst>
                                          <p:attrName>style.visibility</p:attrName>
                                        </p:attrNameLst>
                                      </p:cBhvr>
                                      <p:to>
                                        <p:strVal val="visible"/>
                                      </p:to>
                                    </p:set>
                                    <p:animEffect transition="in" filter="wipe(left)">
                                      <p:cBhvr>
                                        <p:cTn id="21" dur="500"/>
                                        <p:tgtEl>
                                          <p:spTgt spid="128"/>
                                        </p:tgtEl>
                                      </p:cBhvr>
                                    </p:animEffect>
                                  </p:childTnLst>
                                </p:cTn>
                              </p:par>
                              <p:par>
                                <p:cTn id="22" presetID="22" presetClass="entr" presetSubtype="8" fill="hold" nodeType="withEffect">
                                  <p:stCondLst>
                                    <p:cond delay="0"/>
                                  </p:stCondLst>
                                  <p:childTnLst>
                                    <p:set>
                                      <p:cBhvr>
                                        <p:cTn id="23" dur="1" fill="hold">
                                          <p:stCondLst>
                                            <p:cond delay="0"/>
                                          </p:stCondLst>
                                        </p:cTn>
                                        <p:tgtEl>
                                          <p:spTgt spid="143"/>
                                        </p:tgtEl>
                                        <p:attrNameLst>
                                          <p:attrName>style.visibility</p:attrName>
                                        </p:attrNameLst>
                                      </p:cBhvr>
                                      <p:to>
                                        <p:strVal val="visible"/>
                                      </p:to>
                                    </p:set>
                                    <p:animEffect transition="in" filter="wipe(left)">
                                      <p:cBhvr>
                                        <p:cTn id="24" dur="500"/>
                                        <p:tgtEl>
                                          <p:spTgt spid="143"/>
                                        </p:tgtEl>
                                      </p:cBhvr>
                                    </p:animEffect>
                                  </p:childTnLst>
                                </p:cTn>
                              </p:par>
                              <p:par>
                                <p:cTn id="25" presetID="22" presetClass="entr" presetSubtype="8" fill="hold" nodeType="withEffect">
                                  <p:stCondLst>
                                    <p:cond delay="0"/>
                                  </p:stCondLst>
                                  <p:childTnLst>
                                    <p:set>
                                      <p:cBhvr>
                                        <p:cTn id="26" dur="1" fill="hold">
                                          <p:stCondLst>
                                            <p:cond delay="0"/>
                                          </p:stCondLst>
                                        </p:cTn>
                                        <p:tgtEl>
                                          <p:spTgt spid="146"/>
                                        </p:tgtEl>
                                        <p:attrNameLst>
                                          <p:attrName>style.visibility</p:attrName>
                                        </p:attrNameLst>
                                      </p:cBhvr>
                                      <p:to>
                                        <p:strVal val="visible"/>
                                      </p:to>
                                    </p:set>
                                    <p:animEffect transition="in" filter="wipe(left)">
                                      <p:cBhvr>
                                        <p:cTn id="27" dur="500"/>
                                        <p:tgtEl>
                                          <p:spTgt spid="14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10"/>
                                        </p:tgtEl>
                                        <p:attrNameLst>
                                          <p:attrName>style.visibility</p:attrName>
                                        </p:attrNameLst>
                                      </p:cBhvr>
                                      <p:to>
                                        <p:strVal val="visible"/>
                                      </p:to>
                                    </p:set>
                                    <p:animEffect transition="in" filter="wipe(down)">
                                      <p:cBhvr>
                                        <p:cTn id="32" dur="500"/>
                                        <p:tgtEl>
                                          <p:spTgt spid="110"/>
                                        </p:tgtEl>
                                      </p:cBhvr>
                                    </p:animEffect>
                                  </p:childTnLst>
                                </p:cTn>
                              </p:par>
                              <p:par>
                                <p:cTn id="33" presetID="22" presetClass="entr" presetSubtype="4" fill="hold" grpId="0" nodeType="withEffect">
                                  <p:stCondLst>
                                    <p:cond delay="0"/>
                                  </p:stCondLst>
                                  <p:childTnLst>
                                    <p:set>
                                      <p:cBhvr>
                                        <p:cTn id="34" dur="1" fill="hold">
                                          <p:stCondLst>
                                            <p:cond delay="0"/>
                                          </p:stCondLst>
                                        </p:cTn>
                                        <p:tgtEl>
                                          <p:spTgt spid="108"/>
                                        </p:tgtEl>
                                        <p:attrNameLst>
                                          <p:attrName>style.visibility</p:attrName>
                                        </p:attrNameLst>
                                      </p:cBhvr>
                                      <p:to>
                                        <p:strVal val="visible"/>
                                      </p:to>
                                    </p:set>
                                    <p:animEffect transition="in" filter="wipe(down)">
                                      <p:cBhvr>
                                        <p:cTn id="35" dur="500"/>
                                        <p:tgtEl>
                                          <p:spTgt spid="108"/>
                                        </p:tgtEl>
                                      </p:cBhvr>
                                    </p:animEffect>
                                  </p:childTnLst>
                                </p:cTn>
                              </p:par>
                            </p:childTnLst>
                          </p:cTn>
                        </p:par>
                        <p:par>
                          <p:cTn id="36" fill="hold">
                            <p:stCondLst>
                              <p:cond delay="500"/>
                            </p:stCondLst>
                            <p:childTnLst>
                              <p:par>
                                <p:cTn id="37" presetID="22" presetClass="entr" presetSubtype="4" fill="hold" nodeType="afterEffect">
                                  <p:stCondLst>
                                    <p:cond delay="0"/>
                                  </p:stCondLst>
                                  <p:childTnLst>
                                    <p:set>
                                      <p:cBhvr>
                                        <p:cTn id="38" dur="1" fill="hold">
                                          <p:stCondLst>
                                            <p:cond delay="0"/>
                                          </p:stCondLst>
                                        </p:cTn>
                                        <p:tgtEl>
                                          <p:spTgt spid="116"/>
                                        </p:tgtEl>
                                        <p:attrNameLst>
                                          <p:attrName>style.visibility</p:attrName>
                                        </p:attrNameLst>
                                      </p:cBhvr>
                                      <p:to>
                                        <p:strVal val="visible"/>
                                      </p:to>
                                    </p:set>
                                    <p:animEffect transition="in" filter="wipe(down)">
                                      <p:cBhvr>
                                        <p:cTn id="39" dur="500"/>
                                        <p:tgtEl>
                                          <p:spTgt spid="116"/>
                                        </p:tgtEl>
                                      </p:cBhvr>
                                    </p:animEffect>
                                  </p:childTnLst>
                                </p:cTn>
                              </p:par>
                              <p:par>
                                <p:cTn id="40" presetID="22" presetClass="entr" presetSubtype="4" fill="hold" nodeType="withEffect">
                                  <p:stCondLst>
                                    <p:cond delay="0"/>
                                  </p:stCondLst>
                                  <p:childTnLst>
                                    <p:set>
                                      <p:cBhvr>
                                        <p:cTn id="41" dur="1" fill="hold">
                                          <p:stCondLst>
                                            <p:cond delay="0"/>
                                          </p:stCondLst>
                                        </p:cTn>
                                        <p:tgtEl>
                                          <p:spTgt spid="149"/>
                                        </p:tgtEl>
                                        <p:attrNameLst>
                                          <p:attrName>style.visibility</p:attrName>
                                        </p:attrNameLst>
                                      </p:cBhvr>
                                      <p:to>
                                        <p:strVal val="visible"/>
                                      </p:to>
                                    </p:set>
                                    <p:animEffect transition="in" filter="wipe(down)">
                                      <p:cBhvr>
                                        <p:cTn id="42" dur="500"/>
                                        <p:tgtEl>
                                          <p:spTgt spid="149"/>
                                        </p:tgtEl>
                                      </p:cBhvr>
                                    </p:animEffect>
                                  </p:childTnLst>
                                </p:cTn>
                              </p:par>
                              <p:par>
                                <p:cTn id="43" presetID="22" presetClass="entr" presetSubtype="4" fill="hold" nodeType="withEffect">
                                  <p:stCondLst>
                                    <p:cond delay="0"/>
                                  </p:stCondLst>
                                  <p:childTnLst>
                                    <p:set>
                                      <p:cBhvr>
                                        <p:cTn id="44" dur="1" fill="hold">
                                          <p:stCondLst>
                                            <p:cond delay="0"/>
                                          </p:stCondLst>
                                        </p:cTn>
                                        <p:tgtEl>
                                          <p:spTgt spid="150"/>
                                        </p:tgtEl>
                                        <p:attrNameLst>
                                          <p:attrName>style.visibility</p:attrName>
                                        </p:attrNameLst>
                                      </p:cBhvr>
                                      <p:to>
                                        <p:strVal val="visible"/>
                                      </p:to>
                                    </p:set>
                                    <p:animEffect transition="in" filter="wipe(down)">
                                      <p:cBhvr>
                                        <p:cTn id="45" dur="500"/>
                                        <p:tgtEl>
                                          <p:spTgt spid="150"/>
                                        </p:tgtEl>
                                      </p:cBhvr>
                                    </p:animEffect>
                                  </p:childTnLst>
                                </p:cTn>
                              </p:par>
                            </p:childTnLst>
                          </p:cTn>
                        </p:par>
                        <p:par>
                          <p:cTn id="46" fill="hold">
                            <p:stCondLst>
                              <p:cond delay="1000"/>
                            </p:stCondLst>
                            <p:childTnLst>
                              <p:par>
                                <p:cTn id="47" presetID="22" presetClass="entr" presetSubtype="4" fill="hold" nodeType="afterEffect">
                                  <p:stCondLst>
                                    <p:cond delay="0"/>
                                  </p:stCondLst>
                                  <p:childTnLst>
                                    <p:set>
                                      <p:cBhvr>
                                        <p:cTn id="48" dur="1" fill="hold">
                                          <p:stCondLst>
                                            <p:cond delay="0"/>
                                          </p:stCondLst>
                                        </p:cTn>
                                        <p:tgtEl>
                                          <p:spTgt spid="115"/>
                                        </p:tgtEl>
                                        <p:attrNameLst>
                                          <p:attrName>style.visibility</p:attrName>
                                        </p:attrNameLst>
                                      </p:cBhvr>
                                      <p:to>
                                        <p:strVal val="visible"/>
                                      </p:to>
                                    </p:set>
                                    <p:animEffect transition="in" filter="wipe(down)">
                                      <p:cBhvr>
                                        <p:cTn id="49" dur="500"/>
                                        <p:tgtEl>
                                          <p:spTgt spid="115"/>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148"/>
                                        </p:tgtEl>
                                        <p:attrNameLst>
                                          <p:attrName>style.visibility</p:attrName>
                                        </p:attrNameLst>
                                      </p:cBhvr>
                                      <p:to>
                                        <p:strVal val="visible"/>
                                      </p:to>
                                    </p:set>
                                    <p:animEffect transition="in" filter="wipe(left)">
                                      <p:cBhvr>
                                        <p:cTn id="54" dur="500"/>
                                        <p:tgtEl>
                                          <p:spTgt spid="148"/>
                                        </p:tgtEl>
                                      </p:cBhvr>
                                    </p:animEffect>
                                  </p:childTnLst>
                                </p:cTn>
                              </p:par>
                              <p:par>
                                <p:cTn id="55" presetID="22" presetClass="entr" presetSubtype="8" fill="hold" nodeType="withEffect">
                                  <p:stCondLst>
                                    <p:cond delay="0"/>
                                  </p:stCondLst>
                                  <p:childTnLst>
                                    <p:set>
                                      <p:cBhvr>
                                        <p:cTn id="56" dur="1" fill="hold">
                                          <p:stCondLst>
                                            <p:cond delay="0"/>
                                          </p:stCondLst>
                                        </p:cTn>
                                        <p:tgtEl>
                                          <p:spTgt spid="123"/>
                                        </p:tgtEl>
                                        <p:attrNameLst>
                                          <p:attrName>style.visibility</p:attrName>
                                        </p:attrNameLst>
                                      </p:cBhvr>
                                      <p:to>
                                        <p:strVal val="visible"/>
                                      </p:to>
                                    </p:set>
                                    <p:animEffect transition="in" filter="wipe(left)">
                                      <p:cBhvr>
                                        <p:cTn id="57" dur="500"/>
                                        <p:tgtEl>
                                          <p:spTgt spid="123"/>
                                        </p:tgtEl>
                                      </p:cBhvr>
                                    </p:animEffect>
                                  </p:childTnLst>
                                </p:cTn>
                              </p:par>
                              <p:par>
                                <p:cTn id="58" presetID="22" presetClass="entr" presetSubtype="8" fill="hold" nodeType="withEffect">
                                  <p:stCondLst>
                                    <p:cond delay="0"/>
                                  </p:stCondLst>
                                  <p:childTnLst>
                                    <p:set>
                                      <p:cBhvr>
                                        <p:cTn id="59" dur="1" fill="hold">
                                          <p:stCondLst>
                                            <p:cond delay="0"/>
                                          </p:stCondLst>
                                        </p:cTn>
                                        <p:tgtEl>
                                          <p:spTgt spid="126"/>
                                        </p:tgtEl>
                                        <p:attrNameLst>
                                          <p:attrName>style.visibility</p:attrName>
                                        </p:attrNameLst>
                                      </p:cBhvr>
                                      <p:to>
                                        <p:strVal val="visible"/>
                                      </p:to>
                                    </p:set>
                                    <p:animEffect transition="in" filter="wipe(left)">
                                      <p:cBhvr>
                                        <p:cTn id="60" dur="500"/>
                                        <p:tgtEl>
                                          <p:spTgt spid="126"/>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152"/>
                                        </p:tgtEl>
                                        <p:attrNameLst>
                                          <p:attrName>style.visibility</p:attrName>
                                        </p:attrNameLst>
                                      </p:cBhvr>
                                      <p:to>
                                        <p:strVal val="visible"/>
                                      </p:to>
                                    </p:set>
                                    <p:animEffect transition="in" filter="wipe(left)">
                                      <p:cBhvr>
                                        <p:cTn id="65" dur="500"/>
                                        <p:tgtEl>
                                          <p:spTgt spid="15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61"/>
                                        </p:tgtEl>
                                        <p:attrNameLst>
                                          <p:attrName>style.visibility</p:attrName>
                                        </p:attrNameLst>
                                      </p:cBhvr>
                                      <p:to>
                                        <p:strVal val="visible"/>
                                      </p:to>
                                    </p:set>
                                    <p:animEffect transition="in" filter="fade">
                                      <p:cBhvr>
                                        <p:cTn id="68" dur="500"/>
                                        <p:tgtEl>
                                          <p:spTgt spid="161"/>
                                        </p:tgtEl>
                                      </p:cBhvr>
                                    </p:animEffect>
                                  </p:childTnLst>
                                </p:cTn>
                              </p:par>
                            </p:childTnLst>
                          </p:cTn>
                        </p:par>
                        <p:par>
                          <p:cTn id="69" fill="hold">
                            <p:stCondLst>
                              <p:cond delay="500"/>
                            </p:stCondLst>
                            <p:childTnLst>
                              <p:par>
                                <p:cTn id="70" presetID="22" presetClass="entr" presetSubtype="8" fill="hold" nodeType="afterEffect">
                                  <p:stCondLst>
                                    <p:cond delay="0"/>
                                  </p:stCondLst>
                                  <p:childTnLst>
                                    <p:set>
                                      <p:cBhvr>
                                        <p:cTn id="71" dur="1" fill="hold">
                                          <p:stCondLst>
                                            <p:cond delay="0"/>
                                          </p:stCondLst>
                                        </p:cTn>
                                        <p:tgtEl>
                                          <p:spTgt spid="158"/>
                                        </p:tgtEl>
                                        <p:attrNameLst>
                                          <p:attrName>style.visibility</p:attrName>
                                        </p:attrNameLst>
                                      </p:cBhvr>
                                      <p:to>
                                        <p:strVal val="visible"/>
                                      </p:to>
                                    </p:set>
                                    <p:animEffect transition="in" filter="wipe(left)">
                                      <p:cBhvr>
                                        <p:cTn id="72" dur="500"/>
                                        <p:tgtEl>
                                          <p:spTgt spid="158"/>
                                        </p:tgtEl>
                                      </p:cBhvr>
                                    </p:animEffect>
                                  </p:childTnLst>
                                </p:cTn>
                              </p:par>
                              <p:par>
                                <p:cTn id="73" presetID="22" presetClass="entr" presetSubtype="8" fill="hold" nodeType="withEffect">
                                  <p:stCondLst>
                                    <p:cond delay="0"/>
                                  </p:stCondLst>
                                  <p:childTnLst>
                                    <p:set>
                                      <p:cBhvr>
                                        <p:cTn id="74" dur="1" fill="hold">
                                          <p:stCondLst>
                                            <p:cond delay="0"/>
                                          </p:stCondLst>
                                        </p:cTn>
                                        <p:tgtEl>
                                          <p:spTgt spid="157"/>
                                        </p:tgtEl>
                                        <p:attrNameLst>
                                          <p:attrName>style.visibility</p:attrName>
                                        </p:attrNameLst>
                                      </p:cBhvr>
                                      <p:to>
                                        <p:strVal val="visible"/>
                                      </p:to>
                                    </p:set>
                                    <p:animEffect transition="in" filter="wipe(left)">
                                      <p:cBhvr>
                                        <p:cTn id="75" dur="500"/>
                                        <p:tgtEl>
                                          <p:spTgt spid="157"/>
                                        </p:tgtEl>
                                      </p:cBhvr>
                                    </p:animEffect>
                                  </p:childTnLst>
                                </p:cTn>
                              </p:par>
                              <p:par>
                                <p:cTn id="76" presetID="22" presetClass="entr" presetSubtype="8" fill="hold" nodeType="withEffect">
                                  <p:stCondLst>
                                    <p:cond delay="0"/>
                                  </p:stCondLst>
                                  <p:childTnLst>
                                    <p:set>
                                      <p:cBhvr>
                                        <p:cTn id="77" dur="1" fill="hold">
                                          <p:stCondLst>
                                            <p:cond delay="0"/>
                                          </p:stCondLst>
                                        </p:cTn>
                                        <p:tgtEl>
                                          <p:spTgt spid="155"/>
                                        </p:tgtEl>
                                        <p:attrNameLst>
                                          <p:attrName>style.visibility</p:attrName>
                                        </p:attrNameLst>
                                      </p:cBhvr>
                                      <p:to>
                                        <p:strVal val="visible"/>
                                      </p:to>
                                    </p:set>
                                    <p:animEffect transition="in" filter="wipe(left)">
                                      <p:cBhvr>
                                        <p:cTn id="78" dur="500"/>
                                        <p:tgtEl>
                                          <p:spTgt spid="155"/>
                                        </p:tgtEl>
                                      </p:cBhvr>
                                    </p:animEffect>
                                  </p:childTnLst>
                                </p:cTn>
                              </p:par>
                            </p:childTnLst>
                          </p:cTn>
                        </p:par>
                        <p:par>
                          <p:cTn id="79" fill="hold">
                            <p:stCondLst>
                              <p:cond delay="1000"/>
                            </p:stCondLst>
                            <p:childTnLst>
                              <p:par>
                                <p:cTn id="80" presetID="22" presetClass="entr" presetSubtype="8" fill="hold" nodeType="afterEffect">
                                  <p:stCondLst>
                                    <p:cond delay="0"/>
                                  </p:stCondLst>
                                  <p:childTnLst>
                                    <p:set>
                                      <p:cBhvr>
                                        <p:cTn id="81" dur="1" fill="hold">
                                          <p:stCondLst>
                                            <p:cond delay="0"/>
                                          </p:stCondLst>
                                        </p:cTn>
                                        <p:tgtEl>
                                          <p:spTgt spid="107"/>
                                        </p:tgtEl>
                                        <p:attrNameLst>
                                          <p:attrName>style.visibility</p:attrName>
                                        </p:attrNameLst>
                                      </p:cBhvr>
                                      <p:to>
                                        <p:strVal val="visible"/>
                                      </p:to>
                                    </p:set>
                                    <p:animEffect transition="in" filter="wipe(left)">
                                      <p:cBhvr>
                                        <p:cTn id="82"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161" grpId="0"/>
    </p:bldLst>
  </p:timing>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Active Directory planning decisions</a:t>
            </a:r>
          </a:p>
        </p:txBody>
      </p:sp>
      <p:graphicFrame>
        <p:nvGraphicFramePr>
          <p:cNvPr id="11" name="Table 10"/>
          <p:cNvGraphicFramePr>
            <a:graphicFrameLocks noGrp="1"/>
          </p:cNvGraphicFramePr>
          <p:nvPr>
            <p:extLst>
              <p:ext uri="{D42A27DB-BD31-4B8C-83A1-F6EECF244321}">
                <p14:modId xmlns:p14="http://schemas.microsoft.com/office/powerpoint/2010/main" val="3322695633"/>
              </p:ext>
            </p:extLst>
          </p:nvPr>
        </p:nvGraphicFramePr>
        <p:xfrm>
          <a:off x="997744" y="2201863"/>
          <a:ext cx="10439400" cy="3861526"/>
        </p:xfrm>
        <a:graphic>
          <a:graphicData uri="http://schemas.openxmlformats.org/drawingml/2006/table">
            <a:tbl>
              <a:tblPr firstRow="1" bandRow="1">
                <a:tableStyleId>{5C22544A-7EE6-4342-B048-85BDC9FD1C3A}</a:tableStyleId>
              </a:tblPr>
              <a:tblGrid>
                <a:gridCol w="1905000">
                  <a:extLst>
                    <a:ext uri="{9D8B030D-6E8A-4147-A177-3AD203B41FA5}">
                      <a16:colId xmlns:a16="http://schemas.microsoft.com/office/drawing/2014/main" val="20000"/>
                    </a:ext>
                  </a:extLst>
                </a:gridCol>
                <a:gridCol w="8534400">
                  <a:extLst>
                    <a:ext uri="{9D8B030D-6E8A-4147-A177-3AD203B41FA5}">
                      <a16:colId xmlns:a16="http://schemas.microsoft.com/office/drawing/2014/main" val="20001"/>
                    </a:ext>
                  </a:extLst>
                </a:gridCol>
              </a:tblGrid>
              <a:tr h="543996">
                <a:tc>
                  <a:txBody>
                    <a:bodyPr/>
                    <a:lstStyle/>
                    <a:p>
                      <a:pPr algn="ctr"/>
                      <a:r>
                        <a:rPr lang="en-US" sz="1800" b="0" i="0" dirty="0">
                          <a:latin typeface="Segoe UI Semibold" panose="020B0702040204020203" pitchFamily="34" charset="0"/>
                          <a:cs typeface="Segoe UI Semibold" panose="020B0702040204020203" pitchFamily="34" charset="0"/>
                        </a:rPr>
                        <a:t>Considerations</a:t>
                      </a:r>
                    </a:p>
                  </a:txBody>
                  <a:tcPr marL="68583" marR="68583" marT="34291" marB="34291" anchor="ctr"/>
                </a:tc>
                <a:tc>
                  <a:txBody>
                    <a:bodyPr/>
                    <a:lstStyle/>
                    <a:p>
                      <a:pPr algn="ctr"/>
                      <a:r>
                        <a:rPr lang="en-US" sz="1800" b="0" i="0" dirty="0">
                          <a:latin typeface="Segoe UI Semibold" panose="020B0702040204020203" pitchFamily="34" charset="0"/>
                          <a:cs typeface="Segoe UI Semibold" panose="020B0702040204020203" pitchFamily="34" charset="0"/>
                        </a:rPr>
                        <a:t>Decision points</a:t>
                      </a:r>
                    </a:p>
                  </a:txBody>
                  <a:tcPr marL="68583" marR="68583" marT="34291" marB="34291" anchor="ctr"/>
                </a:tc>
                <a:extLst>
                  <a:ext uri="{0D108BD9-81ED-4DB2-BD59-A6C34878D82A}">
                    <a16:rowId xmlns:a16="http://schemas.microsoft.com/office/drawing/2014/main" val="10000"/>
                  </a:ext>
                </a:extLst>
              </a:tr>
              <a:tr h="679995">
                <a:tc>
                  <a:txBody>
                    <a:bodyPr/>
                    <a:lstStyle/>
                    <a:p>
                      <a:pPr lvl="0" algn="ctr"/>
                      <a:r>
                        <a:rPr lang="en-US" sz="1500" b="0" i="0" baseline="0" dirty="0">
                          <a:latin typeface="Segoe UI Semibold" panose="020B0702040204020203" pitchFamily="34" charset="0"/>
                          <a:cs typeface="Segoe UI Semibold" panose="020B0702040204020203" pitchFamily="34" charset="0"/>
                        </a:rPr>
                        <a:t>Two tenants per subscription</a:t>
                      </a:r>
                      <a:endParaRPr lang="en-US" sz="1500" b="0" i="0" dirty="0">
                        <a:latin typeface="Segoe UI Semibold" panose="020B0702040204020203" pitchFamily="34" charset="0"/>
                        <a:cs typeface="Segoe UI Semibold" panose="020B0702040204020203" pitchFamily="34" charset="0"/>
                      </a:endParaRPr>
                    </a:p>
                  </a:txBody>
                  <a:tcPr marL="137160" marR="137160" marT="137160" marB="137160"/>
                </a:tc>
                <a:tc>
                  <a:txBody>
                    <a:bodyPr/>
                    <a:lstStyle/>
                    <a:p>
                      <a:pPr marL="0" indent="0">
                        <a:buFontTx/>
                        <a:buNone/>
                      </a:pPr>
                      <a:r>
                        <a:rPr lang="en-US" sz="1500" baseline="0" dirty="0"/>
                        <a:t>Choose at least two Azure AD Tenants, one for production and one for testing.</a:t>
                      </a:r>
                    </a:p>
                  </a:txBody>
                  <a:tcPr marL="137160" marR="137160" marT="137160" marB="137160"/>
                </a:tc>
                <a:extLst>
                  <a:ext uri="{0D108BD9-81ED-4DB2-BD59-A6C34878D82A}">
                    <a16:rowId xmlns:a16="http://schemas.microsoft.com/office/drawing/2014/main" val="10001"/>
                  </a:ext>
                </a:extLst>
              </a:tr>
              <a:tr h="2586010">
                <a:tc>
                  <a:txBody>
                    <a:bodyPr/>
                    <a:lstStyle/>
                    <a:p>
                      <a:pPr lvl="0" algn="ctr"/>
                      <a:r>
                        <a:rPr lang="en-US" sz="1500" b="0" i="0" kern="1200" dirty="0">
                          <a:solidFill>
                            <a:schemeClr val="dk1"/>
                          </a:solidFill>
                          <a:effectLst/>
                          <a:latin typeface="Segoe UI Semibold" panose="020B0702040204020203" pitchFamily="34" charset="0"/>
                          <a:ea typeface="+mn-ea"/>
                          <a:cs typeface="Segoe UI Semibold" panose="020B0702040204020203" pitchFamily="34" charset="0"/>
                        </a:rPr>
                        <a:t>Multiple</a:t>
                      </a:r>
                      <a:r>
                        <a:rPr lang="en-US" sz="1500" b="0" i="0" kern="1200" baseline="0" dirty="0">
                          <a:solidFill>
                            <a:schemeClr val="dk1"/>
                          </a:solidFill>
                          <a:effectLst/>
                          <a:latin typeface="Segoe UI Semibold" panose="020B0702040204020203" pitchFamily="34" charset="0"/>
                          <a:ea typeface="+mn-ea"/>
                          <a:cs typeface="Segoe UI Semibold" panose="020B0702040204020203" pitchFamily="34" charset="0"/>
                        </a:rPr>
                        <a:t> tenants per subscription (s)</a:t>
                      </a:r>
                      <a:endParaRPr lang="en-US" sz="1500" b="0" i="0" dirty="0">
                        <a:latin typeface="Segoe UI Semibold" panose="020B0702040204020203" pitchFamily="34" charset="0"/>
                        <a:cs typeface="Segoe UI Semibold" panose="020B0702040204020203" pitchFamily="34" charset="0"/>
                      </a:endParaRPr>
                    </a:p>
                  </a:txBody>
                  <a:tcPr marL="137160" marR="137160" marT="137160" marB="137160"/>
                </a:tc>
                <a:tc>
                  <a:txBody>
                    <a:bodyPr/>
                    <a:lstStyle/>
                    <a:p>
                      <a:pPr marL="0" marR="0" indent="0" algn="l" defTabSz="932594" rtl="0" eaLnBrk="1" fontAlgn="auto" latinLnBrk="0" hangingPunct="1">
                        <a:lnSpc>
                          <a:spcPct val="100000"/>
                        </a:lnSpc>
                        <a:spcBef>
                          <a:spcPts val="0"/>
                        </a:spcBef>
                        <a:spcAft>
                          <a:spcPts val="0"/>
                        </a:spcAft>
                        <a:buClrTx/>
                        <a:buSzTx/>
                        <a:buFontTx/>
                        <a:buNone/>
                        <a:tabLst/>
                        <a:defRPr/>
                      </a:pPr>
                      <a:r>
                        <a:rPr lang="en-US" sz="1500" baseline="0" dirty="0"/>
                        <a:t>A software development team might need their own Azure AD tenant for developing applications. The following criteria should be considered:</a:t>
                      </a:r>
                    </a:p>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a:t>Is there a reason why the development team can’t use the test directory? </a:t>
                      </a:r>
                    </a:p>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a:t>Does the development team need to have full login experience that an end user will go through? Note: Maintaining a deep level of integration with the on-premises AD for each developer directory is an arduous choice. Most organizations would develop applications against the test directory.</a:t>
                      </a:r>
                    </a:p>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a:t>Are any Azure AD Premium features needed by the development team?</a:t>
                      </a:r>
                    </a:p>
                  </a:txBody>
                  <a:tcPr marL="137160" marR="137160" marT="137160" marB="137160"/>
                </a:tc>
                <a:extLst>
                  <a:ext uri="{0D108BD9-81ED-4DB2-BD59-A6C34878D82A}">
                    <a16:rowId xmlns:a16="http://schemas.microsoft.com/office/drawing/2014/main" val="10002"/>
                  </a:ext>
                </a:extLst>
              </a:tr>
            </a:tbl>
          </a:graphicData>
        </a:graphic>
      </p:graphicFrame>
      <p:sp>
        <p:nvSpPr>
          <p:cNvPr id="7" name="Content Placeholder 2"/>
          <p:cNvSpPr txBox="1">
            <a:spLocks/>
          </p:cNvSpPr>
          <p:nvPr/>
        </p:nvSpPr>
        <p:spPr>
          <a:xfrm>
            <a:off x="366169" y="1212851"/>
            <a:ext cx="11032876" cy="683264"/>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2"/>
                </a:solidFill>
              </a:rPr>
              <a:t>How many directories should a customer have?</a:t>
            </a:r>
          </a:p>
        </p:txBody>
      </p:sp>
    </p:spTree>
    <p:extLst>
      <p:ext uri="{BB962C8B-B14F-4D97-AF65-F5344CB8AC3E}">
        <p14:creationId xmlns:p14="http://schemas.microsoft.com/office/powerpoint/2010/main" val="849658090"/>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3014075" cy="917575"/>
          </a:xfrm>
        </p:spPr>
        <p:txBody>
          <a:bodyPr/>
          <a:lstStyle/>
          <a:p>
            <a:r>
              <a:rPr lang="en-US" dirty="0"/>
              <a:t>AAD Cross-organizational directories decisions</a:t>
            </a:r>
          </a:p>
        </p:txBody>
      </p:sp>
      <p:graphicFrame>
        <p:nvGraphicFramePr>
          <p:cNvPr id="5" name="Table 4"/>
          <p:cNvGraphicFramePr>
            <a:graphicFrameLocks noGrp="1"/>
          </p:cNvGraphicFramePr>
          <p:nvPr>
            <p:extLst>
              <p:ext uri="{D42A27DB-BD31-4B8C-83A1-F6EECF244321}">
                <p14:modId xmlns:p14="http://schemas.microsoft.com/office/powerpoint/2010/main" val="1670453289"/>
              </p:ext>
            </p:extLst>
          </p:nvPr>
        </p:nvGraphicFramePr>
        <p:xfrm>
          <a:off x="1035844" y="2201862"/>
          <a:ext cx="10668000" cy="4267200"/>
        </p:xfrm>
        <a:graphic>
          <a:graphicData uri="http://schemas.openxmlformats.org/drawingml/2006/table">
            <a:tbl>
              <a:tblPr firstRow="1" bandRow="1">
                <a:tableStyleId>{5C22544A-7EE6-4342-B048-85BDC9FD1C3A}</a:tableStyleId>
              </a:tblPr>
              <a:tblGrid>
                <a:gridCol w="2514600">
                  <a:extLst>
                    <a:ext uri="{9D8B030D-6E8A-4147-A177-3AD203B41FA5}">
                      <a16:colId xmlns:a16="http://schemas.microsoft.com/office/drawing/2014/main" val="20000"/>
                    </a:ext>
                  </a:extLst>
                </a:gridCol>
                <a:gridCol w="8153400">
                  <a:extLst>
                    <a:ext uri="{9D8B030D-6E8A-4147-A177-3AD203B41FA5}">
                      <a16:colId xmlns:a16="http://schemas.microsoft.com/office/drawing/2014/main" val="20001"/>
                    </a:ext>
                  </a:extLst>
                </a:gridCol>
              </a:tblGrid>
              <a:tr h="493726">
                <a:tc>
                  <a:txBody>
                    <a:bodyPr/>
                    <a:lstStyle/>
                    <a:p>
                      <a:pPr algn="ctr"/>
                      <a:r>
                        <a:rPr lang="en-US" sz="1800" b="0" i="0" dirty="0">
                          <a:latin typeface="Segoe UI Semibold" panose="020B0702040204020203" pitchFamily="34" charset="0"/>
                          <a:cs typeface="Segoe UI Semibold" panose="020B0702040204020203" pitchFamily="34" charset="0"/>
                        </a:rPr>
                        <a:t>Considerations</a:t>
                      </a:r>
                    </a:p>
                  </a:txBody>
                  <a:tcPr marL="68583" marR="68583" marT="34291" marB="34291" anchor="ctr"/>
                </a:tc>
                <a:tc>
                  <a:txBody>
                    <a:bodyPr/>
                    <a:lstStyle/>
                    <a:p>
                      <a:pPr algn="ctr"/>
                      <a:r>
                        <a:rPr lang="en-US" sz="1800" b="0" i="0" dirty="0">
                          <a:latin typeface="Segoe UI Semibold" panose="020B0702040204020203" pitchFamily="34" charset="0"/>
                          <a:cs typeface="Segoe UI Semibold" panose="020B0702040204020203" pitchFamily="34" charset="0"/>
                        </a:rPr>
                        <a:t>Decision points</a:t>
                      </a:r>
                    </a:p>
                  </a:txBody>
                  <a:tcPr marL="68583" marR="68583" marT="34291" marB="34291" anchor="ctr"/>
                </a:tc>
                <a:extLst>
                  <a:ext uri="{0D108BD9-81ED-4DB2-BD59-A6C34878D82A}">
                    <a16:rowId xmlns:a16="http://schemas.microsoft.com/office/drawing/2014/main" val="10000"/>
                  </a:ext>
                </a:extLst>
              </a:tr>
              <a:tr h="1622242">
                <a:tc>
                  <a:txBody>
                    <a:bodyPr/>
                    <a:lstStyle/>
                    <a:p>
                      <a:pPr lvl="0" algn="ctr"/>
                      <a:r>
                        <a:rPr lang="en-US" sz="1500" b="0" i="0" baseline="0" dirty="0">
                          <a:latin typeface="Segoe UI Semibold" panose="020B0702040204020203" pitchFamily="34" charset="0"/>
                          <a:cs typeface="Segoe UI Semibold" panose="020B0702040204020203" pitchFamily="34" charset="0"/>
                        </a:rPr>
                        <a:t>Cross-organizational directory</a:t>
                      </a:r>
                      <a:endParaRPr lang="en-US" sz="1500" b="0" i="0" dirty="0">
                        <a:latin typeface="Segoe UI Semibold" panose="020B0702040204020203" pitchFamily="34" charset="0"/>
                        <a:cs typeface="Segoe UI Semibold" panose="020B0702040204020203" pitchFamily="34" charset="0"/>
                      </a:endParaRPr>
                    </a:p>
                  </a:txBody>
                  <a:tcPr marL="137160" marR="137160" marT="137160" marB="137160"/>
                </a:tc>
                <a:tc>
                  <a:txBody>
                    <a:bodyPr/>
                    <a:lstStyle/>
                    <a:p>
                      <a:pPr marL="285750" indent="-285750">
                        <a:buFont typeface="Arial" panose="020B0604020202020204" pitchFamily="34" charset="0"/>
                        <a:buChar char="•"/>
                      </a:pPr>
                      <a:r>
                        <a:rPr lang="en-US" sz="1500" baseline="0" dirty="0"/>
                        <a:t>The customer has a long-term goal of operating as a single entity, with a consolidated Active Directory environment.</a:t>
                      </a:r>
                    </a:p>
                    <a:p>
                      <a:pPr marL="285750" indent="-285750">
                        <a:buFont typeface="Arial" panose="020B0604020202020204" pitchFamily="34" charset="0"/>
                        <a:buChar char="•"/>
                      </a:pPr>
                      <a:r>
                        <a:rPr lang="en-US" sz="1500" baseline="0" dirty="0"/>
                        <a:t>Applications in one organization within the customer should be readily accessible by users in other organizations.</a:t>
                      </a:r>
                    </a:p>
                  </a:txBody>
                  <a:tcPr marL="137160" marR="137160" marT="137160" marB="137160"/>
                </a:tc>
                <a:extLst>
                  <a:ext uri="{0D108BD9-81ED-4DB2-BD59-A6C34878D82A}">
                    <a16:rowId xmlns:a16="http://schemas.microsoft.com/office/drawing/2014/main" val="10001"/>
                  </a:ext>
                </a:extLst>
              </a:tr>
              <a:tr h="2151232">
                <a:tc>
                  <a:txBody>
                    <a:bodyPr/>
                    <a:lstStyle/>
                    <a:p>
                      <a:pPr lvl="0" algn="ctr"/>
                      <a:r>
                        <a:rPr lang="en-US" sz="1500" b="0" i="0" kern="1200" dirty="0">
                          <a:solidFill>
                            <a:schemeClr val="dk1"/>
                          </a:solidFill>
                          <a:effectLst/>
                          <a:latin typeface="Segoe UI Semibold" panose="020B0702040204020203" pitchFamily="34" charset="0"/>
                          <a:ea typeface="+mn-ea"/>
                          <a:cs typeface="Segoe UI Semibold" panose="020B0702040204020203" pitchFamily="34" charset="0"/>
                        </a:rPr>
                        <a:t>Unique</a:t>
                      </a:r>
                      <a:r>
                        <a:rPr lang="en-US" sz="1500" b="0" i="0" kern="1200" baseline="0" dirty="0">
                          <a:solidFill>
                            <a:schemeClr val="dk1"/>
                          </a:solidFill>
                          <a:effectLst/>
                          <a:latin typeface="Segoe UI Semibold" panose="020B0702040204020203" pitchFamily="34" charset="0"/>
                          <a:ea typeface="+mn-ea"/>
                          <a:cs typeface="Segoe UI Semibold" panose="020B0702040204020203" pitchFamily="34" charset="0"/>
                        </a:rPr>
                        <a:t> organizational directories</a:t>
                      </a:r>
                      <a:endParaRPr lang="en-US" sz="1500" b="0" i="0" dirty="0">
                        <a:latin typeface="Segoe UI Semibold" panose="020B0702040204020203" pitchFamily="34" charset="0"/>
                        <a:cs typeface="Segoe UI Semibold" panose="020B0702040204020203" pitchFamily="34" charset="0"/>
                      </a:endParaRPr>
                    </a:p>
                  </a:txBody>
                  <a:tcPr marL="137160" marR="137160" marT="137160" marB="137160"/>
                </a:tc>
                <a:tc>
                  <a:txBody>
                    <a:bodyPr/>
                    <a:lstStyle/>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a:t>Each organization in the customer has their own Active Directory environment                   and unique IT staff.</a:t>
                      </a:r>
                    </a:p>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a:t>There are security requirements that prevent the customer from having a single set of directory administrators over all organizations.</a:t>
                      </a:r>
                    </a:p>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a:t>Applications within an organization are restricted only to users within that organization.</a:t>
                      </a:r>
                    </a:p>
                  </a:txBody>
                  <a:tcPr marL="137160" marR="137160" marT="137160" marB="137160"/>
                </a:tc>
                <a:extLst>
                  <a:ext uri="{0D108BD9-81ED-4DB2-BD59-A6C34878D82A}">
                    <a16:rowId xmlns:a16="http://schemas.microsoft.com/office/drawing/2014/main" val="10002"/>
                  </a:ext>
                </a:extLst>
              </a:tr>
            </a:tbl>
          </a:graphicData>
        </a:graphic>
      </p:graphicFrame>
      <p:sp>
        <p:nvSpPr>
          <p:cNvPr id="7" name="Content Placeholder 2"/>
          <p:cNvSpPr txBox="1">
            <a:spLocks/>
          </p:cNvSpPr>
          <p:nvPr/>
        </p:nvSpPr>
        <p:spPr>
          <a:xfrm>
            <a:off x="366169" y="1212851"/>
            <a:ext cx="11032876" cy="683264"/>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2"/>
                </a:solidFill>
              </a:rPr>
              <a:t>Complex government organizations</a:t>
            </a:r>
          </a:p>
        </p:txBody>
      </p:sp>
    </p:spTree>
    <p:extLst>
      <p:ext uri="{BB962C8B-B14F-4D97-AF65-F5344CB8AC3E}">
        <p14:creationId xmlns:p14="http://schemas.microsoft.com/office/powerpoint/2010/main" val="4301317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Azure AD tenant</a:t>
            </a:r>
          </a:p>
        </p:txBody>
      </p:sp>
      <p:sp>
        <p:nvSpPr>
          <p:cNvPr id="2" name="Rectangle 1"/>
          <p:cNvSpPr/>
          <p:nvPr/>
        </p:nvSpPr>
        <p:spPr>
          <a:xfrm>
            <a:off x="366169" y="6469062"/>
            <a:ext cx="2494795" cy="369332"/>
          </a:xfrm>
          <a:prstGeom prst="rect">
            <a:avLst/>
          </a:prstGeom>
        </p:spPr>
        <p:txBody>
          <a:bodyPr wrap="square">
            <a:spAutoFit/>
          </a:bodyPr>
          <a:lstStyle/>
          <a:p>
            <a:r>
              <a:rPr lang="en-US" dirty="0">
                <a:hlinkClick r:id="rId3"/>
              </a:rPr>
              <a:t>aka.ms/Azure/Tenant</a:t>
            </a:r>
            <a:r>
              <a:rPr lang="en-US" dirty="0"/>
              <a:t> </a:t>
            </a:r>
          </a:p>
        </p:txBody>
      </p:sp>
      <p:sp>
        <p:nvSpPr>
          <p:cNvPr id="8" name="Text Placeholder 3"/>
          <p:cNvSpPr txBox="1">
            <a:spLocks/>
          </p:cNvSpPr>
          <p:nvPr/>
        </p:nvSpPr>
        <p:spPr>
          <a:xfrm>
            <a:off x="366169" y="1212851"/>
            <a:ext cx="5851275" cy="3960811"/>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32597">
              <a:lnSpc>
                <a:spcPct val="114000"/>
              </a:lnSpc>
              <a:spcBef>
                <a:spcPts val="204"/>
              </a:spcBef>
              <a:buClr>
                <a:srgbClr val="0078D7"/>
              </a:buClr>
              <a:buSzPct val="100000"/>
              <a:defRPr/>
            </a:pPr>
            <a:r>
              <a:rPr lang="en-US" sz="2000" kern="0" dirty="0">
                <a:solidFill>
                  <a:srgbClr val="0078D7"/>
                </a:solidFill>
                <a:latin typeface="+mj-lt"/>
              </a:rPr>
              <a:t>A Tenant is simply a dedicated instance of              Azure Active Directory (Azure AD)</a:t>
            </a:r>
          </a:p>
          <a:p>
            <a:pPr marL="284163" lvl="1" indent="-284163" defTabSz="932597">
              <a:lnSpc>
                <a:spcPct val="114000"/>
              </a:lnSpc>
              <a:spcBef>
                <a:spcPts val="204"/>
              </a:spcBef>
              <a:buClr>
                <a:srgbClr val="0078D7"/>
              </a:buClr>
              <a:buSzPct val="100000"/>
              <a:defRPr/>
            </a:pPr>
            <a:r>
              <a:rPr lang="en-US" sz="2000" kern="0" dirty="0">
                <a:solidFill>
                  <a:srgbClr val="0078D7"/>
                </a:solidFill>
                <a:latin typeface="+mj-lt"/>
              </a:rPr>
              <a:t>A Tenant is associated with a Microsoft service, such as the Azure Portal, 365, and Microsoft Online Service to allow access to users</a:t>
            </a:r>
          </a:p>
          <a:p>
            <a:pPr marL="284163" lvl="1" indent="-284163" defTabSz="932597">
              <a:lnSpc>
                <a:spcPct val="114000"/>
              </a:lnSpc>
              <a:spcBef>
                <a:spcPts val="204"/>
              </a:spcBef>
              <a:buClr>
                <a:srgbClr val="0078D7"/>
              </a:buClr>
              <a:buSzPct val="100000"/>
              <a:defRPr/>
            </a:pPr>
            <a:r>
              <a:rPr lang="en-US" sz="2000" kern="0" dirty="0">
                <a:solidFill>
                  <a:srgbClr val="0078D7"/>
                </a:solidFill>
                <a:latin typeface="+mj-lt"/>
              </a:rPr>
              <a:t>An Azure Subscription can have multiple Tenants. Each Tenant is separate and unique. </a:t>
            </a:r>
          </a:p>
          <a:p>
            <a:pPr marL="284163" lvl="1" indent="-284163" defTabSz="932597">
              <a:lnSpc>
                <a:spcPct val="114000"/>
              </a:lnSpc>
              <a:spcBef>
                <a:spcPts val="204"/>
              </a:spcBef>
              <a:buClr>
                <a:srgbClr val="0078D7"/>
              </a:buClr>
              <a:buSzPct val="100000"/>
              <a:defRPr/>
            </a:pPr>
            <a:r>
              <a:rPr lang="en-US" sz="2000" kern="0" dirty="0">
                <a:solidFill>
                  <a:srgbClr val="0078D7"/>
                </a:solidFill>
                <a:latin typeface="+mj-lt"/>
              </a:rPr>
              <a:t>Only one can be Primary</a:t>
            </a:r>
          </a:p>
          <a:p>
            <a:pPr marL="284163" lvl="1" indent="-284163" defTabSz="932597">
              <a:lnSpc>
                <a:spcPct val="114000"/>
              </a:lnSpc>
              <a:spcBef>
                <a:spcPts val="204"/>
              </a:spcBef>
              <a:buClr>
                <a:srgbClr val="0078D7"/>
              </a:buClr>
              <a:buSzPct val="100000"/>
              <a:defRPr/>
            </a:pPr>
            <a:r>
              <a:rPr lang="en-US" sz="2000" kern="0" dirty="0">
                <a:solidFill>
                  <a:srgbClr val="0078D7"/>
                </a:solidFill>
                <a:latin typeface="+mj-lt"/>
              </a:rPr>
              <a:t>Best practice to have one Tenant common</a:t>
            </a:r>
          </a:p>
          <a:p>
            <a:pPr marL="284163" lvl="1" indent="-284163" defTabSz="932597">
              <a:lnSpc>
                <a:spcPct val="114000"/>
              </a:lnSpc>
              <a:spcBef>
                <a:spcPts val="204"/>
              </a:spcBef>
              <a:buClr>
                <a:srgbClr val="0078D7"/>
              </a:buClr>
              <a:buSzPct val="100000"/>
              <a:defRPr/>
            </a:pPr>
            <a:r>
              <a:rPr lang="en-US" sz="2000" kern="0" dirty="0">
                <a:solidFill>
                  <a:srgbClr val="0078D7"/>
                </a:solidFill>
                <a:latin typeface="+mj-lt"/>
              </a:rPr>
              <a:t>Although often may match to multiple pre-production environments or Business Units/Customers e.g. Dev, Test, QA, Prod</a:t>
            </a:r>
          </a:p>
          <a:p>
            <a:pPr marL="0" lvl="1" defTabSz="932597">
              <a:lnSpc>
                <a:spcPct val="114000"/>
              </a:lnSpc>
              <a:spcBef>
                <a:spcPts val="204"/>
              </a:spcBef>
              <a:buClr>
                <a:srgbClr val="0078D7"/>
              </a:buClr>
              <a:buSzPct val="75000"/>
              <a:defRPr/>
            </a:pPr>
            <a:endParaRPr lang="en-US" sz="1600" kern="0" dirty="0">
              <a:solidFill>
                <a:srgbClr val="0078D7"/>
              </a:solidFill>
              <a:latin typeface="+mj-lt"/>
            </a:endParaRPr>
          </a:p>
        </p:txBody>
      </p:sp>
      <p:pic>
        <p:nvPicPr>
          <p:cNvPr id="5" name="Picture 4">
            <a:extLst>
              <a:ext uri="{FF2B5EF4-FFF2-40B4-BE49-F238E27FC236}">
                <a16:creationId xmlns:a16="http://schemas.microsoft.com/office/drawing/2014/main" id="{7E18F3A8-BB6C-4D93-AB2D-3505236E3F9B}"/>
              </a:ext>
            </a:extLst>
          </p:cNvPr>
          <p:cNvPicPr>
            <a:picLocks noChangeAspect="1"/>
          </p:cNvPicPr>
          <p:nvPr/>
        </p:nvPicPr>
        <p:blipFill>
          <a:blip r:embed="rId4"/>
          <a:stretch>
            <a:fillRect/>
          </a:stretch>
        </p:blipFill>
        <p:spPr>
          <a:xfrm>
            <a:off x="6217444" y="708798"/>
            <a:ext cx="4700622" cy="5576928"/>
          </a:xfrm>
          <a:prstGeom prst="rect">
            <a:avLst/>
          </a:prstGeom>
        </p:spPr>
      </p:pic>
    </p:spTree>
    <p:extLst>
      <p:ext uri="{BB962C8B-B14F-4D97-AF65-F5344CB8AC3E}">
        <p14:creationId xmlns:p14="http://schemas.microsoft.com/office/powerpoint/2010/main" val="290920776"/>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2068719" cy="917575"/>
          </a:xfrm>
        </p:spPr>
        <p:txBody>
          <a:bodyPr/>
          <a:lstStyle/>
          <a:p>
            <a:r>
              <a:rPr lang="en-US" dirty="0"/>
              <a:t>AAD Cross-organizational directories decisions</a:t>
            </a:r>
          </a:p>
        </p:txBody>
      </p:sp>
      <p:graphicFrame>
        <p:nvGraphicFramePr>
          <p:cNvPr id="5" name="Table 4"/>
          <p:cNvGraphicFramePr>
            <a:graphicFrameLocks noGrp="1"/>
          </p:cNvGraphicFramePr>
          <p:nvPr>
            <p:extLst>
              <p:ext uri="{D42A27DB-BD31-4B8C-83A1-F6EECF244321}">
                <p14:modId xmlns:p14="http://schemas.microsoft.com/office/powerpoint/2010/main" val="3075095907"/>
              </p:ext>
            </p:extLst>
          </p:nvPr>
        </p:nvGraphicFramePr>
        <p:xfrm>
          <a:off x="1035844" y="2201862"/>
          <a:ext cx="10896600" cy="4191000"/>
        </p:xfrm>
        <a:graphic>
          <a:graphicData uri="http://schemas.openxmlformats.org/drawingml/2006/table">
            <a:tbl>
              <a:tblPr firstRow="1" bandRow="1">
                <a:tableStyleId>{5C22544A-7EE6-4342-B048-85BDC9FD1C3A}</a:tableStyleId>
              </a:tblPr>
              <a:tblGrid>
                <a:gridCol w="2514600">
                  <a:extLst>
                    <a:ext uri="{9D8B030D-6E8A-4147-A177-3AD203B41FA5}">
                      <a16:colId xmlns:a16="http://schemas.microsoft.com/office/drawing/2014/main" val="20000"/>
                    </a:ext>
                  </a:extLst>
                </a:gridCol>
                <a:gridCol w="8382000">
                  <a:extLst>
                    <a:ext uri="{9D8B030D-6E8A-4147-A177-3AD203B41FA5}">
                      <a16:colId xmlns:a16="http://schemas.microsoft.com/office/drawing/2014/main" val="20001"/>
                    </a:ext>
                  </a:extLst>
                </a:gridCol>
              </a:tblGrid>
              <a:tr h="469392">
                <a:tc>
                  <a:txBody>
                    <a:bodyPr/>
                    <a:lstStyle/>
                    <a:p>
                      <a:pPr algn="ctr"/>
                      <a:r>
                        <a:rPr lang="en-US" sz="1800" b="0" i="0" dirty="0">
                          <a:latin typeface="Segoe UI Semibold" panose="020B0702040204020203" pitchFamily="34" charset="0"/>
                          <a:cs typeface="Segoe UI Semibold" panose="020B0702040204020203" pitchFamily="34" charset="0"/>
                        </a:rPr>
                        <a:t>Considerations</a:t>
                      </a:r>
                    </a:p>
                  </a:txBody>
                  <a:tcPr marL="68583" marR="68583" marT="34291" marB="34291" anchor="ctr"/>
                </a:tc>
                <a:tc>
                  <a:txBody>
                    <a:bodyPr/>
                    <a:lstStyle/>
                    <a:p>
                      <a:pPr algn="ctr"/>
                      <a:r>
                        <a:rPr lang="en-US" sz="1800" b="0" i="0" dirty="0">
                          <a:latin typeface="Segoe UI Semibold" panose="020B0702040204020203" pitchFamily="34" charset="0"/>
                          <a:cs typeface="Segoe UI Semibold" panose="020B0702040204020203" pitchFamily="34" charset="0"/>
                        </a:rPr>
                        <a:t>Decision points</a:t>
                      </a:r>
                    </a:p>
                  </a:txBody>
                  <a:tcPr marL="68583" marR="68583" marT="34291" marB="34291" anchor="ctr"/>
                </a:tc>
                <a:extLst>
                  <a:ext uri="{0D108BD9-81ED-4DB2-BD59-A6C34878D82A}">
                    <a16:rowId xmlns:a16="http://schemas.microsoft.com/office/drawing/2014/main" val="10000"/>
                  </a:ext>
                </a:extLst>
              </a:tr>
              <a:tr h="1676401">
                <a:tc>
                  <a:txBody>
                    <a:bodyPr/>
                    <a:lstStyle/>
                    <a:p>
                      <a:pPr lvl="0" algn="ctr"/>
                      <a:r>
                        <a:rPr lang="en-US" sz="1500" b="0" i="0" baseline="0" dirty="0">
                          <a:latin typeface="Segoe UI Semibold" panose="020B0702040204020203" pitchFamily="34" charset="0"/>
                          <a:cs typeface="Segoe UI Semibold" panose="020B0702040204020203" pitchFamily="34" charset="0"/>
                        </a:rPr>
                        <a:t>Cross-organizational directory</a:t>
                      </a:r>
                      <a:endParaRPr lang="en-US" sz="1500" b="0" i="0" dirty="0">
                        <a:latin typeface="Segoe UI Semibold" panose="020B0702040204020203" pitchFamily="34" charset="0"/>
                        <a:cs typeface="Segoe UI Semibold" panose="020B0702040204020203" pitchFamily="34" charset="0"/>
                      </a:endParaRPr>
                    </a:p>
                  </a:txBody>
                  <a:tcPr marL="137160" marR="137160" marT="137160" marB="137160"/>
                </a:tc>
                <a:tc>
                  <a:txBody>
                    <a:bodyPr/>
                    <a:lstStyle/>
                    <a:p>
                      <a:pPr marL="285750" indent="-285750">
                        <a:buFont typeface="Arial" panose="020B0604020202020204" pitchFamily="34" charset="0"/>
                        <a:buChar char="•"/>
                      </a:pPr>
                      <a:r>
                        <a:rPr lang="en-US" sz="1500" baseline="0" dirty="0"/>
                        <a:t>The customer plans to permanently integrate the acquired company with no           foreseeable plans to divest it.</a:t>
                      </a:r>
                    </a:p>
                    <a:p>
                      <a:pPr marL="285750" indent="-285750">
                        <a:buFont typeface="Arial" panose="020B0604020202020204" pitchFamily="34" charset="0"/>
                        <a:buChar char="•"/>
                      </a:pPr>
                      <a:r>
                        <a:rPr lang="en-US" sz="1500" baseline="0" dirty="0"/>
                        <a:t>Users in the acquired company should be able to access applications and data in the acquiring company.</a:t>
                      </a:r>
                    </a:p>
                  </a:txBody>
                  <a:tcPr marL="137160" marR="137160" marT="137160" marB="137160"/>
                </a:tc>
                <a:extLst>
                  <a:ext uri="{0D108BD9-81ED-4DB2-BD59-A6C34878D82A}">
                    <a16:rowId xmlns:a16="http://schemas.microsoft.com/office/drawing/2014/main" val="10001"/>
                  </a:ext>
                </a:extLst>
              </a:tr>
              <a:tr h="2045207">
                <a:tc>
                  <a:txBody>
                    <a:bodyPr/>
                    <a:lstStyle/>
                    <a:p>
                      <a:pPr lvl="0" algn="ctr"/>
                      <a:r>
                        <a:rPr lang="en-US" sz="1500" b="0" i="0" kern="1200" dirty="0">
                          <a:solidFill>
                            <a:schemeClr val="dk1"/>
                          </a:solidFill>
                          <a:effectLst/>
                          <a:latin typeface="Segoe UI Semibold" panose="020B0702040204020203" pitchFamily="34" charset="0"/>
                          <a:ea typeface="+mn-ea"/>
                          <a:cs typeface="Segoe UI Semibold" panose="020B0702040204020203" pitchFamily="34" charset="0"/>
                        </a:rPr>
                        <a:t>Unique</a:t>
                      </a:r>
                      <a:r>
                        <a:rPr lang="en-US" sz="1500" b="0" i="0" kern="1200" baseline="0" dirty="0">
                          <a:solidFill>
                            <a:schemeClr val="dk1"/>
                          </a:solidFill>
                          <a:effectLst/>
                          <a:latin typeface="Segoe UI Semibold" panose="020B0702040204020203" pitchFamily="34" charset="0"/>
                          <a:ea typeface="+mn-ea"/>
                          <a:cs typeface="Segoe UI Semibold" panose="020B0702040204020203" pitchFamily="34" charset="0"/>
                        </a:rPr>
                        <a:t> organizational directories</a:t>
                      </a:r>
                      <a:endParaRPr lang="en-US" sz="1500" b="0" i="0" dirty="0">
                        <a:latin typeface="Segoe UI Semibold" panose="020B0702040204020203" pitchFamily="34" charset="0"/>
                        <a:cs typeface="Segoe UI Semibold" panose="020B0702040204020203" pitchFamily="34" charset="0"/>
                      </a:endParaRPr>
                    </a:p>
                  </a:txBody>
                  <a:tcPr marL="137160" marR="137160" marT="137160" marB="137160"/>
                </a:tc>
                <a:tc>
                  <a:txBody>
                    <a:bodyPr/>
                    <a:lstStyle/>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a:t>The customer plans to divest the acquired companies at some points in the future.</a:t>
                      </a:r>
                    </a:p>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a:t>The acquired company is already an Azure AD customer and the cost and disruption of migrating the users to the acquiring tenant is prohibitive.</a:t>
                      </a:r>
                    </a:p>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a:t>Users in the acquired company access applications or data in the acquiring company.</a:t>
                      </a:r>
                    </a:p>
                  </a:txBody>
                  <a:tcPr marL="137160" marR="137160" marT="137160" marB="137160"/>
                </a:tc>
                <a:extLst>
                  <a:ext uri="{0D108BD9-81ED-4DB2-BD59-A6C34878D82A}">
                    <a16:rowId xmlns:a16="http://schemas.microsoft.com/office/drawing/2014/main" val="10002"/>
                  </a:ext>
                </a:extLst>
              </a:tr>
            </a:tbl>
          </a:graphicData>
        </a:graphic>
      </p:graphicFrame>
      <p:sp>
        <p:nvSpPr>
          <p:cNvPr id="7" name="Content Placeholder 2"/>
          <p:cNvSpPr txBox="1">
            <a:spLocks/>
          </p:cNvSpPr>
          <p:nvPr/>
        </p:nvSpPr>
        <p:spPr>
          <a:xfrm>
            <a:off x="366169" y="1212851"/>
            <a:ext cx="11032876" cy="683264"/>
          </a:xfrm>
          <a:prstGeom prst="rect">
            <a:avLst/>
          </a:prstGeom>
        </p:spPr>
        <p:txBody>
          <a:bodyPr vert="horz" wrap="square" lIns="146304" tIns="91440" rIns="146304" bIns="91440" rtlCol="0">
            <a:spAutoFit/>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2"/>
                </a:solidFill>
              </a:rPr>
              <a:t>Mergers and acquisitions</a:t>
            </a:r>
          </a:p>
        </p:txBody>
      </p:sp>
    </p:spTree>
    <p:extLst>
      <p:ext uri="{BB962C8B-B14F-4D97-AF65-F5344CB8AC3E}">
        <p14:creationId xmlns:p14="http://schemas.microsoft.com/office/powerpoint/2010/main" val="143316941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AD custom domain names decisions</a:t>
            </a:r>
          </a:p>
        </p:txBody>
      </p:sp>
      <p:sp>
        <p:nvSpPr>
          <p:cNvPr id="9" name="Freeform: Shape 8"/>
          <p:cNvSpPr/>
          <p:nvPr/>
        </p:nvSpPr>
        <p:spPr>
          <a:xfrm>
            <a:off x="4998244" y="1264191"/>
            <a:ext cx="5266372" cy="2217517"/>
          </a:xfrm>
          <a:custGeom>
            <a:avLst/>
            <a:gdLst>
              <a:gd name="connsiteX0" fmla="*/ 0 w 5266372"/>
              <a:gd name="connsiteY0" fmla="*/ 277190 h 2217517"/>
              <a:gd name="connsiteX1" fmla="*/ 4157614 w 5266372"/>
              <a:gd name="connsiteY1" fmla="*/ 277190 h 2217517"/>
              <a:gd name="connsiteX2" fmla="*/ 4157614 w 5266372"/>
              <a:gd name="connsiteY2" fmla="*/ 0 h 2217517"/>
              <a:gd name="connsiteX3" fmla="*/ 5266372 w 5266372"/>
              <a:gd name="connsiteY3" fmla="*/ 1108759 h 2217517"/>
              <a:gd name="connsiteX4" fmla="*/ 4157614 w 5266372"/>
              <a:gd name="connsiteY4" fmla="*/ 2217517 h 2217517"/>
              <a:gd name="connsiteX5" fmla="*/ 4157614 w 5266372"/>
              <a:gd name="connsiteY5" fmla="*/ 1940327 h 2217517"/>
              <a:gd name="connsiteX6" fmla="*/ 0 w 5266372"/>
              <a:gd name="connsiteY6" fmla="*/ 1940327 h 2217517"/>
              <a:gd name="connsiteX7" fmla="*/ 0 w 5266372"/>
              <a:gd name="connsiteY7" fmla="*/ 277190 h 2217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6372" h="2217517">
                <a:moveTo>
                  <a:pt x="0" y="277190"/>
                </a:moveTo>
                <a:lnTo>
                  <a:pt x="4157614" y="277190"/>
                </a:lnTo>
                <a:lnTo>
                  <a:pt x="4157614" y="0"/>
                </a:lnTo>
                <a:lnTo>
                  <a:pt x="5266372" y="1108759"/>
                </a:lnTo>
                <a:lnTo>
                  <a:pt x="4157614" y="2217517"/>
                </a:lnTo>
                <a:lnTo>
                  <a:pt x="4157614" y="1940327"/>
                </a:lnTo>
                <a:lnTo>
                  <a:pt x="0" y="1940327"/>
                </a:lnTo>
                <a:lnTo>
                  <a:pt x="0" y="27719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 tIns="288620" rIns="842999" bIns="288620" numCol="1" spcCol="1270" anchor="ctr" anchorCtr="0">
            <a:noAutofit/>
          </a:bodyPr>
          <a:lstStyle/>
          <a:p>
            <a:pPr marL="637821" lvl="2" indent="-171450" defTabSz="800100">
              <a:lnSpc>
                <a:spcPct val="90000"/>
              </a:lnSpc>
              <a:spcBef>
                <a:spcPct val="0"/>
              </a:spcBef>
              <a:spcAft>
                <a:spcPct val="15000"/>
              </a:spcAft>
              <a:buChar char="•"/>
            </a:pPr>
            <a:r>
              <a:rPr lang="en-US" sz="1600" kern="1200" dirty="0"/>
              <a:t>Custom domain names must be publically registered with an Internet domain name registrar and the customer must be able to modify DNS records of the public record in order to prove ownership of the domain.</a:t>
            </a:r>
          </a:p>
        </p:txBody>
      </p:sp>
      <p:sp>
        <p:nvSpPr>
          <p:cNvPr id="10" name="Freeform: Shape 9"/>
          <p:cNvSpPr/>
          <p:nvPr/>
        </p:nvSpPr>
        <p:spPr>
          <a:xfrm>
            <a:off x="1805784" y="1516066"/>
            <a:ext cx="3510914" cy="1717839"/>
          </a:xfrm>
          <a:custGeom>
            <a:avLst/>
            <a:gdLst>
              <a:gd name="connsiteX0" fmla="*/ 0 w 3510914"/>
              <a:gd name="connsiteY0" fmla="*/ 286312 h 1717839"/>
              <a:gd name="connsiteX1" fmla="*/ 286312 w 3510914"/>
              <a:gd name="connsiteY1" fmla="*/ 0 h 1717839"/>
              <a:gd name="connsiteX2" fmla="*/ 3224602 w 3510914"/>
              <a:gd name="connsiteY2" fmla="*/ 0 h 1717839"/>
              <a:gd name="connsiteX3" fmla="*/ 3510914 w 3510914"/>
              <a:gd name="connsiteY3" fmla="*/ 286312 h 1717839"/>
              <a:gd name="connsiteX4" fmla="*/ 3510914 w 3510914"/>
              <a:gd name="connsiteY4" fmla="*/ 1431527 h 1717839"/>
              <a:gd name="connsiteX5" fmla="*/ 3224602 w 3510914"/>
              <a:gd name="connsiteY5" fmla="*/ 1717839 h 1717839"/>
              <a:gd name="connsiteX6" fmla="*/ 286312 w 3510914"/>
              <a:gd name="connsiteY6" fmla="*/ 1717839 h 1717839"/>
              <a:gd name="connsiteX7" fmla="*/ 0 w 3510914"/>
              <a:gd name="connsiteY7" fmla="*/ 1431527 h 1717839"/>
              <a:gd name="connsiteX8" fmla="*/ 0 w 3510914"/>
              <a:gd name="connsiteY8" fmla="*/ 286312 h 1717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0914" h="1717839">
                <a:moveTo>
                  <a:pt x="0" y="286312"/>
                </a:moveTo>
                <a:cubicBezTo>
                  <a:pt x="0" y="128186"/>
                  <a:pt x="128186" y="0"/>
                  <a:pt x="286312" y="0"/>
                </a:cubicBezTo>
                <a:lnTo>
                  <a:pt x="3224602" y="0"/>
                </a:lnTo>
                <a:cubicBezTo>
                  <a:pt x="3382728" y="0"/>
                  <a:pt x="3510914" y="128186"/>
                  <a:pt x="3510914" y="286312"/>
                </a:cubicBezTo>
                <a:lnTo>
                  <a:pt x="3510914" y="1431527"/>
                </a:lnTo>
                <a:cubicBezTo>
                  <a:pt x="3510914" y="1589653"/>
                  <a:pt x="3382728" y="1717839"/>
                  <a:pt x="3224602" y="1717839"/>
                </a:cubicBezTo>
                <a:lnTo>
                  <a:pt x="286312" y="1717839"/>
                </a:lnTo>
                <a:cubicBezTo>
                  <a:pt x="128186" y="1717839"/>
                  <a:pt x="0" y="1589653"/>
                  <a:pt x="0" y="1431527"/>
                </a:cubicBezTo>
                <a:lnTo>
                  <a:pt x="0" y="28631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5778" tIns="144818" rIns="205778" bIns="144818" numCol="1" spcCol="1270" anchor="ctr" anchorCtr="0">
            <a:noAutofit/>
          </a:bodyPr>
          <a:lstStyle/>
          <a:p>
            <a:pPr marL="0" lvl="0" indent="0" algn="ctr" defTabSz="1422400">
              <a:lnSpc>
                <a:spcPct val="90000"/>
              </a:lnSpc>
              <a:spcBef>
                <a:spcPct val="0"/>
              </a:spcBef>
              <a:spcAft>
                <a:spcPct val="35000"/>
              </a:spcAft>
              <a:buNone/>
            </a:pPr>
            <a:r>
              <a:rPr lang="en-US" sz="3200" b="1" kern="1200" dirty="0"/>
              <a:t>Mandatory</a:t>
            </a:r>
          </a:p>
        </p:txBody>
      </p:sp>
      <p:sp>
        <p:nvSpPr>
          <p:cNvPr id="11" name="Freeform: Shape 10"/>
          <p:cNvSpPr/>
          <p:nvPr/>
        </p:nvSpPr>
        <p:spPr>
          <a:xfrm>
            <a:off x="5118281" y="3734364"/>
            <a:ext cx="4744944" cy="2940026"/>
          </a:xfrm>
          <a:custGeom>
            <a:avLst/>
            <a:gdLst>
              <a:gd name="connsiteX0" fmla="*/ 0 w 4744944"/>
              <a:gd name="connsiteY0" fmla="*/ 367503 h 2940026"/>
              <a:gd name="connsiteX1" fmla="*/ 3274931 w 4744944"/>
              <a:gd name="connsiteY1" fmla="*/ 367503 h 2940026"/>
              <a:gd name="connsiteX2" fmla="*/ 3274931 w 4744944"/>
              <a:gd name="connsiteY2" fmla="*/ 0 h 2940026"/>
              <a:gd name="connsiteX3" fmla="*/ 4744944 w 4744944"/>
              <a:gd name="connsiteY3" fmla="*/ 1470013 h 2940026"/>
              <a:gd name="connsiteX4" fmla="*/ 3274931 w 4744944"/>
              <a:gd name="connsiteY4" fmla="*/ 2940026 h 2940026"/>
              <a:gd name="connsiteX5" fmla="*/ 3274931 w 4744944"/>
              <a:gd name="connsiteY5" fmla="*/ 2572523 h 2940026"/>
              <a:gd name="connsiteX6" fmla="*/ 0 w 4744944"/>
              <a:gd name="connsiteY6" fmla="*/ 2572523 h 2940026"/>
              <a:gd name="connsiteX7" fmla="*/ 0 w 4744944"/>
              <a:gd name="connsiteY7" fmla="*/ 367503 h 294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4944" h="2940026">
                <a:moveTo>
                  <a:pt x="0" y="367503"/>
                </a:moveTo>
                <a:lnTo>
                  <a:pt x="3274931" y="367503"/>
                </a:lnTo>
                <a:lnTo>
                  <a:pt x="3274931" y="0"/>
                </a:lnTo>
                <a:lnTo>
                  <a:pt x="4744944" y="1470013"/>
                </a:lnTo>
                <a:lnTo>
                  <a:pt x="3274931" y="2940026"/>
                </a:lnTo>
                <a:lnTo>
                  <a:pt x="3274931" y="2572523"/>
                </a:lnTo>
                <a:lnTo>
                  <a:pt x="0" y="2572523"/>
                </a:lnTo>
                <a:lnTo>
                  <a:pt x="0" y="367503"/>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 tIns="378933" rIns="1113940" bIns="378933" numCol="1" spcCol="1270" anchor="ctr" anchorCtr="0">
            <a:noAutofit/>
          </a:bodyPr>
          <a:lstStyle/>
          <a:p>
            <a:pPr marL="637821" lvl="2" indent="-171450" defTabSz="800100">
              <a:lnSpc>
                <a:spcPct val="90000"/>
              </a:lnSpc>
              <a:spcBef>
                <a:spcPct val="0"/>
              </a:spcBef>
              <a:spcAft>
                <a:spcPct val="15000"/>
              </a:spcAft>
              <a:buChar char="•"/>
            </a:pPr>
            <a:r>
              <a:rPr lang="en-US" sz="1600" kern="1200" dirty="0"/>
              <a:t>Add a customer’s public facing DNS name as a custom domain name for the customer’s production Azure AD Directory. Otherwise, users will log in with accounts such as </a:t>
            </a:r>
            <a:r>
              <a:rPr lang="en-US" sz="1600" kern="1200" dirty="0">
                <a:hlinkClick r:id="rId3"/>
              </a:rPr>
              <a:t>bob@contoso.onmicrosoft.com</a:t>
            </a:r>
            <a:r>
              <a:rPr lang="en-US" sz="1600" kern="1200" dirty="0"/>
              <a:t> instead of </a:t>
            </a:r>
            <a:r>
              <a:rPr lang="en-US" sz="1600" kern="1200" dirty="0">
                <a:hlinkClick r:id="rId4"/>
              </a:rPr>
              <a:t>bob@contoso.com</a:t>
            </a:r>
            <a:r>
              <a:rPr lang="en-US" sz="1600" kern="1200" dirty="0"/>
              <a:t>. </a:t>
            </a:r>
          </a:p>
        </p:txBody>
      </p:sp>
      <p:sp>
        <p:nvSpPr>
          <p:cNvPr id="12" name="Freeform: Shape 11"/>
          <p:cNvSpPr/>
          <p:nvPr/>
        </p:nvSpPr>
        <p:spPr>
          <a:xfrm>
            <a:off x="1805784" y="4030666"/>
            <a:ext cx="3596015" cy="2429161"/>
          </a:xfrm>
          <a:custGeom>
            <a:avLst/>
            <a:gdLst>
              <a:gd name="connsiteX0" fmla="*/ 0 w 3596015"/>
              <a:gd name="connsiteY0" fmla="*/ 404868 h 2429161"/>
              <a:gd name="connsiteX1" fmla="*/ 404868 w 3596015"/>
              <a:gd name="connsiteY1" fmla="*/ 0 h 2429161"/>
              <a:gd name="connsiteX2" fmla="*/ 3191147 w 3596015"/>
              <a:gd name="connsiteY2" fmla="*/ 0 h 2429161"/>
              <a:gd name="connsiteX3" fmla="*/ 3596015 w 3596015"/>
              <a:gd name="connsiteY3" fmla="*/ 404868 h 2429161"/>
              <a:gd name="connsiteX4" fmla="*/ 3596015 w 3596015"/>
              <a:gd name="connsiteY4" fmla="*/ 2024293 h 2429161"/>
              <a:gd name="connsiteX5" fmla="*/ 3191147 w 3596015"/>
              <a:gd name="connsiteY5" fmla="*/ 2429161 h 2429161"/>
              <a:gd name="connsiteX6" fmla="*/ 404868 w 3596015"/>
              <a:gd name="connsiteY6" fmla="*/ 2429161 h 2429161"/>
              <a:gd name="connsiteX7" fmla="*/ 0 w 3596015"/>
              <a:gd name="connsiteY7" fmla="*/ 2024293 h 2429161"/>
              <a:gd name="connsiteX8" fmla="*/ 0 w 3596015"/>
              <a:gd name="connsiteY8" fmla="*/ 404868 h 242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96015" h="2429161">
                <a:moveTo>
                  <a:pt x="0" y="404868"/>
                </a:moveTo>
                <a:cubicBezTo>
                  <a:pt x="0" y="181266"/>
                  <a:pt x="181266" y="0"/>
                  <a:pt x="404868" y="0"/>
                </a:cubicBezTo>
                <a:lnTo>
                  <a:pt x="3191147" y="0"/>
                </a:lnTo>
                <a:cubicBezTo>
                  <a:pt x="3414749" y="0"/>
                  <a:pt x="3596015" y="181266"/>
                  <a:pt x="3596015" y="404868"/>
                </a:cubicBezTo>
                <a:lnTo>
                  <a:pt x="3596015" y="2024293"/>
                </a:lnTo>
                <a:cubicBezTo>
                  <a:pt x="3596015" y="2247895"/>
                  <a:pt x="3414749" y="2429161"/>
                  <a:pt x="3191147" y="2429161"/>
                </a:cubicBezTo>
                <a:lnTo>
                  <a:pt x="404868" y="2429161"/>
                </a:lnTo>
                <a:cubicBezTo>
                  <a:pt x="181266" y="2429161"/>
                  <a:pt x="0" y="2247895"/>
                  <a:pt x="0" y="2024293"/>
                </a:cubicBezTo>
                <a:lnTo>
                  <a:pt x="0" y="40486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0502" tIns="179542" rIns="240502" bIns="179542" numCol="1" spcCol="1270" anchor="ctr" anchorCtr="0">
            <a:noAutofit/>
          </a:bodyPr>
          <a:lstStyle/>
          <a:p>
            <a:pPr marL="0" lvl="0" indent="0" algn="ctr" defTabSz="1422400">
              <a:lnSpc>
                <a:spcPct val="90000"/>
              </a:lnSpc>
              <a:spcBef>
                <a:spcPct val="0"/>
              </a:spcBef>
              <a:spcAft>
                <a:spcPct val="35000"/>
              </a:spcAft>
              <a:buNone/>
            </a:pPr>
            <a:r>
              <a:rPr lang="en-US" sz="3200" b="1" kern="1200" dirty="0"/>
              <a:t>Recommended</a:t>
            </a:r>
          </a:p>
        </p:txBody>
      </p:sp>
      <p:sp>
        <p:nvSpPr>
          <p:cNvPr id="7" name="Octagon 6"/>
          <p:cNvSpPr/>
          <p:nvPr/>
        </p:nvSpPr>
        <p:spPr>
          <a:xfrm>
            <a:off x="1684475" y="2955401"/>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8" name="Isosceles Triangle 7"/>
          <p:cNvSpPr>
            <a:spLocks/>
          </p:cNvSpPr>
          <p:nvPr/>
        </p:nvSpPr>
        <p:spPr>
          <a:xfrm>
            <a:off x="1616087" y="6011863"/>
            <a:ext cx="579874" cy="45721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3603523273"/>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Active Directory integration decision</a:t>
            </a:r>
          </a:p>
        </p:txBody>
      </p:sp>
      <p:sp>
        <p:nvSpPr>
          <p:cNvPr id="7" name="Freeform: Shape 6"/>
          <p:cNvSpPr/>
          <p:nvPr/>
        </p:nvSpPr>
        <p:spPr>
          <a:xfrm>
            <a:off x="5379244" y="2305686"/>
            <a:ext cx="4749583" cy="3206355"/>
          </a:xfrm>
          <a:custGeom>
            <a:avLst/>
            <a:gdLst>
              <a:gd name="connsiteX0" fmla="*/ 0 w 4749583"/>
              <a:gd name="connsiteY0" fmla="*/ 400794 h 3206355"/>
              <a:gd name="connsiteX1" fmla="*/ 3146406 w 4749583"/>
              <a:gd name="connsiteY1" fmla="*/ 400794 h 3206355"/>
              <a:gd name="connsiteX2" fmla="*/ 3146406 w 4749583"/>
              <a:gd name="connsiteY2" fmla="*/ 0 h 3206355"/>
              <a:gd name="connsiteX3" fmla="*/ 4749583 w 4749583"/>
              <a:gd name="connsiteY3" fmla="*/ 1603178 h 3206355"/>
              <a:gd name="connsiteX4" fmla="*/ 3146406 w 4749583"/>
              <a:gd name="connsiteY4" fmla="*/ 3206355 h 3206355"/>
              <a:gd name="connsiteX5" fmla="*/ 3146406 w 4749583"/>
              <a:gd name="connsiteY5" fmla="*/ 2805561 h 3206355"/>
              <a:gd name="connsiteX6" fmla="*/ 0 w 4749583"/>
              <a:gd name="connsiteY6" fmla="*/ 2805561 h 3206355"/>
              <a:gd name="connsiteX7" fmla="*/ 0 w 4749583"/>
              <a:gd name="connsiteY7" fmla="*/ 400794 h 320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9583" h="3206355">
                <a:moveTo>
                  <a:pt x="0" y="400794"/>
                </a:moveTo>
                <a:lnTo>
                  <a:pt x="3146406" y="400794"/>
                </a:lnTo>
                <a:lnTo>
                  <a:pt x="3146406" y="0"/>
                </a:lnTo>
                <a:lnTo>
                  <a:pt x="4749583" y="1603178"/>
                </a:lnTo>
                <a:lnTo>
                  <a:pt x="3146406" y="3206355"/>
                </a:lnTo>
                <a:lnTo>
                  <a:pt x="3146406" y="2805561"/>
                </a:lnTo>
                <a:lnTo>
                  <a:pt x="0" y="2805561"/>
                </a:lnTo>
                <a:lnTo>
                  <a:pt x="0" y="400794"/>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 tIns="412224" rIns="1213813" bIns="412224" numCol="1" spcCol="1270" anchor="ctr" anchorCtr="0">
            <a:noAutofit/>
          </a:bodyPr>
          <a:lstStyle/>
          <a:p>
            <a:pPr marL="637821" lvl="2" indent="-171450" defTabSz="800100">
              <a:lnSpc>
                <a:spcPct val="90000"/>
              </a:lnSpc>
              <a:spcBef>
                <a:spcPct val="0"/>
              </a:spcBef>
              <a:spcAft>
                <a:spcPct val="15000"/>
              </a:spcAft>
              <a:buChar char="•"/>
            </a:pPr>
            <a:r>
              <a:rPr lang="en-US" sz="1600" kern="1200" dirty="0"/>
              <a:t>Unless the customer is a cloud only company (no on-premises systems), this integration should be done. Even if they are not using Azure AD.</a:t>
            </a:r>
          </a:p>
          <a:p>
            <a:pPr marL="637821" lvl="2" indent="-171450" defTabSz="800100">
              <a:lnSpc>
                <a:spcPct val="90000"/>
              </a:lnSpc>
              <a:spcBef>
                <a:spcPct val="0"/>
              </a:spcBef>
              <a:spcAft>
                <a:spcPct val="15000"/>
              </a:spcAft>
              <a:buChar char="•"/>
            </a:pPr>
            <a:r>
              <a:rPr lang="en-US" sz="1600" kern="1200" dirty="0"/>
              <a:t>Integration will provide a better experience to the Azure AD service.</a:t>
            </a:r>
          </a:p>
        </p:txBody>
      </p:sp>
      <p:sp>
        <p:nvSpPr>
          <p:cNvPr id="9" name="Freeform: Shape 8"/>
          <p:cNvSpPr/>
          <p:nvPr/>
        </p:nvSpPr>
        <p:spPr>
          <a:xfrm>
            <a:off x="2096398" y="2614555"/>
            <a:ext cx="3599530" cy="2591431"/>
          </a:xfrm>
          <a:custGeom>
            <a:avLst/>
            <a:gdLst>
              <a:gd name="connsiteX0" fmla="*/ 0 w 3599530"/>
              <a:gd name="connsiteY0" fmla="*/ 431914 h 2591431"/>
              <a:gd name="connsiteX1" fmla="*/ 431914 w 3599530"/>
              <a:gd name="connsiteY1" fmla="*/ 0 h 2591431"/>
              <a:gd name="connsiteX2" fmla="*/ 3167616 w 3599530"/>
              <a:gd name="connsiteY2" fmla="*/ 0 h 2591431"/>
              <a:gd name="connsiteX3" fmla="*/ 3599530 w 3599530"/>
              <a:gd name="connsiteY3" fmla="*/ 431914 h 2591431"/>
              <a:gd name="connsiteX4" fmla="*/ 3599530 w 3599530"/>
              <a:gd name="connsiteY4" fmla="*/ 2159517 h 2591431"/>
              <a:gd name="connsiteX5" fmla="*/ 3167616 w 3599530"/>
              <a:gd name="connsiteY5" fmla="*/ 2591431 h 2591431"/>
              <a:gd name="connsiteX6" fmla="*/ 431914 w 3599530"/>
              <a:gd name="connsiteY6" fmla="*/ 2591431 h 2591431"/>
              <a:gd name="connsiteX7" fmla="*/ 0 w 3599530"/>
              <a:gd name="connsiteY7" fmla="*/ 2159517 h 2591431"/>
              <a:gd name="connsiteX8" fmla="*/ 0 w 3599530"/>
              <a:gd name="connsiteY8" fmla="*/ 431914 h 259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99530" h="2591431">
                <a:moveTo>
                  <a:pt x="0" y="431914"/>
                </a:moveTo>
                <a:cubicBezTo>
                  <a:pt x="0" y="193374"/>
                  <a:pt x="193374" y="0"/>
                  <a:pt x="431914" y="0"/>
                </a:cubicBezTo>
                <a:lnTo>
                  <a:pt x="3167616" y="0"/>
                </a:lnTo>
                <a:cubicBezTo>
                  <a:pt x="3406156" y="0"/>
                  <a:pt x="3599530" y="193374"/>
                  <a:pt x="3599530" y="431914"/>
                </a:cubicBezTo>
                <a:lnTo>
                  <a:pt x="3599530" y="2159517"/>
                </a:lnTo>
                <a:cubicBezTo>
                  <a:pt x="3599530" y="2398057"/>
                  <a:pt x="3406156" y="2591431"/>
                  <a:pt x="3167616" y="2591431"/>
                </a:cubicBezTo>
                <a:lnTo>
                  <a:pt x="431914" y="2591431"/>
                </a:lnTo>
                <a:cubicBezTo>
                  <a:pt x="193374" y="2591431"/>
                  <a:pt x="0" y="2398057"/>
                  <a:pt x="0" y="2159517"/>
                </a:cubicBezTo>
                <a:lnTo>
                  <a:pt x="0" y="43191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8423" tIns="187463" rIns="248423" bIns="187463" numCol="1" spcCol="1270" anchor="ctr" anchorCtr="0">
            <a:noAutofit/>
          </a:bodyPr>
          <a:lstStyle/>
          <a:p>
            <a:pPr marL="0" lvl="0" indent="0" algn="ctr" defTabSz="1422400">
              <a:lnSpc>
                <a:spcPct val="90000"/>
              </a:lnSpc>
              <a:spcBef>
                <a:spcPct val="0"/>
              </a:spcBef>
              <a:spcAft>
                <a:spcPct val="35000"/>
              </a:spcAft>
              <a:buNone/>
            </a:pPr>
            <a:r>
              <a:rPr lang="en-US" sz="3200" b="1" kern="1200" dirty="0"/>
              <a:t>Recommended</a:t>
            </a:r>
          </a:p>
        </p:txBody>
      </p:sp>
      <p:sp>
        <p:nvSpPr>
          <p:cNvPr id="8" name="Isosceles Triangle 7"/>
          <p:cNvSpPr>
            <a:spLocks/>
          </p:cNvSpPr>
          <p:nvPr/>
        </p:nvSpPr>
        <p:spPr>
          <a:xfrm>
            <a:off x="1950244" y="4716463"/>
            <a:ext cx="893838" cy="738729"/>
          </a:xfrm>
          <a:prstGeom prst="triangle">
            <a:avLst/>
          </a:prstGeom>
          <a:solidFill>
            <a:srgbClr val="FFFF00"/>
          </a:solidFill>
        </p:spPr>
        <p:style>
          <a:lnRef idx="1">
            <a:schemeClr val="accent6"/>
          </a:lnRef>
          <a:fillRef idx="3">
            <a:schemeClr val="accent6"/>
          </a:fillRef>
          <a:effectRef idx="2">
            <a:schemeClr val="accent6"/>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Tree>
    <p:extLst>
      <p:ext uri="{BB962C8B-B14F-4D97-AF65-F5344CB8AC3E}">
        <p14:creationId xmlns:p14="http://schemas.microsoft.com/office/powerpoint/2010/main" val="288106655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AD multiple forests decisions</a:t>
            </a:r>
          </a:p>
        </p:txBody>
      </p:sp>
      <p:sp>
        <p:nvSpPr>
          <p:cNvPr id="6" name="Text Placeholder 5"/>
          <p:cNvSpPr txBox="1">
            <a:spLocks/>
          </p:cNvSpPr>
          <p:nvPr/>
        </p:nvSpPr>
        <p:spPr>
          <a:xfrm>
            <a:off x="1424784" y="1750544"/>
            <a:ext cx="10355260" cy="3804118"/>
          </a:xfrm>
          <a:prstGeom prst="rect">
            <a:avLst/>
          </a:prstGeom>
        </p:spPr>
        <p:txBody>
          <a:bodyPr vert="horz" wrap="square" lIns="164592" tIns="91440" rIns="164592"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2400" dirty="0">
                <a:gradFill>
                  <a:gsLst>
                    <a:gs pos="1250">
                      <a:schemeClr val="tx2"/>
                    </a:gs>
                    <a:gs pos="99000">
                      <a:schemeClr val="tx2"/>
                    </a:gs>
                  </a:gsLst>
                  <a:lin ang="5400000" scaled="0"/>
                </a:gradFill>
              </a:rPr>
              <a:t>Unique users: </a:t>
            </a:r>
            <a:r>
              <a:rPr lang="en-US" sz="2400" dirty="0">
                <a:gradFill>
                  <a:gsLst>
                    <a:gs pos="1250">
                      <a:schemeClr val="tx2"/>
                    </a:gs>
                    <a:gs pos="99000">
                      <a:schemeClr val="tx2"/>
                    </a:gs>
                  </a:gsLst>
                  <a:lin ang="5400000" scaled="0"/>
                </a:gradFill>
                <a:latin typeface="+mj-lt"/>
              </a:rPr>
              <a:t>If users from the additional forests will be migrated into a single forest in the future, you must choose something other than </a:t>
            </a:r>
            <a:r>
              <a:rPr lang="en-US" sz="2400" dirty="0" err="1">
                <a:gradFill>
                  <a:gsLst>
                    <a:gs pos="1250">
                      <a:schemeClr val="tx2"/>
                    </a:gs>
                    <a:gs pos="99000">
                      <a:schemeClr val="tx2"/>
                    </a:gs>
                  </a:gsLst>
                  <a:lin ang="5400000" scaled="0"/>
                </a:gradFill>
                <a:latin typeface="+mj-lt"/>
              </a:rPr>
              <a:t>objectGUID</a:t>
            </a:r>
            <a:r>
              <a:rPr lang="en-US" sz="2400" dirty="0">
                <a:gradFill>
                  <a:gsLst>
                    <a:gs pos="1250">
                      <a:schemeClr val="tx2"/>
                    </a:gs>
                    <a:gs pos="99000">
                      <a:schemeClr val="tx2"/>
                    </a:gs>
                  </a:gsLst>
                  <a:lin ang="5400000" scaled="0"/>
                </a:gradFill>
                <a:latin typeface="+mj-lt"/>
              </a:rPr>
              <a:t> as the source anchor attribute, such as the mail attribute.</a:t>
            </a:r>
          </a:p>
          <a:p>
            <a:pPr lvl="1"/>
            <a:endParaRPr lang="en-US" sz="2400" dirty="0">
              <a:solidFill>
                <a:schemeClr val="tx1"/>
              </a:solidFill>
              <a:latin typeface="+mj-lt"/>
            </a:endParaRPr>
          </a:p>
          <a:p>
            <a:pPr lvl="1"/>
            <a:r>
              <a:rPr lang="en-US" sz="2400" dirty="0">
                <a:solidFill>
                  <a:schemeClr val="tx1"/>
                </a:solidFill>
                <a:latin typeface="+mj-lt"/>
              </a:rPr>
              <a:t>The reason for this is that the </a:t>
            </a:r>
            <a:r>
              <a:rPr lang="en-US" sz="2400" dirty="0" err="1">
                <a:solidFill>
                  <a:schemeClr val="tx1"/>
                </a:solidFill>
                <a:latin typeface="+mj-lt"/>
              </a:rPr>
              <a:t>objectGUID</a:t>
            </a:r>
            <a:r>
              <a:rPr lang="en-US" sz="2400" dirty="0">
                <a:solidFill>
                  <a:schemeClr val="tx1"/>
                </a:solidFill>
                <a:latin typeface="+mj-lt"/>
              </a:rPr>
              <a:t> can’t be migrated with the user. After migration, there would be multiple accounts in Azure AD for migrated users – one for the old forest and another for the new forest.</a:t>
            </a:r>
          </a:p>
          <a:p>
            <a:pPr lvl="1"/>
            <a:endParaRPr lang="en-US" sz="2400" dirty="0">
              <a:solidFill>
                <a:schemeClr val="tx1"/>
              </a:solidFill>
            </a:endParaRPr>
          </a:p>
          <a:p>
            <a:pPr lvl="1"/>
            <a:r>
              <a:rPr lang="en-US" sz="2400" dirty="0">
                <a:gradFill>
                  <a:gsLst>
                    <a:gs pos="1250">
                      <a:schemeClr val="tx2"/>
                    </a:gs>
                    <a:gs pos="99000">
                      <a:schemeClr val="tx2"/>
                    </a:gs>
                  </a:gsLst>
                  <a:lin ang="5400000" scaled="0"/>
                </a:gradFill>
              </a:rPr>
              <a:t>Multiple users: </a:t>
            </a:r>
            <a:r>
              <a:rPr lang="en-US" sz="2400" dirty="0">
                <a:gradFill>
                  <a:gsLst>
                    <a:gs pos="1250">
                      <a:schemeClr val="tx2"/>
                    </a:gs>
                    <a:gs pos="99000">
                      <a:schemeClr val="tx2"/>
                    </a:gs>
                  </a:gsLst>
                  <a:lin ang="5400000" scaled="0"/>
                </a:gradFill>
                <a:latin typeface="+mj-lt"/>
              </a:rPr>
              <a:t>If a single person has multiple user accounts in different forests, you must choose a common attribute to match the accounts together.</a:t>
            </a:r>
          </a:p>
        </p:txBody>
      </p:sp>
      <p:sp>
        <p:nvSpPr>
          <p:cNvPr id="8" name="Octagon 7"/>
          <p:cNvSpPr/>
          <p:nvPr/>
        </p:nvSpPr>
        <p:spPr>
          <a:xfrm>
            <a:off x="578644" y="2095290"/>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endParaRPr lang="en-US" sz="1350"/>
          </a:p>
        </p:txBody>
      </p:sp>
      <p:sp>
        <p:nvSpPr>
          <p:cNvPr id="9" name="Octagon 8"/>
          <p:cNvSpPr/>
          <p:nvPr/>
        </p:nvSpPr>
        <p:spPr>
          <a:xfrm>
            <a:off x="578644" y="4906223"/>
            <a:ext cx="443098" cy="439889"/>
          </a:xfrm>
          <a:prstGeom prst="octagon">
            <a:avLst/>
          </a:prstGeom>
          <a:solidFill>
            <a:srgbClr val="CC0000"/>
          </a:solidFill>
        </p:spPr>
        <p:style>
          <a:lnRef idx="1">
            <a:schemeClr val="accent2"/>
          </a:lnRef>
          <a:fillRef idx="3">
            <a:schemeClr val="accent2"/>
          </a:fillRef>
          <a:effectRef idx="2">
            <a:schemeClr val="accent2"/>
          </a:effectRef>
          <a:fontRef idx="minor">
            <a:schemeClr val="lt1"/>
          </a:fontRef>
        </p:style>
        <p:txBody>
          <a:bodyPr rot="0" spcFirstLastPara="0" vert="horz" wrap="square" lIns="68583" tIns="34291" rIns="68583" bIns="34291" numCol="1" spcCol="0" rtlCol="0" fromWordArt="0" anchor="ctr" anchorCtr="0" forceAA="0" compatLnSpc="1">
            <a:prstTxWarp prst="textNoShape">
              <a:avLst/>
            </a:prstTxWarp>
            <a:noAutofit/>
          </a:bodyPr>
          <a:lstStyle/>
          <a:p>
            <a:r>
              <a:rPr lang="en-US" sz="1350" dirty="0"/>
              <a:t> </a:t>
            </a:r>
          </a:p>
        </p:txBody>
      </p:sp>
    </p:spTree>
    <p:extLst>
      <p:ext uri="{BB962C8B-B14F-4D97-AF65-F5344CB8AC3E}">
        <p14:creationId xmlns:p14="http://schemas.microsoft.com/office/powerpoint/2010/main" val="3729786268"/>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Custom domain names</a:t>
            </a:r>
          </a:p>
        </p:txBody>
      </p:sp>
      <p:sp>
        <p:nvSpPr>
          <p:cNvPr id="5" name="Text Placeholder 5"/>
          <p:cNvSpPr txBox="1">
            <a:spLocks/>
          </p:cNvSpPr>
          <p:nvPr/>
        </p:nvSpPr>
        <p:spPr>
          <a:xfrm>
            <a:off x="366168" y="1750544"/>
            <a:ext cx="11490075" cy="3625608"/>
          </a:xfrm>
          <a:prstGeom prst="rect">
            <a:avLst/>
          </a:prstGeom>
        </p:spPr>
        <p:txBody>
          <a:bodyPr vert="horz" wrap="square" lIns="164592" tIns="91440" rIns="164592"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3200" dirty="0">
                <a:gradFill>
                  <a:gsLst>
                    <a:gs pos="1250">
                      <a:schemeClr val="tx2"/>
                    </a:gs>
                    <a:gs pos="99000">
                      <a:schemeClr val="tx2"/>
                    </a:gs>
                  </a:gsLst>
                  <a:lin ang="5400000" scaled="0"/>
                </a:gradFill>
                <a:latin typeface="+mj-lt"/>
              </a:rPr>
              <a:t>When a directory is created, the default name of the directory is [name].onmicrosoft.com. The [name] is chosen by the directory administrator during the creation of the directory.</a:t>
            </a:r>
          </a:p>
          <a:p>
            <a:pPr lvl="1"/>
            <a:endParaRPr lang="en-US" sz="2400" dirty="0">
              <a:solidFill>
                <a:schemeClr val="tx1"/>
              </a:solidFill>
              <a:latin typeface="+mj-lt"/>
            </a:endParaRPr>
          </a:p>
          <a:p>
            <a:pPr lvl="1"/>
            <a:r>
              <a:rPr lang="en-US" sz="2800" dirty="0">
                <a:solidFill>
                  <a:schemeClr val="tx1"/>
                </a:solidFill>
                <a:cs typeface="Segoe UI Semibold" panose="020B0702040204020203" pitchFamily="34" charset="0"/>
              </a:rPr>
              <a:t>Consider the following:</a:t>
            </a:r>
          </a:p>
          <a:p>
            <a:pPr marL="285750" lvl="1" indent="-285750">
              <a:buFont typeface="Arial" panose="020B0604020202020204" pitchFamily="34" charset="0"/>
              <a:buChar char="•"/>
            </a:pPr>
            <a:r>
              <a:rPr lang="en-US" dirty="0">
                <a:solidFill>
                  <a:schemeClr val="tx1"/>
                </a:solidFill>
              </a:rPr>
              <a:t>Usually, customers want to user their own domain name, such as contoso.com. Add a custom domain name to your directory, in order to achieve this.</a:t>
            </a:r>
          </a:p>
          <a:p>
            <a:pPr marL="285750" lvl="1" indent="-285750">
              <a:buFont typeface="Arial" panose="020B0604020202020204" pitchFamily="34" charset="0"/>
              <a:buChar char="•"/>
            </a:pPr>
            <a:r>
              <a:rPr lang="en-US" dirty="0">
                <a:solidFill>
                  <a:schemeClr val="tx1"/>
                </a:solidFill>
              </a:rPr>
              <a:t>Multiple custom domain names can be added to each Azure AD directory, but a custom domain name can only be used in one Azure AD directory. </a:t>
            </a:r>
          </a:p>
        </p:txBody>
      </p:sp>
    </p:spTree>
    <p:extLst>
      <p:ext uri="{BB962C8B-B14F-4D97-AF65-F5344CB8AC3E}">
        <p14:creationId xmlns:p14="http://schemas.microsoft.com/office/powerpoint/2010/main" val="595032140"/>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Integrating on-premises Active Directory</a:t>
            </a:r>
          </a:p>
        </p:txBody>
      </p:sp>
      <p:graphicFrame>
        <p:nvGraphicFramePr>
          <p:cNvPr id="3" name="Diagram 2"/>
          <p:cNvGraphicFramePr/>
          <p:nvPr>
            <p:extLst>
              <p:ext uri="{D42A27DB-BD31-4B8C-83A1-F6EECF244321}">
                <p14:modId xmlns:p14="http://schemas.microsoft.com/office/powerpoint/2010/main" val="748319013"/>
              </p:ext>
            </p:extLst>
          </p:nvPr>
        </p:nvGraphicFramePr>
        <p:xfrm>
          <a:off x="2178844" y="2201862"/>
          <a:ext cx="7924800" cy="419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 Placeholder 5"/>
          <p:cNvSpPr txBox="1">
            <a:spLocks/>
          </p:cNvSpPr>
          <p:nvPr/>
        </p:nvSpPr>
        <p:spPr>
          <a:xfrm>
            <a:off x="366168" y="1211263"/>
            <a:ext cx="11032875" cy="461665"/>
          </a:xfrm>
          <a:prstGeom prst="rect">
            <a:avLst/>
          </a:prstGeom>
        </p:spPr>
        <p:txBody>
          <a:bodyPr vert="horz" wrap="square" lIns="146304" tIns="9144" rIns="146304" bIns="9144"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200" dirty="0">
                <a:gradFill>
                  <a:gsLst>
                    <a:gs pos="1250">
                      <a:schemeClr val="tx2"/>
                    </a:gs>
                    <a:gs pos="99000">
                      <a:schemeClr val="tx2"/>
                    </a:gs>
                  </a:gsLst>
                  <a:lin ang="5400000" scaled="0"/>
                </a:gradFill>
              </a:rPr>
              <a:t>Integration aspects for Azure AD and on-premises integration:</a:t>
            </a:r>
          </a:p>
        </p:txBody>
      </p:sp>
    </p:spTree>
    <p:extLst>
      <p:ext uri="{BB962C8B-B14F-4D97-AF65-F5344CB8AC3E}">
        <p14:creationId xmlns:p14="http://schemas.microsoft.com/office/powerpoint/2010/main" val="374131987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Single forest with multiple domains</a:t>
            </a:r>
          </a:p>
        </p:txBody>
      </p:sp>
      <p:sp>
        <p:nvSpPr>
          <p:cNvPr id="8" name="Text Placeholder 5"/>
          <p:cNvSpPr txBox="1">
            <a:spLocks/>
          </p:cNvSpPr>
          <p:nvPr/>
        </p:nvSpPr>
        <p:spPr>
          <a:xfrm>
            <a:off x="366169" y="1516062"/>
            <a:ext cx="11490075" cy="2930033"/>
          </a:xfrm>
          <a:prstGeom prst="rect">
            <a:avLst/>
          </a:prstGeom>
        </p:spPr>
        <p:txBody>
          <a:bodyPr vert="horz" wrap="square" lIns="146304" tIns="9144" rIns="146304" bIns="9144"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3200" dirty="0">
                <a:gradFill>
                  <a:gsLst>
                    <a:gs pos="1250">
                      <a:schemeClr val="tx2"/>
                    </a:gs>
                    <a:gs pos="99000">
                      <a:schemeClr val="tx2"/>
                    </a:gs>
                  </a:gsLst>
                  <a:lin ang="5400000" scaled="0"/>
                </a:gradFill>
                <a:latin typeface="+mj-lt"/>
              </a:rPr>
              <a:t>Azure AD Connect natively handles this scenario when the following conditions need to be met:</a:t>
            </a:r>
          </a:p>
          <a:p>
            <a:pPr lvl="1"/>
            <a:endParaRPr lang="en-US" sz="2400" dirty="0">
              <a:gradFill>
                <a:gsLst>
                  <a:gs pos="1250">
                    <a:schemeClr val="tx2"/>
                  </a:gs>
                  <a:gs pos="99000">
                    <a:schemeClr val="tx2"/>
                  </a:gs>
                </a:gsLst>
                <a:lin ang="5400000" scaled="0"/>
              </a:gradFill>
              <a:latin typeface="+mj-lt"/>
            </a:endParaRPr>
          </a:p>
          <a:p>
            <a:pPr marL="342846" lvl="1" indent="-342846" defTabSz="932594">
              <a:buFont typeface="Arial" pitchFamily="34" charset="0"/>
              <a:buChar char="•"/>
            </a:pPr>
            <a:r>
              <a:rPr lang="en-US" dirty="0"/>
              <a:t>Users need to exist uniquely across the forest. A user cannot have an active account in more than one domain, otherwise both accounts will be synchronized as separate identities into Azure AD.</a:t>
            </a:r>
          </a:p>
          <a:p>
            <a:pPr marL="342846" lvl="1" indent="-342846" defTabSz="932594">
              <a:buFont typeface="Arial" pitchFamily="34" charset="0"/>
              <a:buChar char="•"/>
            </a:pPr>
            <a:r>
              <a:rPr lang="en-US" dirty="0"/>
              <a:t>If the domains in the forests use different UPN suffixes, each UPN suffix needs to be added to the Azure AD tenant as custom domain name.</a:t>
            </a:r>
          </a:p>
        </p:txBody>
      </p:sp>
    </p:spTree>
    <p:extLst>
      <p:ext uri="{BB962C8B-B14F-4D97-AF65-F5344CB8AC3E}">
        <p14:creationId xmlns:p14="http://schemas.microsoft.com/office/powerpoint/2010/main" val="539505789"/>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Account/resource forest model</a:t>
            </a:r>
          </a:p>
        </p:txBody>
      </p:sp>
      <p:sp>
        <p:nvSpPr>
          <p:cNvPr id="6" name="Text Placeholder 5"/>
          <p:cNvSpPr txBox="1">
            <a:spLocks/>
          </p:cNvSpPr>
          <p:nvPr/>
        </p:nvSpPr>
        <p:spPr>
          <a:xfrm>
            <a:off x="366169" y="1516062"/>
            <a:ext cx="11413875" cy="2394502"/>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3200" dirty="0">
                <a:gradFill>
                  <a:gsLst>
                    <a:gs pos="1250">
                      <a:schemeClr val="tx2"/>
                    </a:gs>
                    <a:gs pos="99000">
                      <a:schemeClr val="tx2"/>
                    </a:gs>
                  </a:gsLst>
                  <a:lin ang="5400000" scaled="0"/>
                </a:gradFill>
                <a:latin typeface="+mj-lt"/>
              </a:rPr>
              <a:t>Azure AD Connect natively handles this scenario.</a:t>
            </a:r>
          </a:p>
          <a:p>
            <a:pPr lvl="1"/>
            <a:r>
              <a:rPr lang="en-US" sz="3200" dirty="0">
                <a:gradFill>
                  <a:gsLst>
                    <a:gs pos="1250">
                      <a:schemeClr val="tx2"/>
                    </a:gs>
                    <a:gs pos="99000">
                      <a:schemeClr val="tx2"/>
                    </a:gs>
                  </a:gsLst>
                  <a:lin ang="5400000" scaled="0"/>
                </a:gradFill>
                <a:latin typeface="+mj-lt"/>
              </a:rPr>
              <a:t> </a:t>
            </a:r>
          </a:p>
          <a:p>
            <a:pPr lvl="1"/>
            <a:r>
              <a:rPr lang="en-US" dirty="0">
                <a:solidFill>
                  <a:schemeClr val="tx1"/>
                </a:solidFill>
              </a:rPr>
              <a:t>If the resource forest contains data that needs to be added to Azure AD (such as mailbox information for an Exchange user), the synchronization engine will detect the presence of disabled accounts with a linked mailbox and contribute the appropriate data to the Azure AD user account from it.</a:t>
            </a:r>
          </a:p>
        </p:txBody>
      </p:sp>
      <p:pic>
        <p:nvPicPr>
          <p:cNvPr id="4" name="Picture 3"/>
          <p:cNvPicPr/>
          <p:nvPr/>
        </p:nvPicPr>
        <p:blipFill>
          <a:blip r:embed="rId3">
            <a:extLst>
              <a:ext uri="{28A0092B-C50C-407E-A947-70E740481C1C}">
                <a14:useLocalDpi xmlns:a14="http://schemas.microsoft.com/office/drawing/2010/main"/>
              </a:ext>
            </a:extLst>
          </a:blip>
          <a:srcRect/>
          <a:stretch>
            <a:fillRect/>
          </a:stretch>
        </p:blipFill>
        <p:spPr bwMode="auto">
          <a:xfrm>
            <a:off x="2689226" y="4154338"/>
            <a:ext cx="7010400" cy="2619524"/>
          </a:xfrm>
          <a:prstGeom prst="rect">
            <a:avLst/>
          </a:prstGeom>
          <a:noFill/>
          <a:ln>
            <a:noFill/>
          </a:ln>
        </p:spPr>
      </p:pic>
    </p:spTree>
    <p:extLst>
      <p:ext uri="{BB962C8B-B14F-4D97-AF65-F5344CB8AC3E}">
        <p14:creationId xmlns:p14="http://schemas.microsoft.com/office/powerpoint/2010/main" val="1171119553"/>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ultiple forests with unique users</a:t>
            </a:r>
          </a:p>
        </p:txBody>
      </p:sp>
      <p:pic>
        <p:nvPicPr>
          <p:cNvPr id="5" name="Picture 4"/>
          <p:cNvPicPr/>
          <p:nvPr/>
        </p:nvPicPr>
        <p:blipFill>
          <a:blip r:embed="rId3">
            <a:extLst>
              <a:ext uri="{28A0092B-C50C-407E-A947-70E740481C1C}">
                <a14:useLocalDpi xmlns:a14="http://schemas.microsoft.com/office/drawing/2010/main"/>
              </a:ext>
            </a:extLst>
          </a:blip>
          <a:srcRect/>
          <a:stretch>
            <a:fillRect/>
          </a:stretch>
        </p:blipFill>
        <p:spPr bwMode="auto">
          <a:xfrm>
            <a:off x="2024320" y="3954462"/>
            <a:ext cx="8323261" cy="2590800"/>
          </a:xfrm>
          <a:prstGeom prst="rect">
            <a:avLst/>
          </a:prstGeom>
          <a:noFill/>
          <a:ln>
            <a:noFill/>
          </a:ln>
        </p:spPr>
      </p:pic>
      <p:sp>
        <p:nvSpPr>
          <p:cNvPr id="8" name="Text Placeholder 5"/>
          <p:cNvSpPr txBox="1">
            <a:spLocks/>
          </p:cNvSpPr>
          <p:nvPr/>
        </p:nvSpPr>
        <p:spPr>
          <a:xfrm>
            <a:off x="366169" y="1516062"/>
            <a:ext cx="11871075" cy="2019014"/>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3200" dirty="0">
                <a:gradFill>
                  <a:gsLst>
                    <a:gs pos="1250">
                      <a:schemeClr val="tx2"/>
                    </a:gs>
                    <a:gs pos="99000">
                      <a:schemeClr val="tx2"/>
                    </a:gs>
                  </a:gsLst>
                  <a:lin ang="5400000" scaled="0"/>
                </a:gradFill>
                <a:latin typeface="+mj-lt"/>
              </a:rPr>
              <a:t>Users in this scenario only have a single account in one of the forests – they do not have multiple user accounts across forests.  </a:t>
            </a:r>
          </a:p>
          <a:p>
            <a:pPr lvl="1"/>
            <a:endParaRPr lang="en-US" sz="3200" dirty="0">
              <a:gradFill>
                <a:gsLst>
                  <a:gs pos="1250">
                    <a:schemeClr val="tx2"/>
                  </a:gs>
                  <a:gs pos="99000">
                    <a:schemeClr val="tx2"/>
                  </a:gs>
                </a:gsLst>
                <a:lin ang="5400000" scaled="0"/>
              </a:gradFill>
              <a:latin typeface="+mj-lt"/>
            </a:endParaRPr>
          </a:p>
          <a:p>
            <a:pPr lvl="1"/>
            <a:r>
              <a:rPr lang="en-US" dirty="0">
                <a:solidFill>
                  <a:schemeClr val="tx1"/>
                </a:solidFill>
              </a:rPr>
              <a:t>Because of this, a synchronization tool to match a user to multiple accounts is not needed.</a:t>
            </a:r>
          </a:p>
        </p:txBody>
      </p:sp>
    </p:spTree>
    <p:extLst>
      <p:ext uri="{BB962C8B-B14F-4D97-AF65-F5344CB8AC3E}">
        <p14:creationId xmlns:p14="http://schemas.microsoft.com/office/powerpoint/2010/main" val="1683304256"/>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Identity Management Systems</a:t>
            </a:r>
          </a:p>
        </p:txBody>
      </p:sp>
      <p:graphicFrame>
        <p:nvGraphicFramePr>
          <p:cNvPr id="2" name="Diagram 1"/>
          <p:cNvGraphicFramePr/>
          <p:nvPr>
            <p:extLst>
              <p:ext uri="{D42A27DB-BD31-4B8C-83A1-F6EECF244321}">
                <p14:modId xmlns:p14="http://schemas.microsoft.com/office/powerpoint/2010/main" val="418542262"/>
              </p:ext>
            </p:extLst>
          </p:nvPr>
        </p:nvGraphicFramePr>
        <p:xfrm>
          <a:off x="2026444" y="2811462"/>
          <a:ext cx="8556626" cy="39188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5"/>
          <p:cNvSpPr txBox="1">
            <a:spLocks/>
          </p:cNvSpPr>
          <p:nvPr/>
        </p:nvSpPr>
        <p:spPr>
          <a:xfrm>
            <a:off x="366169" y="1211262"/>
            <a:ext cx="11702551" cy="1692771"/>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900" indent="-342900">
              <a:buFont typeface="Arial" panose="020B0604020202020204" pitchFamily="34" charset="0"/>
              <a:buChar char="•"/>
            </a:pPr>
            <a:r>
              <a:rPr lang="en-US" sz="2000" dirty="0">
                <a:gradFill>
                  <a:gsLst>
                    <a:gs pos="1250">
                      <a:schemeClr val="tx2"/>
                    </a:gs>
                    <a:gs pos="99000">
                      <a:schemeClr val="tx2"/>
                    </a:gs>
                  </a:gsLst>
                  <a:lin ang="5400000" scaled="0"/>
                </a:gradFill>
              </a:rPr>
              <a:t>If an identity management solution is in place, such as Microsoft Identity Manager, it’s likely that        there’s a dependency on the UPN attribute. </a:t>
            </a:r>
          </a:p>
          <a:p>
            <a:pPr marL="342900" indent="-342900">
              <a:buFont typeface="Arial" panose="020B0604020202020204" pitchFamily="34" charset="0"/>
              <a:buChar char="•"/>
            </a:pPr>
            <a:r>
              <a:rPr lang="en-US" sz="2000" dirty="0">
                <a:gradFill>
                  <a:gsLst>
                    <a:gs pos="1250">
                      <a:schemeClr val="tx2"/>
                    </a:gs>
                    <a:gs pos="99000">
                      <a:schemeClr val="tx2"/>
                    </a:gs>
                  </a:gsLst>
                  <a:lin ang="5400000" scaled="0"/>
                </a:gradFill>
              </a:rPr>
              <a:t>In these cases, the Identity Management System is managing the value of the UPN attribute for users. </a:t>
            </a:r>
          </a:p>
          <a:p>
            <a:pPr marL="342900" indent="-342900">
              <a:buFont typeface="Arial" panose="020B0604020202020204" pitchFamily="34" charset="0"/>
              <a:buChar char="•"/>
            </a:pPr>
            <a:r>
              <a:rPr lang="en-US" sz="2000" dirty="0">
                <a:gradFill>
                  <a:gsLst>
                    <a:gs pos="1250">
                      <a:schemeClr val="tx2"/>
                    </a:gs>
                    <a:gs pos="99000">
                      <a:schemeClr val="tx2"/>
                    </a:gs>
                  </a:gsLst>
                  <a:lin ang="5400000" scaled="0"/>
                </a:gradFill>
              </a:rPr>
              <a:t>If UPN is changed on the user account in Active Directory, the identity management system would         set it back to the old value.</a:t>
            </a:r>
          </a:p>
        </p:txBody>
      </p:sp>
    </p:spTree>
    <p:extLst>
      <p:ext uri="{BB962C8B-B14F-4D97-AF65-F5344CB8AC3E}">
        <p14:creationId xmlns:p14="http://schemas.microsoft.com/office/powerpoint/2010/main" val="33012407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5E0747-5FFB-4F17-B15D-F7FED554455D}"/>
              </a:ext>
            </a:extLst>
          </p:cNvPr>
          <p:cNvSpPr>
            <a:spLocks noGrp="1"/>
          </p:cNvSpPr>
          <p:nvPr>
            <p:ph type="title"/>
          </p:nvPr>
        </p:nvSpPr>
        <p:spPr/>
        <p:txBody>
          <a:bodyPr/>
          <a:lstStyle/>
          <a:p>
            <a:r>
              <a:rPr lang="en-US" dirty="0"/>
              <a:t>A Big Question</a:t>
            </a:r>
          </a:p>
        </p:txBody>
      </p:sp>
      <p:sp>
        <p:nvSpPr>
          <p:cNvPr id="5" name="Text Placeholder 4">
            <a:extLst>
              <a:ext uri="{FF2B5EF4-FFF2-40B4-BE49-F238E27FC236}">
                <a16:creationId xmlns:a16="http://schemas.microsoft.com/office/drawing/2014/main" id="{BDEE1AF8-4551-4624-BE39-D1B7D9202EAC}"/>
              </a:ext>
            </a:extLst>
          </p:cNvPr>
          <p:cNvSpPr>
            <a:spLocks noGrp="1"/>
          </p:cNvSpPr>
          <p:nvPr>
            <p:ph type="body" sz="quarter" idx="10"/>
          </p:nvPr>
        </p:nvSpPr>
        <p:spPr>
          <a:xfrm>
            <a:off x="274668" y="1211579"/>
            <a:ext cx="11887269" cy="4961358"/>
          </a:xfrm>
        </p:spPr>
        <p:txBody>
          <a:bodyPr/>
          <a:lstStyle/>
          <a:p>
            <a:pPr lvl="1"/>
            <a:endParaRPr lang="en-US" dirty="0"/>
          </a:p>
          <a:p>
            <a:pPr marL="0" indent="0">
              <a:buNone/>
            </a:pPr>
            <a:r>
              <a:rPr lang="en-US" dirty="0"/>
              <a:t>Should I parent my subscriptions to an Azure AD tenant managed by central IT…</a:t>
            </a:r>
          </a:p>
          <a:p>
            <a:pPr marL="342891" lvl="1" indent="0">
              <a:buNone/>
            </a:pPr>
            <a:endParaRPr lang="en-US" dirty="0"/>
          </a:p>
          <a:p>
            <a:pPr marL="0" indent="0">
              <a:buNone/>
            </a:pPr>
            <a:r>
              <a:rPr lang="en-US" dirty="0"/>
              <a:t>… or should I isolate my environment from IT and parent my subscriptions to my own Azure AD?</a:t>
            </a:r>
          </a:p>
          <a:p>
            <a:pPr marL="342891" lvl="1" indent="0">
              <a:buNone/>
            </a:pPr>
            <a:endParaRPr lang="en-US" dirty="0"/>
          </a:p>
          <a:p>
            <a:pPr marL="0" indent="0">
              <a:buNone/>
            </a:pPr>
            <a:r>
              <a:rPr lang="en-US" dirty="0"/>
              <a:t>Answer:  either is sufficient if identity lifecycle and tenant policy is being </a:t>
            </a:r>
            <a:r>
              <a:rPr lang="en-US" u="sng" dirty="0"/>
              <a:t>proactively managed</a:t>
            </a:r>
            <a:r>
              <a:rPr lang="en-US" dirty="0"/>
              <a:t>, for example accounts are disabled or removed when people leave organization</a:t>
            </a:r>
            <a:endParaRPr lang="en-US" u="sng" dirty="0"/>
          </a:p>
        </p:txBody>
      </p:sp>
    </p:spTree>
    <p:extLst>
      <p:ext uri="{BB962C8B-B14F-4D97-AF65-F5344CB8AC3E}">
        <p14:creationId xmlns:p14="http://schemas.microsoft.com/office/powerpoint/2010/main" val="2947691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MFA server decisions</a:t>
            </a:r>
          </a:p>
        </p:txBody>
      </p:sp>
      <p:sp>
        <p:nvSpPr>
          <p:cNvPr id="6" name="Text Placeholder 5"/>
          <p:cNvSpPr txBox="1">
            <a:spLocks/>
          </p:cNvSpPr>
          <p:nvPr/>
        </p:nvSpPr>
        <p:spPr>
          <a:xfrm>
            <a:off x="366168" y="1211263"/>
            <a:ext cx="11032875" cy="4025717"/>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200" dirty="0">
                <a:gradFill>
                  <a:gsLst>
                    <a:gs pos="1250">
                      <a:schemeClr val="tx2"/>
                    </a:gs>
                    <a:gs pos="99000">
                      <a:schemeClr val="tx2"/>
                    </a:gs>
                  </a:gsLst>
                  <a:lin ang="5400000" scaled="0"/>
                </a:gradFill>
              </a:rPr>
              <a:t>You should use Azure MFA Server in the following conditions:</a:t>
            </a:r>
          </a:p>
          <a:p>
            <a:endParaRPr lang="en-US" sz="2400" dirty="0"/>
          </a:p>
          <a:p>
            <a:pPr marL="457200" indent="-457200">
              <a:buFont typeface="+mj-lt"/>
              <a:buAutoNum type="arabicPeriod"/>
            </a:pPr>
            <a:r>
              <a:rPr lang="en-US" sz="2000" dirty="0">
                <a:latin typeface="+mn-lt"/>
              </a:rPr>
              <a:t>You want to add multi-factor authentication to on-premises devices, such as VPN devices or networking gear</a:t>
            </a:r>
          </a:p>
          <a:p>
            <a:pPr marL="457200" indent="-457200">
              <a:buFont typeface="+mj-lt"/>
              <a:buAutoNum type="arabicPeriod"/>
            </a:pPr>
            <a:r>
              <a:rPr lang="en-US" sz="2000" dirty="0">
                <a:latin typeface="+mn-lt"/>
              </a:rPr>
              <a:t>You want to add multi-factor authentication to applications that don’t support identity federation protocols, or are not integrated with Azure AD</a:t>
            </a:r>
          </a:p>
          <a:p>
            <a:pPr marL="457200" indent="-457200">
              <a:buFont typeface="+mj-lt"/>
              <a:buAutoNum type="arabicPeriod"/>
            </a:pPr>
            <a:r>
              <a:rPr lang="en-US" sz="2000" dirty="0">
                <a:latin typeface="+mn-lt"/>
              </a:rPr>
              <a:t>You want to use one of the following MFA methodologies:</a:t>
            </a:r>
          </a:p>
          <a:p>
            <a:pPr marL="685700" lvl="3" indent="-342846" defTabSz="932594">
              <a:buFont typeface="Arial" pitchFamily="34" charset="0"/>
              <a:buChar char="•"/>
            </a:pPr>
            <a:r>
              <a:rPr lang="en-US" sz="2000" dirty="0"/>
              <a:t>OATH token</a:t>
            </a:r>
          </a:p>
          <a:p>
            <a:pPr marL="685700" lvl="3" indent="-342846" defTabSz="932594">
              <a:buFont typeface="Arial" pitchFamily="34" charset="0"/>
              <a:buChar char="•"/>
            </a:pPr>
            <a:r>
              <a:rPr lang="en-US" sz="2000" dirty="0"/>
              <a:t>Two-way SMS</a:t>
            </a:r>
          </a:p>
          <a:p>
            <a:pPr marL="685700" lvl="3" indent="-342846" defTabSz="932594">
              <a:buFont typeface="Arial" pitchFamily="34" charset="0"/>
              <a:buChar char="•"/>
            </a:pPr>
            <a:r>
              <a:rPr lang="en-US" sz="2000" dirty="0"/>
              <a:t>You want to integrate MFA with ADFS directly</a:t>
            </a:r>
          </a:p>
          <a:p>
            <a:endParaRPr lang="en-US" sz="2400" dirty="0"/>
          </a:p>
        </p:txBody>
      </p:sp>
    </p:spTree>
    <p:extLst>
      <p:ext uri="{BB962C8B-B14F-4D97-AF65-F5344CB8AC3E}">
        <p14:creationId xmlns:p14="http://schemas.microsoft.com/office/powerpoint/2010/main" val="1542546093"/>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0042275" cy="917575"/>
          </a:xfrm>
        </p:spPr>
        <p:txBody>
          <a:bodyPr/>
          <a:lstStyle/>
          <a:p>
            <a:r>
              <a:rPr lang="en-US" dirty="0"/>
              <a:t>AAD multi-factor authentication licensing models</a:t>
            </a:r>
          </a:p>
        </p:txBody>
      </p:sp>
      <p:graphicFrame>
        <p:nvGraphicFramePr>
          <p:cNvPr id="2" name="Diagram 1"/>
          <p:cNvGraphicFramePr/>
          <p:nvPr>
            <p:extLst>
              <p:ext uri="{D42A27DB-BD31-4B8C-83A1-F6EECF244321}">
                <p14:modId xmlns:p14="http://schemas.microsoft.com/office/powerpoint/2010/main" val="780427361"/>
              </p:ext>
            </p:extLst>
          </p:nvPr>
        </p:nvGraphicFramePr>
        <p:xfrm>
          <a:off x="2155826" y="2323923"/>
          <a:ext cx="8077200" cy="41451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83350319"/>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Azure AD branding and customization</a:t>
            </a:r>
          </a:p>
        </p:txBody>
      </p:sp>
      <p:sp>
        <p:nvSpPr>
          <p:cNvPr id="6" name="Text Placeholder 5"/>
          <p:cNvSpPr txBox="1">
            <a:spLocks/>
          </p:cNvSpPr>
          <p:nvPr/>
        </p:nvSpPr>
        <p:spPr>
          <a:xfrm>
            <a:off x="366169" y="1820862"/>
            <a:ext cx="6994275" cy="3271665"/>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200" dirty="0">
                <a:solidFill>
                  <a:schemeClr val="tx2"/>
                </a:solidFill>
              </a:rPr>
              <a:t>The following Azure AD components can be branded or customized:</a:t>
            </a:r>
          </a:p>
          <a:p>
            <a:pPr marL="342846" lvl="1" indent="-342846" defTabSz="932594">
              <a:buFont typeface="Arial" pitchFamily="34" charset="0"/>
              <a:buChar char="•"/>
            </a:pPr>
            <a:r>
              <a:rPr lang="en-US" dirty="0"/>
              <a:t>Sign-in page elements:</a:t>
            </a:r>
          </a:p>
          <a:p>
            <a:pPr marL="514273" lvl="2" indent="-342846" defTabSz="932594">
              <a:buFont typeface="Arial" pitchFamily="34" charset="0"/>
              <a:buChar char="•"/>
            </a:pPr>
            <a:r>
              <a:rPr lang="en-US" sz="1800" dirty="0"/>
              <a:t>Illustration image displayed on the left side of the page</a:t>
            </a:r>
          </a:p>
          <a:p>
            <a:pPr marL="514273" lvl="2" indent="-342846" defTabSz="932594">
              <a:buFont typeface="Arial" pitchFamily="34" charset="0"/>
              <a:buChar char="•"/>
            </a:pPr>
            <a:r>
              <a:rPr lang="en-US" sz="1800" dirty="0"/>
              <a:t>Banner logo above sign-in box</a:t>
            </a:r>
          </a:p>
          <a:p>
            <a:pPr marL="514273" lvl="2" indent="-342846" defTabSz="932594">
              <a:buFont typeface="Arial" pitchFamily="34" charset="0"/>
              <a:buChar char="•"/>
            </a:pPr>
            <a:r>
              <a:rPr lang="en-US" sz="1800" dirty="0"/>
              <a:t>Sign-in page text</a:t>
            </a:r>
          </a:p>
          <a:p>
            <a:pPr marL="514273" lvl="2" indent="-342846" defTabSz="932594">
              <a:buFont typeface="Arial" pitchFamily="34" charset="0"/>
              <a:buChar char="•"/>
            </a:pPr>
            <a:r>
              <a:rPr lang="en-US" sz="1800" dirty="0"/>
              <a:t>Application gallery</a:t>
            </a:r>
          </a:p>
          <a:p>
            <a:pPr marL="514273" lvl="2" indent="-342846" defTabSz="932594">
              <a:buFont typeface="Arial" pitchFamily="34" charset="0"/>
              <a:buChar char="•"/>
            </a:pPr>
            <a:r>
              <a:rPr lang="en-US" sz="1800" dirty="0"/>
              <a:t>Logo (in upper-left corner of page)</a:t>
            </a:r>
          </a:p>
          <a:p>
            <a:pPr marL="342900" indent="-342900">
              <a:buFont typeface="Arial" panose="020B0604020202020204" pitchFamily="34" charset="0"/>
              <a:buChar char="•"/>
            </a:pPr>
            <a:endParaRPr lang="en-US" sz="2000" dirty="0"/>
          </a:p>
        </p:txBody>
      </p:sp>
      <p:pic>
        <p:nvPicPr>
          <p:cNvPr id="5" name="Picture 4" descr="Sign In Page"/>
          <p:cNvPicPr/>
          <p:nvPr/>
        </p:nvPicPr>
        <p:blipFill>
          <a:blip r:embed="rId3">
            <a:extLst>
              <a:ext uri="{28A0092B-C50C-407E-A947-70E740481C1C}">
                <a14:useLocalDpi xmlns:a14="http://schemas.microsoft.com/office/drawing/2010/main"/>
              </a:ext>
            </a:extLst>
          </a:blip>
          <a:srcRect/>
          <a:stretch>
            <a:fillRect/>
          </a:stretch>
        </p:blipFill>
        <p:spPr bwMode="auto">
          <a:xfrm>
            <a:off x="7077265" y="2006840"/>
            <a:ext cx="5192110" cy="3090622"/>
          </a:xfrm>
          <a:prstGeom prst="rect">
            <a:avLst/>
          </a:prstGeom>
          <a:noFill/>
          <a:ln>
            <a:noFill/>
          </a:ln>
        </p:spPr>
      </p:pic>
    </p:spTree>
    <p:extLst>
      <p:ext uri="{BB962C8B-B14F-4D97-AF65-F5344CB8AC3E}">
        <p14:creationId xmlns:p14="http://schemas.microsoft.com/office/powerpoint/2010/main" val="2434328107"/>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Extending on-premises AD – Storage</a:t>
            </a:r>
          </a:p>
        </p:txBody>
      </p:sp>
      <p:sp>
        <p:nvSpPr>
          <p:cNvPr id="7" name="Text Placeholder 5"/>
          <p:cNvSpPr txBox="1">
            <a:spLocks/>
          </p:cNvSpPr>
          <p:nvPr/>
        </p:nvSpPr>
        <p:spPr>
          <a:xfrm>
            <a:off x="366169" y="1211262"/>
            <a:ext cx="11185275" cy="2923877"/>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200" dirty="0">
                <a:gradFill>
                  <a:gsLst>
                    <a:gs pos="1250">
                      <a:schemeClr val="tx2"/>
                    </a:gs>
                    <a:gs pos="99000">
                      <a:schemeClr val="tx2"/>
                    </a:gs>
                  </a:gsLst>
                  <a:lin ang="5400000" scaled="0"/>
                </a:gradFill>
              </a:rPr>
              <a:t>There are three types of disks in Azure, which can be attached to Virtual Machines: </a:t>
            </a:r>
            <a:r>
              <a:rPr lang="en-US" sz="3200" b="1" dirty="0">
                <a:gradFill>
                  <a:gsLst>
                    <a:gs pos="1250">
                      <a:schemeClr val="tx2"/>
                    </a:gs>
                    <a:gs pos="99000">
                      <a:schemeClr val="tx2"/>
                    </a:gs>
                  </a:gsLst>
                  <a:lin ang="5400000" scaled="0"/>
                </a:gradFill>
              </a:rPr>
              <a:t>OS Disks, Data Disks, and Temporary Disks</a:t>
            </a:r>
          </a:p>
          <a:p>
            <a:endParaRPr lang="en-US" sz="2400" b="1" dirty="0">
              <a:gradFill>
                <a:gsLst>
                  <a:gs pos="1250">
                    <a:schemeClr val="tx2"/>
                  </a:gs>
                  <a:gs pos="99000">
                    <a:schemeClr val="tx2"/>
                  </a:gs>
                </a:gsLst>
                <a:lin ang="5400000" scaled="0"/>
              </a:gradFill>
            </a:endParaRPr>
          </a:p>
          <a:p>
            <a:r>
              <a:rPr lang="en-US" sz="2000" dirty="0">
                <a:latin typeface="+mn-lt"/>
              </a:rPr>
              <a:t>To prevent the Active Directory database (also known as the DIT) and its SYSVOL from getting deleted or corrupted, both must be placed on a data disk. The VMs operating system disk has write-behind disk caching in place, so placing the DIT and SYSVOL on the OS disk could cause writes to get lost, if a VM is stopped before the cache is committed. Never place the DIT or SYSVOL on a temporary disk. </a:t>
            </a:r>
            <a:endParaRPr lang="en-US" sz="2000" dirty="0">
              <a:gradFill>
                <a:gsLst>
                  <a:gs pos="1250">
                    <a:schemeClr val="tx2"/>
                  </a:gs>
                  <a:gs pos="99000">
                    <a:schemeClr val="tx2"/>
                  </a:gs>
                </a:gsLst>
                <a:lin ang="5400000" scaled="0"/>
              </a:gradFill>
              <a:latin typeface="+mn-lt"/>
            </a:endParaRPr>
          </a:p>
        </p:txBody>
      </p:sp>
    </p:spTree>
    <p:extLst>
      <p:ext uri="{BB962C8B-B14F-4D97-AF65-F5344CB8AC3E}">
        <p14:creationId xmlns:p14="http://schemas.microsoft.com/office/powerpoint/2010/main" val="2202559307"/>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Extending on-premises AD – Security </a:t>
            </a:r>
          </a:p>
        </p:txBody>
      </p:sp>
      <p:sp>
        <p:nvSpPr>
          <p:cNvPr id="7" name="Text Placeholder 5"/>
          <p:cNvSpPr txBox="1">
            <a:spLocks/>
          </p:cNvSpPr>
          <p:nvPr/>
        </p:nvSpPr>
        <p:spPr>
          <a:xfrm>
            <a:off x="366169" y="1211263"/>
            <a:ext cx="11109075" cy="1071062"/>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200" dirty="0">
                <a:gradFill>
                  <a:gsLst>
                    <a:gs pos="1250">
                      <a:schemeClr val="tx2"/>
                    </a:gs>
                    <a:gs pos="99000">
                      <a:schemeClr val="tx2"/>
                    </a:gs>
                  </a:gsLst>
                  <a:lin ang="5400000" scaled="0"/>
                </a:gradFill>
              </a:rPr>
              <a:t>There following are security consideration around Domain Controller in Azure:</a:t>
            </a:r>
            <a:endParaRPr lang="en-US" sz="3200" b="1" dirty="0">
              <a:gradFill>
                <a:gsLst>
                  <a:gs pos="1250">
                    <a:schemeClr val="tx2"/>
                  </a:gs>
                  <a:gs pos="99000">
                    <a:schemeClr val="tx2"/>
                  </a:gs>
                </a:gsLst>
                <a:lin ang="5400000" scaled="0"/>
              </a:gradFill>
            </a:endParaRPr>
          </a:p>
        </p:txBody>
      </p:sp>
      <p:sp>
        <p:nvSpPr>
          <p:cNvPr id="8" name="Freeform: Shape 7"/>
          <p:cNvSpPr/>
          <p:nvPr/>
        </p:nvSpPr>
        <p:spPr>
          <a:xfrm>
            <a:off x="1721643" y="2264026"/>
            <a:ext cx="2891029" cy="699648"/>
          </a:xfrm>
          <a:custGeom>
            <a:avLst/>
            <a:gdLst>
              <a:gd name="connsiteX0" fmla="*/ 0 w 2507456"/>
              <a:gd name="connsiteY0" fmla="*/ 0 h 699648"/>
              <a:gd name="connsiteX1" fmla="*/ 2507456 w 2507456"/>
              <a:gd name="connsiteY1" fmla="*/ 0 h 699648"/>
              <a:gd name="connsiteX2" fmla="*/ 2507456 w 2507456"/>
              <a:gd name="connsiteY2" fmla="*/ 699648 h 699648"/>
              <a:gd name="connsiteX3" fmla="*/ 0 w 2507456"/>
              <a:gd name="connsiteY3" fmla="*/ 699648 h 699648"/>
              <a:gd name="connsiteX4" fmla="*/ 0 w 2507456"/>
              <a:gd name="connsiteY4" fmla="*/ 0 h 699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56" h="699648">
                <a:moveTo>
                  <a:pt x="0" y="0"/>
                </a:moveTo>
                <a:lnTo>
                  <a:pt x="2507456" y="0"/>
                </a:lnTo>
                <a:lnTo>
                  <a:pt x="2507456" y="699648"/>
                </a:lnTo>
                <a:lnTo>
                  <a:pt x="0" y="69964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Segoe UI Semibold" panose="020B0702040204020203" pitchFamily="34" charset="0"/>
                <a:cs typeface="Segoe UI Semibold" panose="020B0702040204020203" pitchFamily="34" charset="0"/>
              </a:rPr>
              <a:t>Domain Controllers       </a:t>
            </a:r>
            <a:br>
              <a:rPr lang="en-US" sz="1800" kern="1200" dirty="0">
                <a:latin typeface="Segoe UI Semibold" panose="020B0702040204020203" pitchFamily="34" charset="0"/>
                <a:cs typeface="Segoe UI Semibold" panose="020B0702040204020203" pitchFamily="34" charset="0"/>
              </a:rPr>
            </a:br>
            <a:r>
              <a:rPr lang="en-US" sz="1800" kern="1200" dirty="0">
                <a:latin typeface="Segoe UI Semibold" panose="020B0702040204020203" pitchFamily="34" charset="0"/>
                <a:cs typeface="Segoe UI Semibold" panose="020B0702040204020203" pitchFamily="34" charset="0"/>
              </a:rPr>
              <a:t>in Azure</a:t>
            </a:r>
          </a:p>
        </p:txBody>
      </p:sp>
      <p:sp>
        <p:nvSpPr>
          <p:cNvPr id="9" name="Freeform: Shape 8"/>
          <p:cNvSpPr/>
          <p:nvPr/>
        </p:nvSpPr>
        <p:spPr>
          <a:xfrm>
            <a:off x="1721643" y="2963674"/>
            <a:ext cx="2891029" cy="3294000"/>
          </a:xfrm>
          <a:custGeom>
            <a:avLst/>
            <a:gdLst>
              <a:gd name="connsiteX0" fmla="*/ 0 w 2507456"/>
              <a:gd name="connsiteY0" fmla="*/ 0 h 3294000"/>
              <a:gd name="connsiteX1" fmla="*/ 2507456 w 2507456"/>
              <a:gd name="connsiteY1" fmla="*/ 0 h 3294000"/>
              <a:gd name="connsiteX2" fmla="*/ 2507456 w 2507456"/>
              <a:gd name="connsiteY2" fmla="*/ 3294000 h 3294000"/>
              <a:gd name="connsiteX3" fmla="*/ 0 w 2507456"/>
              <a:gd name="connsiteY3" fmla="*/ 3294000 h 3294000"/>
              <a:gd name="connsiteX4" fmla="*/ 0 w 2507456"/>
              <a:gd name="connsiteY4" fmla="*/ 0 h 329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56" h="3294000">
                <a:moveTo>
                  <a:pt x="0" y="0"/>
                </a:moveTo>
                <a:lnTo>
                  <a:pt x="2507456" y="0"/>
                </a:lnTo>
                <a:lnTo>
                  <a:pt x="2507456" y="3294000"/>
                </a:lnTo>
                <a:lnTo>
                  <a:pt x="0" y="329400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latin typeface="+mj-lt"/>
              </a:rPr>
              <a:t>Most customers will strongly consider placing domain controllers in Azure     because they will want          the applications </a:t>
            </a:r>
          </a:p>
          <a:p>
            <a:pPr marL="171450" lvl="1" indent="-171450" algn="l" defTabSz="711200">
              <a:lnSpc>
                <a:spcPct val="90000"/>
              </a:lnSpc>
              <a:spcBef>
                <a:spcPct val="0"/>
              </a:spcBef>
              <a:spcAft>
                <a:spcPct val="15000"/>
              </a:spcAft>
              <a:buChar char="•"/>
            </a:pPr>
            <a:r>
              <a:rPr lang="en-US" sz="1600" kern="1200" dirty="0">
                <a:latin typeface="+mj-lt"/>
              </a:rPr>
              <a:t>However, Domain controllers are highly sensitive roles</a:t>
            </a:r>
          </a:p>
          <a:p>
            <a:pPr marL="171450" lvl="1" indent="-171450" algn="l" defTabSz="711200">
              <a:lnSpc>
                <a:spcPct val="90000"/>
              </a:lnSpc>
              <a:spcBef>
                <a:spcPct val="0"/>
              </a:spcBef>
              <a:spcAft>
                <a:spcPct val="15000"/>
              </a:spcAft>
              <a:buChar char="•"/>
            </a:pPr>
            <a:r>
              <a:rPr lang="en-US" sz="1600" kern="1200" dirty="0">
                <a:latin typeface="+mj-lt"/>
              </a:rPr>
              <a:t>Understand how Azure is secured to avoid risk doubts in placing a DC in Azure</a:t>
            </a:r>
          </a:p>
        </p:txBody>
      </p:sp>
      <p:sp>
        <p:nvSpPr>
          <p:cNvPr id="10" name="Freeform: Shape 9"/>
          <p:cNvSpPr/>
          <p:nvPr/>
        </p:nvSpPr>
        <p:spPr>
          <a:xfrm>
            <a:off x="4732543" y="2264026"/>
            <a:ext cx="2891029" cy="699648"/>
          </a:xfrm>
          <a:custGeom>
            <a:avLst/>
            <a:gdLst>
              <a:gd name="connsiteX0" fmla="*/ 0 w 2507456"/>
              <a:gd name="connsiteY0" fmla="*/ 0 h 699648"/>
              <a:gd name="connsiteX1" fmla="*/ 2507456 w 2507456"/>
              <a:gd name="connsiteY1" fmla="*/ 0 h 699648"/>
              <a:gd name="connsiteX2" fmla="*/ 2507456 w 2507456"/>
              <a:gd name="connsiteY2" fmla="*/ 699648 h 699648"/>
              <a:gd name="connsiteX3" fmla="*/ 0 w 2507456"/>
              <a:gd name="connsiteY3" fmla="*/ 699648 h 699648"/>
              <a:gd name="connsiteX4" fmla="*/ 0 w 2507456"/>
              <a:gd name="connsiteY4" fmla="*/ 0 h 699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56" h="699648">
                <a:moveTo>
                  <a:pt x="0" y="0"/>
                </a:moveTo>
                <a:lnTo>
                  <a:pt x="2507456" y="0"/>
                </a:lnTo>
                <a:lnTo>
                  <a:pt x="2507456" y="699648"/>
                </a:lnTo>
                <a:lnTo>
                  <a:pt x="0" y="69964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Segoe UI Semibold" panose="020B0702040204020203" pitchFamily="34" charset="0"/>
                <a:cs typeface="Segoe UI Semibold" panose="020B0702040204020203" pitchFamily="34" charset="0"/>
              </a:rPr>
              <a:t>Read-only Domain </a:t>
            </a:r>
            <a:r>
              <a:rPr lang="en-US" dirty="0">
                <a:latin typeface="Segoe UI Semibold" panose="020B0702040204020203" pitchFamily="34" charset="0"/>
                <a:cs typeface="Segoe UI Semibold" panose="020B0702040204020203" pitchFamily="34" charset="0"/>
              </a:rPr>
              <a:t>C</a:t>
            </a:r>
            <a:r>
              <a:rPr lang="en-US" sz="1800" kern="1200" dirty="0">
                <a:latin typeface="Segoe UI Semibold" panose="020B0702040204020203" pitchFamily="34" charset="0"/>
                <a:cs typeface="Segoe UI Semibold" panose="020B0702040204020203" pitchFamily="34" charset="0"/>
              </a:rPr>
              <a:t>ontrollers</a:t>
            </a:r>
          </a:p>
        </p:txBody>
      </p:sp>
      <p:sp>
        <p:nvSpPr>
          <p:cNvPr id="11" name="Freeform: Shape 10"/>
          <p:cNvSpPr/>
          <p:nvPr/>
        </p:nvSpPr>
        <p:spPr>
          <a:xfrm>
            <a:off x="4732543" y="2963674"/>
            <a:ext cx="2891029" cy="3294000"/>
          </a:xfrm>
          <a:custGeom>
            <a:avLst/>
            <a:gdLst>
              <a:gd name="connsiteX0" fmla="*/ 0 w 2507456"/>
              <a:gd name="connsiteY0" fmla="*/ 0 h 3294000"/>
              <a:gd name="connsiteX1" fmla="*/ 2507456 w 2507456"/>
              <a:gd name="connsiteY1" fmla="*/ 0 h 3294000"/>
              <a:gd name="connsiteX2" fmla="*/ 2507456 w 2507456"/>
              <a:gd name="connsiteY2" fmla="*/ 3294000 h 3294000"/>
              <a:gd name="connsiteX3" fmla="*/ 0 w 2507456"/>
              <a:gd name="connsiteY3" fmla="*/ 3294000 h 3294000"/>
              <a:gd name="connsiteX4" fmla="*/ 0 w 2507456"/>
              <a:gd name="connsiteY4" fmla="*/ 0 h 329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56" h="3294000">
                <a:moveTo>
                  <a:pt x="0" y="0"/>
                </a:moveTo>
                <a:lnTo>
                  <a:pt x="2507456" y="0"/>
                </a:lnTo>
                <a:lnTo>
                  <a:pt x="2507456" y="3294000"/>
                </a:lnTo>
                <a:lnTo>
                  <a:pt x="0" y="329400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600" kern="1200" dirty="0">
                <a:latin typeface="+mj-lt"/>
              </a:rPr>
              <a:t>Do not use Read-only Domain Controllers as a security measure in Azure</a:t>
            </a:r>
          </a:p>
          <a:p>
            <a:pPr marL="114300" lvl="1" indent="-114300" algn="l" defTabSz="666750">
              <a:lnSpc>
                <a:spcPct val="90000"/>
              </a:lnSpc>
              <a:spcBef>
                <a:spcPct val="0"/>
              </a:spcBef>
              <a:spcAft>
                <a:spcPct val="15000"/>
              </a:spcAft>
              <a:buChar char="•"/>
            </a:pPr>
            <a:r>
              <a:rPr lang="en-US" sz="1600" kern="1200" dirty="0">
                <a:latin typeface="+mj-lt"/>
              </a:rPr>
              <a:t>A primary reason that the use of RODCs is discouraged in Azure is that application compatibility is unpredictable</a:t>
            </a:r>
          </a:p>
          <a:p>
            <a:pPr marL="114300" lvl="1" indent="-114300" algn="l" defTabSz="666750">
              <a:lnSpc>
                <a:spcPct val="90000"/>
              </a:lnSpc>
              <a:spcBef>
                <a:spcPct val="0"/>
              </a:spcBef>
              <a:spcAft>
                <a:spcPct val="15000"/>
              </a:spcAft>
              <a:buChar char="•"/>
            </a:pPr>
            <a:r>
              <a:rPr lang="en-US" sz="1600" kern="1200" dirty="0">
                <a:latin typeface="+mj-lt"/>
              </a:rPr>
              <a:t>In addition, RODCs, by design, redirect a client’s LDAP write request to a RWDC</a:t>
            </a:r>
          </a:p>
        </p:txBody>
      </p:sp>
      <p:sp>
        <p:nvSpPr>
          <p:cNvPr id="12" name="Freeform: Shape 11"/>
          <p:cNvSpPr/>
          <p:nvPr/>
        </p:nvSpPr>
        <p:spPr>
          <a:xfrm>
            <a:off x="7746014" y="2264026"/>
            <a:ext cx="2891029" cy="699648"/>
          </a:xfrm>
          <a:custGeom>
            <a:avLst/>
            <a:gdLst>
              <a:gd name="connsiteX0" fmla="*/ 0 w 2507456"/>
              <a:gd name="connsiteY0" fmla="*/ 0 h 699648"/>
              <a:gd name="connsiteX1" fmla="*/ 2507456 w 2507456"/>
              <a:gd name="connsiteY1" fmla="*/ 0 h 699648"/>
              <a:gd name="connsiteX2" fmla="*/ 2507456 w 2507456"/>
              <a:gd name="connsiteY2" fmla="*/ 699648 h 699648"/>
              <a:gd name="connsiteX3" fmla="*/ 0 w 2507456"/>
              <a:gd name="connsiteY3" fmla="*/ 699648 h 699648"/>
              <a:gd name="connsiteX4" fmla="*/ 0 w 2507456"/>
              <a:gd name="connsiteY4" fmla="*/ 0 h 699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56" h="699648">
                <a:moveTo>
                  <a:pt x="0" y="0"/>
                </a:moveTo>
                <a:lnTo>
                  <a:pt x="2507456" y="0"/>
                </a:lnTo>
                <a:lnTo>
                  <a:pt x="2507456" y="699648"/>
                </a:lnTo>
                <a:lnTo>
                  <a:pt x="0" y="69964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Segoe UI Semibold" panose="020B0702040204020203" pitchFamily="34" charset="0"/>
                <a:cs typeface="Segoe UI Semibold" panose="020B0702040204020203" pitchFamily="34" charset="0"/>
              </a:rPr>
              <a:t>Windows Server Core</a:t>
            </a:r>
          </a:p>
        </p:txBody>
      </p:sp>
      <p:sp>
        <p:nvSpPr>
          <p:cNvPr id="13" name="Freeform: Shape 12"/>
          <p:cNvSpPr/>
          <p:nvPr/>
        </p:nvSpPr>
        <p:spPr>
          <a:xfrm>
            <a:off x="7746014" y="2963674"/>
            <a:ext cx="2891029" cy="3294000"/>
          </a:xfrm>
          <a:custGeom>
            <a:avLst/>
            <a:gdLst>
              <a:gd name="connsiteX0" fmla="*/ 0 w 2507456"/>
              <a:gd name="connsiteY0" fmla="*/ 0 h 3294000"/>
              <a:gd name="connsiteX1" fmla="*/ 2507456 w 2507456"/>
              <a:gd name="connsiteY1" fmla="*/ 0 h 3294000"/>
              <a:gd name="connsiteX2" fmla="*/ 2507456 w 2507456"/>
              <a:gd name="connsiteY2" fmla="*/ 3294000 h 3294000"/>
              <a:gd name="connsiteX3" fmla="*/ 0 w 2507456"/>
              <a:gd name="connsiteY3" fmla="*/ 3294000 h 3294000"/>
              <a:gd name="connsiteX4" fmla="*/ 0 w 2507456"/>
              <a:gd name="connsiteY4" fmla="*/ 0 h 329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56" h="3294000">
                <a:moveTo>
                  <a:pt x="0" y="0"/>
                </a:moveTo>
                <a:lnTo>
                  <a:pt x="2507456" y="0"/>
                </a:lnTo>
                <a:lnTo>
                  <a:pt x="2507456" y="3294000"/>
                </a:lnTo>
                <a:lnTo>
                  <a:pt x="0" y="329400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600" kern="1200" dirty="0">
                <a:latin typeface="+mj-lt"/>
              </a:rPr>
              <a:t>Unless a customer is already using Domain Controllers running on Windows Server Core on-premises, MS would not recommend asking customers to use Server     Core for Azure-based  Domain Controllers</a:t>
            </a:r>
          </a:p>
        </p:txBody>
      </p:sp>
    </p:spTree>
    <p:extLst>
      <p:ext uri="{BB962C8B-B14F-4D97-AF65-F5344CB8AC3E}">
        <p14:creationId xmlns:p14="http://schemas.microsoft.com/office/powerpoint/2010/main" val="1227230229"/>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Extending on-premises AD – Security </a:t>
            </a:r>
          </a:p>
        </p:txBody>
      </p:sp>
      <p:grpSp>
        <p:nvGrpSpPr>
          <p:cNvPr id="11" name="Group 10"/>
          <p:cNvGrpSpPr/>
          <p:nvPr/>
        </p:nvGrpSpPr>
        <p:grpSpPr>
          <a:xfrm>
            <a:off x="1874064" y="1881161"/>
            <a:ext cx="8686760" cy="3597301"/>
            <a:chOff x="2026484" y="1881161"/>
            <a:chExt cx="8686760" cy="3597301"/>
          </a:xfrm>
        </p:grpSpPr>
        <p:sp>
          <p:nvSpPr>
            <p:cNvPr id="7" name="Freeform: Shape 6"/>
            <p:cNvSpPr/>
            <p:nvPr/>
          </p:nvSpPr>
          <p:spPr>
            <a:xfrm>
              <a:off x="2026484" y="1881161"/>
              <a:ext cx="4302811" cy="489600"/>
            </a:xfrm>
            <a:custGeom>
              <a:avLst/>
              <a:gdLst>
                <a:gd name="connsiteX0" fmla="*/ 0 w 3845569"/>
                <a:gd name="connsiteY0" fmla="*/ 0 h 489600"/>
                <a:gd name="connsiteX1" fmla="*/ 3845569 w 3845569"/>
                <a:gd name="connsiteY1" fmla="*/ 0 h 489600"/>
                <a:gd name="connsiteX2" fmla="*/ 3845569 w 3845569"/>
                <a:gd name="connsiteY2" fmla="*/ 489600 h 489600"/>
                <a:gd name="connsiteX3" fmla="*/ 0 w 3845569"/>
                <a:gd name="connsiteY3" fmla="*/ 489600 h 489600"/>
                <a:gd name="connsiteX4" fmla="*/ 0 w 3845569"/>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5569" h="489600">
                  <a:moveTo>
                    <a:pt x="0" y="0"/>
                  </a:moveTo>
                  <a:lnTo>
                    <a:pt x="3845569" y="0"/>
                  </a:lnTo>
                  <a:lnTo>
                    <a:pt x="3845569"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kern="1200" dirty="0">
                  <a:latin typeface="Segoe UI Semibold" panose="020B0702040204020203" pitchFamily="34" charset="0"/>
                  <a:cs typeface="Segoe UI Semibold" panose="020B0702040204020203" pitchFamily="34" charset="0"/>
                </a:rPr>
                <a:t>Protecting VHDs</a:t>
              </a:r>
            </a:p>
          </p:txBody>
        </p:sp>
        <p:sp>
          <p:nvSpPr>
            <p:cNvPr id="8" name="Freeform: Shape 7"/>
            <p:cNvSpPr/>
            <p:nvPr/>
          </p:nvSpPr>
          <p:spPr>
            <a:xfrm>
              <a:off x="2026484" y="2370761"/>
              <a:ext cx="4302811" cy="3107701"/>
            </a:xfrm>
            <a:custGeom>
              <a:avLst/>
              <a:gdLst>
                <a:gd name="connsiteX0" fmla="*/ 0 w 3845569"/>
                <a:gd name="connsiteY0" fmla="*/ 0 h 3733200"/>
                <a:gd name="connsiteX1" fmla="*/ 3845569 w 3845569"/>
                <a:gd name="connsiteY1" fmla="*/ 0 h 3733200"/>
                <a:gd name="connsiteX2" fmla="*/ 3845569 w 3845569"/>
                <a:gd name="connsiteY2" fmla="*/ 3733200 h 3733200"/>
                <a:gd name="connsiteX3" fmla="*/ 0 w 3845569"/>
                <a:gd name="connsiteY3" fmla="*/ 3733200 h 3733200"/>
                <a:gd name="connsiteX4" fmla="*/ 0 w 3845569"/>
                <a:gd name="connsiteY4" fmla="*/ 0 h 373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5569" h="3733200">
                  <a:moveTo>
                    <a:pt x="0" y="0"/>
                  </a:moveTo>
                  <a:lnTo>
                    <a:pt x="3845569" y="0"/>
                  </a:lnTo>
                  <a:lnTo>
                    <a:pt x="3845569" y="3733200"/>
                  </a:lnTo>
                  <a:lnTo>
                    <a:pt x="0" y="373320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600" kern="1200" dirty="0">
                  <a:latin typeface="+mj-lt"/>
                </a:rPr>
                <a:t>Create a separate Storage Account for Domain Controller VHDs, and make sure that no one has the API keys</a:t>
              </a:r>
            </a:p>
            <a:p>
              <a:pPr marL="171450" lvl="1" indent="-171450" algn="l" defTabSz="755650">
                <a:lnSpc>
                  <a:spcPct val="90000"/>
                </a:lnSpc>
                <a:spcBef>
                  <a:spcPct val="0"/>
                </a:spcBef>
                <a:spcAft>
                  <a:spcPct val="15000"/>
                </a:spcAft>
                <a:buChar char="•"/>
              </a:pPr>
              <a:r>
                <a:rPr lang="en-US" sz="1600" kern="1200" dirty="0">
                  <a:latin typeface="+mj-lt"/>
                </a:rPr>
                <a:t>Limit access to the Azure Management Portal to administrators that really need it, to prevent unauthorized people from getting access to the API keys for the Storage Account that the Domain Controller VHDs are stored in</a:t>
              </a:r>
            </a:p>
            <a:p>
              <a:pPr marL="171450" lvl="1" indent="-171450" algn="l" defTabSz="755650">
                <a:lnSpc>
                  <a:spcPct val="90000"/>
                </a:lnSpc>
                <a:spcBef>
                  <a:spcPct val="0"/>
                </a:spcBef>
                <a:spcAft>
                  <a:spcPct val="15000"/>
                </a:spcAft>
                <a:buChar char="•"/>
              </a:pPr>
              <a:r>
                <a:rPr lang="en-US" sz="1600" kern="1200" dirty="0">
                  <a:latin typeface="+mj-lt"/>
                </a:rPr>
                <a:t>Encrypt Domain Controller VHDs in Azure using a 3</a:t>
              </a:r>
              <a:r>
                <a:rPr lang="en-US" sz="1600" kern="1200" baseline="30000" dirty="0">
                  <a:latin typeface="+mj-lt"/>
                </a:rPr>
                <a:t>rd</a:t>
              </a:r>
              <a:r>
                <a:rPr lang="en-US" sz="1600" kern="1200" dirty="0">
                  <a:latin typeface="+mj-lt"/>
                </a:rPr>
                <a:t> party partner solution, such as </a:t>
              </a:r>
              <a:r>
                <a:rPr lang="en-US" sz="1600" kern="1200" dirty="0" err="1">
                  <a:latin typeface="+mj-lt"/>
                </a:rPr>
                <a:t>CloudLink</a:t>
              </a:r>
              <a:r>
                <a:rPr lang="en-US" sz="1600" kern="1200" dirty="0">
                  <a:latin typeface="+mj-lt"/>
                </a:rPr>
                <a:t> </a:t>
              </a:r>
              <a:r>
                <a:rPr lang="en-US" sz="1600" kern="1200" dirty="0" err="1">
                  <a:latin typeface="+mj-lt"/>
                </a:rPr>
                <a:t>SecureVM</a:t>
              </a:r>
              <a:endParaRPr lang="en-US" sz="1600" kern="1200" dirty="0">
                <a:latin typeface="+mj-lt"/>
              </a:endParaRPr>
            </a:p>
          </p:txBody>
        </p:sp>
        <p:sp>
          <p:nvSpPr>
            <p:cNvPr id="9" name="Freeform: Shape 8"/>
            <p:cNvSpPr/>
            <p:nvPr/>
          </p:nvSpPr>
          <p:spPr>
            <a:xfrm>
              <a:off x="6410433" y="1881161"/>
              <a:ext cx="4302811" cy="489600"/>
            </a:xfrm>
            <a:custGeom>
              <a:avLst/>
              <a:gdLst>
                <a:gd name="connsiteX0" fmla="*/ 0 w 3845569"/>
                <a:gd name="connsiteY0" fmla="*/ 0 h 489600"/>
                <a:gd name="connsiteX1" fmla="*/ 3845569 w 3845569"/>
                <a:gd name="connsiteY1" fmla="*/ 0 h 489600"/>
                <a:gd name="connsiteX2" fmla="*/ 3845569 w 3845569"/>
                <a:gd name="connsiteY2" fmla="*/ 489600 h 489600"/>
                <a:gd name="connsiteX3" fmla="*/ 0 w 3845569"/>
                <a:gd name="connsiteY3" fmla="*/ 489600 h 489600"/>
                <a:gd name="connsiteX4" fmla="*/ 0 w 3845569"/>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5569" h="489600">
                  <a:moveTo>
                    <a:pt x="0" y="0"/>
                  </a:moveTo>
                  <a:lnTo>
                    <a:pt x="3845569" y="0"/>
                  </a:lnTo>
                  <a:lnTo>
                    <a:pt x="3845569"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kern="1200" dirty="0">
                  <a:latin typeface="Segoe UI Semibold" panose="020B0702040204020203" pitchFamily="34" charset="0"/>
                  <a:cs typeface="Segoe UI Semibold" panose="020B0702040204020203" pitchFamily="34" charset="0"/>
                </a:rPr>
                <a:t>Limiting endpoint exposure</a:t>
              </a:r>
            </a:p>
          </p:txBody>
        </p:sp>
        <p:sp>
          <p:nvSpPr>
            <p:cNvPr id="10" name="Freeform: Shape 9"/>
            <p:cNvSpPr/>
            <p:nvPr/>
          </p:nvSpPr>
          <p:spPr>
            <a:xfrm>
              <a:off x="6410433" y="2370761"/>
              <a:ext cx="4302811" cy="3107701"/>
            </a:xfrm>
            <a:custGeom>
              <a:avLst/>
              <a:gdLst>
                <a:gd name="connsiteX0" fmla="*/ 0 w 3845569"/>
                <a:gd name="connsiteY0" fmla="*/ 0 h 3733200"/>
                <a:gd name="connsiteX1" fmla="*/ 3845569 w 3845569"/>
                <a:gd name="connsiteY1" fmla="*/ 0 h 3733200"/>
                <a:gd name="connsiteX2" fmla="*/ 3845569 w 3845569"/>
                <a:gd name="connsiteY2" fmla="*/ 3733200 h 3733200"/>
                <a:gd name="connsiteX3" fmla="*/ 0 w 3845569"/>
                <a:gd name="connsiteY3" fmla="*/ 3733200 h 3733200"/>
                <a:gd name="connsiteX4" fmla="*/ 0 w 3845569"/>
                <a:gd name="connsiteY4" fmla="*/ 0 h 373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5569" h="3733200">
                  <a:moveTo>
                    <a:pt x="0" y="0"/>
                  </a:moveTo>
                  <a:lnTo>
                    <a:pt x="3845569" y="0"/>
                  </a:lnTo>
                  <a:lnTo>
                    <a:pt x="3845569" y="3733200"/>
                  </a:lnTo>
                  <a:lnTo>
                    <a:pt x="0" y="373320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600" kern="1200" dirty="0">
                  <a:latin typeface="+mj-lt"/>
                </a:rPr>
                <a:t>Remove the Remote Desktop endpoint from Domain Controller Virtual Machines in Azure</a:t>
              </a:r>
            </a:p>
            <a:p>
              <a:pPr marL="171450" lvl="1" indent="-171450" algn="l" defTabSz="755650">
                <a:lnSpc>
                  <a:spcPct val="90000"/>
                </a:lnSpc>
                <a:spcBef>
                  <a:spcPct val="0"/>
                </a:spcBef>
                <a:spcAft>
                  <a:spcPct val="15000"/>
                </a:spcAft>
                <a:buChar char="•"/>
              </a:pPr>
              <a:r>
                <a:rPr lang="en-US" sz="1600" kern="1200" dirty="0">
                  <a:latin typeface="+mj-lt"/>
                </a:rPr>
                <a:t>Remove the </a:t>
              </a:r>
              <a:r>
                <a:rPr lang="en-US" sz="1600" kern="1200" dirty="0" err="1">
                  <a:latin typeface="+mj-lt"/>
                </a:rPr>
                <a:t>WinRM</a:t>
              </a:r>
              <a:r>
                <a:rPr lang="en-US" sz="1600" kern="1200" dirty="0">
                  <a:latin typeface="+mj-lt"/>
                </a:rPr>
                <a:t> endpoint from Domain Controller Virtual Machines in Azure</a:t>
              </a:r>
            </a:p>
          </p:txBody>
        </p:sp>
      </p:grpSp>
    </p:spTree>
    <p:extLst>
      <p:ext uri="{BB962C8B-B14F-4D97-AF65-F5344CB8AC3E}">
        <p14:creationId xmlns:p14="http://schemas.microsoft.com/office/powerpoint/2010/main" val="2626596450"/>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Extending on-premises AD – Deployment </a:t>
            </a:r>
          </a:p>
        </p:txBody>
      </p:sp>
      <p:grpSp>
        <p:nvGrpSpPr>
          <p:cNvPr id="12" name="Group 11"/>
          <p:cNvGrpSpPr/>
          <p:nvPr/>
        </p:nvGrpSpPr>
        <p:grpSpPr>
          <a:xfrm>
            <a:off x="1729584" y="2506662"/>
            <a:ext cx="9059860" cy="3839941"/>
            <a:chOff x="1805784" y="2316161"/>
            <a:chExt cx="9059860" cy="3839941"/>
          </a:xfrm>
        </p:grpSpPr>
        <p:sp>
          <p:nvSpPr>
            <p:cNvPr id="8" name="Freeform: Shape 7"/>
            <p:cNvSpPr/>
            <p:nvPr/>
          </p:nvSpPr>
          <p:spPr>
            <a:xfrm>
              <a:off x="1805784" y="2316161"/>
              <a:ext cx="8755060" cy="823680"/>
            </a:xfrm>
            <a:custGeom>
              <a:avLst/>
              <a:gdLst>
                <a:gd name="connsiteX0" fmla="*/ 0 w 8526460"/>
                <a:gd name="connsiteY0" fmla="*/ 137283 h 823680"/>
                <a:gd name="connsiteX1" fmla="*/ 137283 w 8526460"/>
                <a:gd name="connsiteY1" fmla="*/ 0 h 823680"/>
                <a:gd name="connsiteX2" fmla="*/ 8389177 w 8526460"/>
                <a:gd name="connsiteY2" fmla="*/ 0 h 823680"/>
                <a:gd name="connsiteX3" fmla="*/ 8526460 w 8526460"/>
                <a:gd name="connsiteY3" fmla="*/ 137283 h 823680"/>
                <a:gd name="connsiteX4" fmla="*/ 8526460 w 8526460"/>
                <a:gd name="connsiteY4" fmla="*/ 686397 h 823680"/>
                <a:gd name="connsiteX5" fmla="*/ 8389177 w 8526460"/>
                <a:gd name="connsiteY5" fmla="*/ 823680 h 823680"/>
                <a:gd name="connsiteX6" fmla="*/ 137283 w 8526460"/>
                <a:gd name="connsiteY6" fmla="*/ 823680 h 823680"/>
                <a:gd name="connsiteX7" fmla="*/ 0 w 8526460"/>
                <a:gd name="connsiteY7" fmla="*/ 686397 h 823680"/>
                <a:gd name="connsiteX8" fmla="*/ 0 w 8526460"/>
                <a:gd name="connsiteY8" fmla="*/ 137283 h 82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6460" h="823680">
                  <a:moveTo>
                    <a:pt x="0" y="137283"/>
                  </a:moveTo>
                  <a:cubicBezTo>
                    <a:pt x="0" y="61464"/>
                    <a:pt x="61464" y="0"/>
                    <a:pt x="137283" y="0"/>
                  </a:cubicBezTo>
                  <a:lnTo>
                    <a:pt x="8389177" y="0"/>
                  </a:lnTo>
                  <a:cubicBezTo>
                    <a:pt x="8464996" y="0"/>
                    <a:pt x="8526460" y="61464"/>
                    <a:pt x="8526460" y="137283"/>
                  </a:cubicBezTo>
                  <a:lnTo>
                    <a:pt x="8526460" y="686397"/>
                  </a:lnTo>
                  <a:cubicBezTo>
                    <a:pt x="8526460" y="762216"/>
                    <a:pt x="8464996" y="823680"/>
                    <a:pt x="8389177" y="823680"/>
                  </a:cubicBezTo>
                  <a:lnTo>
                    <a:pt x="137283" y="823680"/>
                  </a:lnTo>
                  <a:cubicBezTo>
                    <a:pt x="61464" y="823680"/>
                    <a:pt x="0" y="762216"/>
                    <a:pt x="0" y="686397"/>
                  </a:cubicBezTo>
                  <a:lnTo>
                    <a:pt x="0" y="13728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2129" tIns="162129" rIns="162129" bIns="162129" numCol="1" spcCol="1270" anchor="ctr" anchorCtr="0">
              <a:noAutofit/>
            </a:bodyPr>
            <a:lstStyle/>
            <a:p>
              <a:pPr marL="0" lvl="0" indent="0" algn="l" defTabSz="1422400">
                <a:lnSpc>
                  <a:spcPct val="90000"/>
                </a:lnSpc>
                <a:spcBef>
                  <a:spcPct val="0"/>
                </a:spcBef>
                <a:spcAft>
                  <a:spcPct val="35000"/>
                </a:spcAft>
                <a:buNone/>
              </a:pPr>
              <a:r>
                <a:rPr lang="en-US" sz="2800" kern="1200" dirty="0">
                  <a:latin typeface="+mj-lt"/>
                </a:rPr>
                <a:t>Virtual Machine sizing</a:t>
              </a:r>
            </a:p>
          </p:txBody>
        </p:sp>
        <p:sp>
          <p:nvSpPr>
            <p:cNvPr id="9" name="Freeform: Shape 8"/>
            <p:cNvSpPr/>
            <p:nvPr/>
          </p:nvSpPr>
          <p:spPr>
            <a:xfrm>
              <a:off x="1805784" y="3139842"/>
              <a:ext cx="8678860" cy="1622880"/>
            </a:xfrm>
            <a:custGeom>
              <a:avLst/>
              <a:gdLst>
                <a:gd name="connsiteX0" fmla="*/ 0 w 8526460"/>
                <a:gd name="connsiteY0" fmla="*/ 0 h 1622880"/>
                <a:gd name="connsiteX1" fmla="*/ 8526460 w 8526460"/>
                <a:gd name="connsiteY1" fmla="*/ 0 h 1622880"/>
                <a:gd name="connsiteX2" fmla="*/ 8526460 w 8526460"/>
                <a:gd name="connsiteY2" fmla="*/ 1622880 h 1622880"/>
                <a:gd name="connsiteX3" fmla="*/ 0 w 8526460"/>
                <a:gd name="connsiteY3" fmla="*/ 1622880 h 1622880"/>
                <a:gd name="connsiteX4" fmla="*/ 0 w 8526460"/>
                <a:gd name="connsiteY4" fmla="*/ 0 h 162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460" h="1622880">
                  <a:moveTo>
                    <a:pt x="0" y="0"/>
                  </a:moveTo>
                  <a:lnTo>
                    <a:pt x="8526460" y="0"/>
                  </a:lnTo>
                  <a:lnTo>
                    <a:pt x="8526460" y="1622880"/>
                  </a:lnTo>
                  <a:lnTo>
                    <a:pt x="0" y="16228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0715"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US" sz="2000" dirty="0">
                  <a:solidFill>
                    <a:srgbClr val="505050">
                      <a:hueOff val="0"/>
                      <a:satOff val="0"/>
                      <a:lumOff val="0"/>
                      <a:alphaOff val="0"/>
                    </a:srgbClr>
                  </a:solidFill>
                </a:rPr>
                <a:t>Start out by using A5 Virtual Machines for Domain Controllers in Azure. If the customer needs more memory in the DC for caching the database, consider using an A6 Virtual Machine</a:t>
              </a:r>
            </a:p>
          </p:txBody>
        </p:sp>
        <p:sp>
          <p:nvSpPr>
            <p:cNvPr id="10" name="Freeform: Shape 9"/>
            <p:cNvSpPr/>
            <p:nvPr/>
          </p:nvSpPr>
          <p:spPr>
            <a:xfrm>
              <a:off x="1805784" y="4487862"/>
              <a:ext cx="8755060" cy="823680"/>
            </a:xfrm>
            <a:custGeom>
              <a:avLst/>
              <a:gdLst>
                <a:gd name="connsiteX0" fmla="*/ 0 w 8526460"/>
                <a:gd name="connsiteY0" fmla="*/ 137283 h 823680"/>
                <a:gd name="connsiteX1" fmla="*/ 137283 w 8526460"/>
                <a:gd name="connsiteY1" fmla="*/ 0 h 823680"/>
                <a:gd name="connsiteX2" fmla="*/ 8389177 w 8526460"/>
                <a:gd name="connsiteY2" fmla="*/ 0 h 823680"/>
                <a:gd name="connsiteX3" fmla="*/ 8526460 w 8526460"/>
                <a:gd name="connsiteY3" fmla="*/ 137283 h 823680"/>
                <a:gd name="connsiteX4" fmla="*/ 8526460 w 8526460"/>
                <a:gd name="connsiteY4" fmla="*/ 686397 h 823680"/>
                <a:gd name="connsiteX5" fmla="*/ 8389177 w 8526460"/>
                <a:gd name="connsiteY5" fmla="*/ 823680 h 823680"/>
                <a:gd name="connsiteX6" fmla="*/ 137283 w 8526460"/>
                <a:gd name="connsiteY6" fmla="*/ 823680 h 823680"/>
                <a:gd name="connsiteX7" fmla="*/ 0 w 8526460"/>
                <a:gd name="connsiteY7" fmla="*/ 686397 h 823680"/>
                <a:gd name="connsiteX8" fmla="*/ 0 w 8526460"/>
                <a:gd name="connsiteY8" fmla="*/ 137283 h 82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6460" h="823680">
                  <a:moveTo>
                    <a:pt x="0" y="137283"/>
                  </a:moveTo>
                  <a:cubicBezTo>
                    <a:pt x="0" y="61464"/>
                    <a:pt x="61464" y="0"/>
                    <a:pt x="137283" y="0"/>
                  </a:cubicBezTo>
                  <a:lnTo>
                    <a:pt x="8389177" y="0"/>
                  </a:lnTo>
                  <a:cubicBezTo>
                    <a:pt x="8464996" y="0"/>
                    <a:pt x="8526460" y="61464"/>
                    <a:pt x="8526460" y="137283"/>
                  </a:cubicBezTo>
                  <a:lnTo>
                    <a:pt x="8526460" y="686397"/>
                  </a:lnTo>
                  <a:cubicBezTo>
                    <a:pt x="8526460" y="762216"/>
                    <a:pt x="8464996" y="823680"/>
                    <a:pt x="8389177" y="823680"/>
                  </a:cubicBezTo>
                  <a:lnTo>
                    <a:pt x="137283" y="823680"/>
                  </a:lnTo>
                  <a:cubicBezTo>
                    <a:pt x="61464" y="823680"/>
                    <a:pt x="0" y="762216"/>
                    <a:pt x="0" y="686397"/>
                  </a:cubicBezTo>
                  <a:lnTo>
                    <a:pt x="0" y="13728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2129" tIns="162129" rIns="162129" bIns="162129" numCol="1" spcCol="1270" anchor="ctr" anchorCtr="0">
              <a:noAutofit/>
            </a:bodyPr>
            <a:lstStyle/>
            <a:p>
              <a:pPr marL="0" lvl="0" indent="0" algn="l" defTabSz="1422400">
                <a:lnSpc>
                  <a:spcPct val="90000"/>
                </a:lnSpc>
                <a:spcBef>
                  <a:spcPct val="0"/>
                </a:spcBef>
                <a:spcAft>
                  <a:spcPct val="35000"/>
                </a:spcAft>
                <a:buNone/>
              </a:pPr>
              <a:r>
                <a:rPr lang="en-US" sz="2800" kern="1200" dirty="0">
                  <a:latin typeface="+mj-lt"/>
                </a:rPr>
                <a:t>Virtual Machine role</a:t>
              </a:r>
            </a:p>
          </p:txBody>
        </p:sp>
        <p:sp>
          <p:nvSpPr>
            <p:cNvPr id="11" name="Freeform: Shape 10"/>
            <p:cNvSpPr/>
            <p:nvPr/>
          </p:nvSpPr>
          <p:spPr>
            <a:xfrm>
              <a:off x="1805784" y="5311542"/>
              <a:ext cx="9059860" cy="844560"/>
            </a:xfrm>
            <a:custGeom>
              <a:avLst/>
              <a:gdLst>
                <a:gd name="connsiteX0" fmla="*/ 0 w 8526460"/>
                <a:gd name="connsiteY0" fmla="*/ 0 h 844560"/>
                <a:gd name="connsiteX1" fmla="*/ 8526460 w 8526460"/>
                <a:gd name="connsiteY1" fmla="*/ 0 h 844560"/>
                <a:gd name="connsiteX2" fmla="*/ 8526460 w 8526460"/>
                <a:gd name="connsiteY2" fmla="*/ 844560 h 844560"/>
                <a:gd name="connsiteX3" fmla="*/ 0 w 8526460"/>
                <a:gd name="connsiteY3" fmla="*/ 844560 h 844560"/>
                <a:gd name="connsiteX4" fmla="*/ 0 w 8526460"/>
                <a:gd name="connsiteY4" fmla="*/ 0 h 844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460" h="844560">
                  <a:moveTo>
                    <a:pt x="0" y="0"/>
                  </a:moveTo>
                  <a:lnTo>
                    <a:pt x="8526460" y="0"/>
                  </a:lnTo>
                  <a:lnTo>
                    <a:pt x="8526460" y="844560"/>
                  </a:lnTo>
                  <a:lnTo>
                    <a:pt x="0" y="84456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0715"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US" sz="2000" dirty="0">
                  <a:solidFill>
                    <a:srgbClr val="505050">
                      <a:hueOff val="0"/>
                      <a:satOff val="0"/>
                      <a:lumOff val="0"/>
                      <a:alphaOff val="0"/>
                    </a:srgbClr>
                  </a:solidFill>
                </a:rPr>
                <a:t>Do not use Web or Worker roles for Domain Controllers in Azure</a:t>
              </a:r>
            </a:p>
          </p:txBody>
        </p:sp>
      </p:grpSp>
      <p:sp>
        <p:nvSpPr>
          <p:cNvPr id="13" name="Text Placeholder 5"/>
          <p:cNvSpPr txBox="1">
            <a:spLocks/>
          </p:cNvSpPr>
          <p:nvPr/>
        </p:nvSpPr>
        <p:spPr>
          <a:xfrm>
            <a:off x="366169" y="1211263"/>
            <a:ext cx="11109075" cy="1071062"/>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200" dirty="0">
                <a:gradFill>
                  <a:gsLst>
                    <a:gs pos="1250">
                      <a:schemeClr val="tx2"/>
                    </a:gs>
                    <a:gs pos="99000">
                      <a:schemeClr val="tx2"/>
                    </a:gs>
                  </a:gsLst>
                  <a:lin ang="5400000" scaled="0"/>
                </a:gradFill>
              </a:rPr>
              <a:t>There following are deployment consideration around Domain Controller in Azure:</a:t>
            </a:r>
            <a:endParaRPr lang="en-US" sz="3200" b="1" dirty="0">
              <a:gradFill>
                <a:gsLst>
                  <a:gs pos="1250">
                    <a:schemeClr val="tx2"/>
                  </a:gs>
                  <a:gs pos="99000">
                    <a:schemeClr val="tx2"/>
                  </a:gs>
                </a:gsLst>
                <a:lin ang="5400000" scaled="0"/>
              </a:gradFill>
            </a:endParaRPr>
          </a:p>
        </p:txBody>
      </p:sp>
    </p:spTree>
    <p:extLst>
      <p:ext uri="{BB962C8B-B14F-4D97-AF65-F5344CB8AC3E}">
        <p14:creationId xmlns:p14="http://schemas.microsoft.com/office/powerpoint/2010/main" val="3478389180"/>
      </p:ext>
    </p:extLst>
  </p:cSld>
  <p:clrMapOvr>
    <a:overrideClrMapping bg1="lt1" tx1="dk1" bg2="lt2" tx2="dk2" accent1="accent1" accent2="accent2" accent3="accent3" accent4="accent4" accent5="accent5" accent6="accent6" hlink="hlink" folHlink="folHlink"/>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Extending on-premises AD – Deployment </a:t>
            </a:r>
          </a:p>
        </p:txBody>
      </p:sp>
      <p:sp>
        <p:nvSpPr>
          <p:cNvPr id="7" name="Text Placeholder 5"/>
          <p:cNvSpPr txBox="1">
            <a:spLocks/>
          </p:cNvSpPr>
          <p:nvPr/>
        </p:nvSpPr>
        <p:spPr>
          <a:xfrm>
            <a:off x="366169" y="1211263"/>
            <a:ext cx="11490076" cy="1646605"/>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200" dirty="0">
                <a:gradFill>
                  <a:gsLst>
                    <a:gs pos="1250">
                      <a:schemeClr val="tx2"/>
                    </a:gs>
                    <a:gs pos="99000">
                      <a:schemeClr val="tx2"/>
                    </a:gs>
                  </a:gsLst>
                  <a:lin ang="5400000" scaled="0"/>
                </a:gradFill>
              </a:rPr>
              <a:t>There are multiple ways to deploy a Domain Controller into a given Azure subscription</a:t>
            </a:r>
          </a:p>
          <a:p>
            <a:endParaRPr lang="en-US" sz="1000" dirty="0">
              <a:solidFill>
                <a:schemeClr val="tx1"/>
              </a:solidFill>
            </a:endParaRPr>
          </a:p>
          <a:p>
            <a:r>
              <a:rPr lang="en-US" sz="2400" dirty="0">
                <a:solidFill>
                  <a:schemeClr val="tx1"/>
                </a:solidFill>
              </a:rPr>
              <a:t>The following is a list of supported methods for deploying a Domain Controller VM:</a:t>
            </a:r>
          </a:p>
        </p:txBody>
      </p:sp>
      <p:graphicFrame>
        <p:nvGraphicFramePr>
          <p:cNvPr id="2" name="Diagram 1"/>
          <p:cNvGraphicFramePr/>
          <p:nvPr>
            <p:extLst>
              <p:ext uri="{D42A27DB-BD31-4B8C-83A1-F6EECF244321}">
                <p14:modId xmlns:p14="http://schemas.microsoft.com/office/powerpoint/2010/main" val="1951225433"/>
              </p:ext>
            </p:extLst>
          </p:nvPr>
        </p:nvGraphicFramePr>
        <p:xfrm>
          <a:off x="2178844" y="2795587"/>
          <a:ext cx="8077200" cy="419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04590827"/>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Extending on-premises AD – Management</a:t>
            </a:r>
          </a:p>
        </p:txBody>
      </p:sp>
      <p:sp>
        <p:nvSpPr>
          <p:cNvPr id="7" name="Text Placeholder 5"/>
          <p:cNvSpPr txBox="1">
            <a:spLocks/>
          </p:cNvSpPr>
          <p:nvPr/>
        </p:nvSpPr>
        <p:spPr>
          <a:xfrm>
            <a:off x="366170" y="1211263"/>
            <a:ext cx="12068718" cy="1883593"/>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200" dirty="0">
                <a:gradFill>
                  <a:gsLst>
                    <a:gs pos="1250">
                      <a:schemeClr val="tx2"/>
                    </a:gs>
                    <a:gs pos="99000">
                      <a:schemeClr val="tx2"/>
                    </a:gs>
                  </a:gsLst>
                  <a:lin ang="5400000" scaled="0"/>
                </a:gradFill>
              </a:rPr>
              <a:t>Managing Domain Controllers in Azure is similar to managing Domain Controllers on-premises.</a:t>
            </a:r>
          </a:p>
          <a:p>
            <a:endParaRPr lang="en-US" sz="2400" dirty="0">
              <a:gradFill>
                <a:gsLst>
                  <a:gs pos="1250">
                    <a:schemeClr val="tx2"/>
                  </a:gs>
                  <a:gs pos="99000">
                    <a:schemeClr val="tx2"/>
                  </a:gs>
                </a:gsLst>
                <a:lin ang="5400000" scaled="0"/>
              </a:gradFill>
            </a:endParaRPr>
          </a:p>
          <a:p>
            <a:r>
              <a:rPr lang="en-US" sz="2400" dirty="0">
                <a:solidFill>
                  <a:schemeClr val="tx1"/>
                </a:solidFill>
              </a:rPr>
              <a:t>The following considerations are provided:</a:t>
            </a:r>
          </a:p>
        </p:txBody>
      </p:sp>
      <p:grpSp>
        <p:nvGrpSpPr>
          <p:cNvPr id="12" name="Group 11"/>
          <p:cNvGrpSpPr/>
          <p:nvPr/>
        </p:nvGrpSpPr>
        <p:grpSpPr>
          <a:xfrm>
            <a:off x="2026483" y="3159483"/>
            <a:ext cx="8077120" cy="2928579"/>
            <a:chOff x="2026483" y="3007083"/>
            <a:chExt cx="8077120" cy="2928579"/>
          </a:xfrm>
        </p:grpSpPr>
        <p:sp>
          <p:nvSpPr>
            <p:cNvPr id="8" name="Freeform: Shape 7"/>
            <p:cNvSpPr/>
            <p:nvPr/>
          </p:nvSpPr>
          <p:spPr>
            <a:xfrm>
              <a:off x="2026483" y="3007083"/>
              <a:ext cx="3774355" cy="780256"/>
            </a:xfrm>
            <a:custGeom>
              <a:avLst/>
              <a:gdLst>
                <a:gd name="connsiteX0" fmla="*/ 0 w 3774355"/>
                <a:gd name="connsiteY0" fmla="*/ 0 h 780256"/>
                <a:gd name="connsiteX1" fmla="*/ 3774355 w 3774355"/>
                <a:gd name="connsiteY1" fmla="*/ 0 h 780256"/>
                <a:gd name="connsiteX2" fmla="*/ 3774355 w 3774355"/>
                <a:gd name="connsiteY2" fmla="*/ 780256 h 780256"/>
                <a:gd name="connsiteX3" fmla="*/ 0 w 3774355"/>
                <a:gd name="connsiteY3" fmla="*/ 780256 h 780256"/>
                <a:gd name="connsiteX4" fmla="*/ 0 w 3774355"/>
                <a:gd name="connsiteY4" fmla="*/ 0 h 780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355" h="780256">
                  <a:moveTo>
                    <a:pt x="0" y="0"/>
                  </a:moveTo>
                  <a:lnTo>
                    <a:pt x="3774355" y="0"/>
                  </a:lnTo>
                  <a:lnTo>
                    <a:pt x="3774355" y="780256"/>
                  </a:lnTo>
                  <a:lnTo>
                    <a:pt x="0" y="780256"/>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kern="1200" dirty="0">
                  <a:latin typeface="Segoe UI Semibold" panose="020B0702040204020203" pitchFamily="34" charset="0"/>
                  <a:cs typeface="Segoe UI Semibold" panose="020B0702040204020203" pitchFamily="34" charset="0"/>
                </a:rPr>
                <a:t>Virtualization Safe             </a:t>
              </a:r>
              <a:br>
                <a:rPr lang="en-US" kern="1200" dirty="0">
                  <a:latin typeface="Segoe UI Semibold" panose="020B0702040204020203" pitchFamily="34" charset="0"/>
                  <a:cs typeface="Segoe UI Semibold" panose="020B0702040204020203" pitchFamily="34" charset="0"/>
                </a:rPr>
              </a:br>
              <a:r>
                <a:rPr lang="en-US" kern="1200" dirty="0">
                  <a:latin typeface="Segoe UI Semibold" panose="020B0702040204020203" pitchFamily="34" charset="0"/>
                  <a:cs typeface="Segoe UI Semibold" panose="020B0702040204020203" pitchFamily="34" charset="0"/>
                </a:rPr>
                <a:t>Domain Controller</a:t>
              </a:r>
            </a:p>
          </p:txBody>
        </p:sp>
        <p:sp>
          <p:nvSpPr>
            <p:cNvPr id="9" name="Freeform: Shape 8"/>
            <p:cNvSpPr/>
            <p:nvPr/>
          </p:nvSpPr>
          <p:spPr>
            <a:xfrm>
              <a:off x="2026483" y="3787340"/>
              <a:ext cx="3774355" cy="2148322"/>
            </a:xfrm>
            <a:custGeom>
              <a:avLst/>
              <a:gdLst>
                <a:gd name="connsiteX0" fmla="*/ 0 w 3774355"/>
                <a:gd name="connsiteY0" fmla="*/ 0 h 3019500"/>
                <a:gd name="connsiteX1" fmla="*/ 3774355 w 3774355"/>
                <a:gd name="connsiteY1" fmla="*/ 0 h 3019500"/>
                <a:gd name="connsiteX2" fmla="*/ 3774355 w 3774355"/>
                <a:gd name="connsiteY2" fmla="*/ 3019500 h 3019500"/>
                <a:gd name="connsiteX3" fmla="*/ 0 w 3774355"/>
                <a:gd name="connsiteY3" fmla="*/ 3019500 h 3019500"/>
                <a:gd name="connsiteX4" fmla="*/ 0 w 3774355"/>
                <a:gd name="connsiteY4" fmla="*/ 0 h 3019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355" h="3019500">
                  <a:moveTo>
                    <a:pt x="0" y="0"/>
                  </a:moveTo>
                  <a:lnTo>
                    <a:pt x="3774355" y="0"/>
                  </a:lnTo>
                  <a:lnTo>
                    <a:pt x="3774355" y="3019500"/>
                  </a:lnTo>
                  <a:lnTo>
                    <a:pt x="0" y="301950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1600" kern="1200" dirty="0">
                  <a:latin typeface="+mj-lt"/>
                </a:rPr>
                <a:t>If all DCs are hosted in Azure, do not shut down all of the DCs at the same time from the Azure console. This is will de-provision the DCs and cause the </a:t>
              </a:r>
              <a:r>
                <a:rPr lang="en-US" sz="1600" kern="1200" dirty="0" err="1">
                  <a:latin typeface="+mj-lt"/>
                </a:rPr>
                <a:t>VMGenerationID</a:t>
              </a:r>
              <a:r>
                <a:rPr lang="en-US" sz="1600" kern="1200" dirty="0">
                  <a:latin typeface="+mj-lt"/>
                </a:rPr>
                <a:t> to change upon starting the VM back up, ultimately causing SYSVOL replication to break.</a:t>
              </a:r>
            </a:p>
          </p:txBody>
        </p:sp>
        <p:sp>
          <p:nvSpPr>
            <p:cNvPr id="10" name="Freeform: Shape 9"/>
            <p:cNvSpPr/>
            <p:nvPr/>
          </p:nvSpPr>
          <p:spPr>
            <a:xfrm>
              <a:off x="6329248" y="3007083"/>
              <a:ext cx="3774355" cy="780256"/>
            </a:xfrm>
            <a:custGeom>
              <a:avLst/>
              <a:gdLst>
                <a:gd name="connsiteX0" fmla="*/ 0 w 3774355"/>
                <a:gd name="connsiteY0" fmla="*/ 0 h 780256"/>
                <a:gd name="connsiteX1" fmla="*/ 3774355 w 3774355"/>
                <a:gd name="connsiteY1" fmla="*/ 0 h 780256"/>
                <a:gd name="connsiteX2" fmla="*/ 3774355 w 3774355"/>
                <a:gd name="connsiteY2" fmla="*/ 780256 h 780256"/>
                <a:gd name="connsiteX3" fmla="*/ 0 w 3774355"/>
                <a:gd name="connsiteY3" fmla="*/ 780256 h 780256"/>
                <a:gd name="connsiteX4" fmla="*/ 0 w 3774355"/>
                <a:gd name="connsiteY4" fmla="*/ 0 h 780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355" h="780256">
                  <a:moveTo>
                    <a:pt x="0" y="0"/>
                  </a:moveTo>
                  <a:lnTo>
                    <a:pt x="3774355" y="0"/>
                  </a:lnTo>
                  <a:lnTo>
                    <a:pt x="3774355" y="780256"/>
                  </a:lnTo>
                  <a:lnTo>
                    <a:pt x="0" y="780256"/>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kern="1200" dirty="0">
                  <a:latin typeface="Segoe UI Semibold" panose="020B0702040204020203" pitchFamily="34" charset="0"/>
                  <a:cs typeface="Segoe UI Semibold" panose="020B0702040204020203" pitchFamily="34" charset="0"/>
                </a:rPr>
                <a:t>Virtual Machine deprovisioning</a:t>
              </a:r>
            </a:p>
          </p:txBody>
        </p:sp>
        <p:sp>
          <p:nvSpPr>
            <p:cNvPr id="11" name="Freeform: Shape 10"/>
            <p:cNvSpPr/>
            <p:nvPr/>
          </p:nvSpPr>
          <p:spPr>
            <a:xfrm>
              <a:off x="6329248" y="3787340"/>
              <a:ext cx="3774355" cy="2148322"/>
            </a:xfrm>
            <a:custGeom>
              <a:avLst/>
              <a:gdLst>
                <a:gd name="connsiteX0" fmla="*/ 0 w 3774355"/>
                <a:gd name="connsiteY0" fmla="*/ 0 h 3019500"/>
                <a:gd name="connsiteX1" fmla="*/ 3774355 w 3774355"/>
                <a:gd name="connsiteY1" fmla="*/ 0 h 3019500"/>
                <a:gd name="connsiteX2" fmla="*/ 3774355 w 3774355"/>
                <a:gd name="connsiteY2" fmla="*/ 3019500 h 3019500"/>
                <a:gd name="connsiteX3" fmla="*/ 0 w 3774355"/>
                <a:gd name="connsiteY3" fmla="*/ 3019500 h 3019500"/>
                <a:gd name="connsiteX4" fmla="*/ 0 w 3774355"/>
                <a:gd name="connsiteY4" fmla="*/ 0 h 3019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355" h="3019500">
                  <a:moveTo>
                    <a:pt x="0" y="0"/>
                  </a:moveTo>
                  <a:lnTo>
                    <a:pt x="3774355" y="0"/>
                  </a:lnTo>
                  <a:lnTo>
                    <a:pt x="3774355" y="3019500"/>
                  </a:lnTo>
                  <a:lnTo>
                    <a:pt x="0" y="301950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1600" kern="1200" dirty="0">
                  <a:latin typeface="+mj-lt"/>
                </a:rPr>
                <a:t>Never stop a Domain Controller through the Azure Management portal. Always shut down the Domain Controller Virtual Machines from the operating system inside the VM.</a:t>
              </a:r>
            </a:p>
          </p:txBody>
        </p:sp>
      </p:grpSp>
    </p:spTree>
    <p:extLst>
      <p:ext uri="{BB962C8B-B14F-4D97-AF65-F5344CB8AC3E}">
        <p14:creationId xmlns:p14="http://schemas.microsoft.com/office/powerpoint/2010/main" val="315850733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66169" y="295278"/>
            <a:ext cx="11702551" cy="917575"/>
          </a:xfrm>
        </p:spPr>
        <p:txBody>
          <a:bodyPr/>
          <a:lstStyle/>
          <a:p>
            <a:r>
              <a:rPr lang="en-US" dirty="0"/>
              <a:t>Domain Controller design considerations</a:t>
            </a:r>
          </a:p>
        </p:txBody>
      </p:sp>
      <p:sp>
        <p:nvSpPr>
          <p:cNvPr id="7" name="Text Placeholder 5"/>
          <p:cNvSpPr txBox="1">
            <a:spLocks/>
          </p:cNvSpPr>
          <p:nvPr/>
        </p:nvSpPr>
        <p:spPr>
          <a:xfrm>
            <a:off x="366168" y="1211262"/>
            <a:ext cx="11702551" cy="1514261"/>
          </a:xfrm>
          <a:prstGeom prst="rect">
            <a:avLst/>
          </a:prstGeom>
        </p:spPr>
        <p:txBody>
          <a:bodyPr vert="horz" wrap="square" lIns="146304" tIns="91440" rIns="146304"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200" dirty="0">
                <a:gradFill>
                  <a:gsLst>
                    <a:gs pos="1250">
                      <a:schemeClr val="tx2"/>
                    </a:gs>
                    <a:gs pos="99000">
                      <a:schemeClr val="tx2"/>
                    </a:gs>
                  </a:gsLst>
                  <a:lin ang="5400000" scaled="0"/>
                </a:gradFill>
              </a:rPr>
              <a:t>When deploying Domain Controllers in Azure, there are some specific things that customers will need to take into account in the Active Directory design.</a:t>
            </a:r>
            <a:endParaRPr lang="en-US" sz="3200" dirty="0"/>
          </a:p>
        </p:txBody>
      </p:sp>
      <p:grpSp>
        <p:nvGrpSpPr>
          <p:cNvPr id="13" name="Group 12"/>
          <p:cNvGrpSpPr/>
          <p:nvPr/>
        </p:nvGrpSpPr>
        <p:grpSpPr>
          <a:xfrm>
            <a:off x="1340644" y="2887662"/>
            <a:ext cx="9525000" cy="3730860"/>
            <a:chOff x="2102644" y="2698632"/>
            <a:chExt cx="9525000" cy="3730860"/>
          </a:xfrm>
        </p:grpSpPr>
        <p:sp>
          <p:nvSpPr>
            <p:cNvPr id="8" name="Freeform: Shape 7"/>
            <p:cNvSpPr/>
            <p:nvPr/>
          </p:nvSpPr>
          <p:spPr>
            <a:xfrm>
              <a:off x="2102644" y="2698632"/>
              <a:ext cx="9296400" cy="720720"/>
            </a:xfrm>
            <a:custGeom>
              <a:avLst/>
              <a:gdLst>
                <a:gd name="connsiteX0" fmla="*/ 0 w 8077200"/>
                <a:gd name="connsiteY0" fmla="*/ 120122 h 720720"/>
                <a:gd name="connsiteX1" fmla="*/ 120122 w 8077200"/>
                <a:gd name="connsiteY1" fmla="*/ 0 h 720720"/>
                <a:gd name="connsiteX2" fmla="*/ 7957078 w 8077200"/>
                <a:gd name="connsiteY2" fmla="*/ 0 h 720720"/>
                <a:gd name="connsiteX3" fmla="*/ 8077200 w 8077200"/>
                <a:gd name="connsiteY3" fmla="*/ 120122 h 720720"/>
                <a:gd name="connsiteX4" fmla="*/ 8077200 w 8077200"/>
                <a:gd name="connsiteY4" fmla="*/ 600598 h 720720"/>
                <a:gd name="connsiteX5" fmla="*/ 7957078 w 8077200"/>
                <a:gd name="connsiteY5" fmla="*/ 720720 h 720720"/>
                <a:gd name="connsiteX6" fmla="*/ 120122 w 8077200"/>
                <a:gd name="connsiteY6" fmla="*/ 720720 h 720720"/>
                <a:gd name="connsiteX7" fmla="*/ 0 w 8077200"/>
                <a:gd name="connsiteY7" fmla="*/ 600598 h 720720"/>
                <a:gd name="connsiteX8" fmla="*/ 0 w 8077200"/>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77200" h="720720">
                  <a:moveTo>
                    <a:pt x="0" y="120122"/>
                  </a:moveTo>
                  <a:cubicBezTo>
                    <a:pt x="0" y="53780"/>
                    <a:pt x="53780" y="0"/>
                    <a:pt x="120122" y="0"/>
                  </a:cubicBezTo>
                  <a:lnTo>
                    <a:pt x="7957078" y="0"/>
                  </a:lnTo>
                  <a:cubicBezTo>
                    <a:pt x="8023420" y="0"/>
                    <a:pt x="8077200" y="53780"/>
                    <a:pt x="8077200" y="120122"/>
                  </a:cubicBezTo>
                  <a:lnTo>
                    <a:pt x="8077200" y="600598"/>
                  </a:lnTo>
                  <a:cubicBezTo>
                    <a:pt x="8077200" y="666940"/>
                    <a:pt x="8023420" y="720720"/>
                    <a:pt x="7957078"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mj-lt"/>
                </a:rPr>
                <a:t>Active Directory sites and subnets</a:t>
              </a:r>
            </a:p>
          </p:txBody>
        </p:sp>
        <p:sp>
          <p:nvSpPr>
            <p:cNvPr id="9" name="Freeform: Shape 8"/>
            <p:cNvSpPr/>
            <p:nvPr/>
          </p:nvSpPr>
          <p:spPr>
            <a:xfrm>
              <a:off x="2102644" y="3419352"/>
              <a:ext cx="9296400" cy="1825740"/>
            </a:xfrm>
            <a:custGeom>
              <a:avLst/>
              <a:gdLst>
                <a:gd name="connsiteX0" fmla="*/ 0 w 8077200"/>
                <a:gd name="connsiteY0" fmla="*/ 0 h 1825740"/>
                <a:gd name="connsiteX1" fmla="*/ 8077200 w 8077200"/>
                <a:gd name="connsiteY1" fmla="*/ 0 h 1825740"/>
                <a:gd name="connsiteX2" fmla="*/ 8077200 w 8077200"/>
                <a:gd name="connsiteY2" fmla="*/ 1825740 h 1825740"/>
                <a:gd name="connsiteX3" fmla="*/ 0 w 8077200"/>
                <a:gd name="connsiteY3" fmla="*/ 1825740 h 1825740"/>
                <a:gd name="connsiteX4" fmla="*/ 0 w 8077200"/>
                <a:gd name="connsiteY4" fmla="*/ 0 h 182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7200" h="1825740">
                  <a:moveTo>
                    <a:pt x="0" y="0"/>
                  </a:moveTo>
                  <a:lnTo>
                    <a:pt x="8077200" y="0"/>
                  </a:lnTo>
                  <a:lnTo>
                    <a:pt x="8077200" y="1825740"/>
                  </a:lnTo>
                  <a:lnTo>
                    <a:pt x="0" y="18257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6451"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000" dirty="0">
                  <a:solidFill>
                    <a:srgbClr val="505050">
                      <a:hueOff val="0"/>
                      <a:satOff val="0"/>
                      <a:lumOff val="0"/>
                      <a:alphaOff val="0"/>
                    </a:srgbClr>
                  </a:solidFill>
                </a:rPr>
                <a:t>Place two Domain Controllers in all Azure regions that Virtual Machines reside in within an availability set</a:t>
              </a:r>
            </a:p>
            <a:p>
              <a:pPr marL="228600" lvl="1" indent="-228600" algn="l" defTabSz="977900">
                <a:lnSpc>
                  <a:spcPct val="90000"/>
                </a:lnSpc>
                <a:spcBef>
                  <a:spcPct val="0"/>
                </a:spcBef>
                <a:spcAft>
                  <a:spcPct val="20000"/>
                </a:spcAft>
                <a:buChar char="•"/>
              </a:pPr>
              <a:r>
                <a:rPr lang="en-US" sz="2000" dirty="0">
                  <a:solidFill>
                    <a:srgbClr val="505050">
                      <a:hueOff val="0"/>
                      <a:satOff val="0"/>
                      <a:lumOff val="0"/>
                      <a:alphaOff val="0"/>
                    </a:srgbClr>
                  </a:solidFill>
                </a:rPr>
                <a:t>Create a unique AD site object for each Azure region that VMs reside in, and associate all of the </a:t>
              </a:r>
              <a:r>
                <a:rPr lang="en-US" sz="2000" dirty="0" err="1">
                  <a:solidFill>
                    <a:srgbClr val="505050">
                      <a:hueOff val="0"/>
                      <a:satOff val="0"/>
                      <a:lumOff val="0"/>
                      <a:alphaOff val="0"/>
                    </a:srgbClr>
                  </a:solidFill>
                </a:rPr>
                <a:t>VNets</a:t>
              </a:r>
              <a:r>
                <a:rPr lang="en-US" sz="2000" dirty="0">
                  <a:solidFill>
                    <a:srgbClr val="505050">
                      <a:hueOff val="0"/>
                      <a:satOff val="0"/>
                      <a:lumOff val="0"/>
                      <a:alphaOff val="0"/>
                    </a:srgbClr>
                  </a:solidFill>
                </a:rPr>
                <a:t> in that region with the AD site</a:t>
              </a:r>
            </a:p>
          </p:txBody>
        </p:sp>
        <p:sp>
          <p:nvSpPr>
            <p:cNvPr id="10" name="Freeform: Shape 9"/>
            <p:cNvSpPr/>
            <p:nvPr/>
          </p:nvSpPr>
          <p:spPr>
            <a:xfrm>
              <a:off x="2102644" y="5245092"/>
              <a:ext cx="9296400" cy="720720"/>
            </a:xfrm>
            <a:custGeom>
              <a:avLst/>
              <a:gdLst>
                <a:gd name="connsiteX0" fmla="*/ 0 w 8077200"/>
                <a:gd name="connsiteY0" fmla="*/ 120122 h 720720"/>
                <a:gd name="connsiteX1" fmla="*/ 120122 w 8077200"/>
                <a:gd name="connsiteY1" fmla="*/ 0 h 720720"/>
                <a:gd name="connsiteX2" fmla="*/ 7957078 w 8077200"/>
                <a:gd name="connsiteY2" fmla="*/ 0 h 720720"/>
                <a:gd name="connsiteX3" fmla="*/ 8077200 w 8077200"/>
                <a:gd name="connsiteY3" fmla="*/ 120122 h 720720"/>
                <a:gd name="connsiteX4" fmla="*/ 8077200 w 8077200"/>
                <a:gd name="connsiteY4" fmla="*/ 600598 h 720720"/>
                <a:gd name="connsiteX5" fmla="*/ 7957078 w 8077200"/>
                <a:gd name="connsiteY5" fmla="*/ 720720 h 720720"/>
                <a:gd name="connsiteX6" fmla="*/ 120122 w 8077200"/>
                <a:gd name="connsiteY6" fmla="*/ 720720 h 720720"/>
                <a:gd name="connsiteX7" fmla="*/ 0 w 8077200"/>
                <a:gd name="connsiteY7" fmla="*/ 600598 h 720720"/>
                <a:gd name="connsiteX8" fmla="*/ 0 w 8077200"/>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77200" h="720720">
                  <a:moveTo>
                    <a:pt x="0" y="120122"/>
                  </a:moveTo>
                  <a:cubicBezTo>
                    <a:pt x="0" y="53780"/>
                    <a:pt x="53780" y="0"/>
                    <a:pt x="120122" y="0"/>
                  </a:cubicBezTo>
                  <a:lnTo>
                    <a:pt x="7957078" y="0"/>
                  </a:lnTo>
                  <a:cubicBezTo>
                    <a:pt x="8023420" y="0"/>
                    <a:pt x="8077200" y="53780"/>
                    <a:pt x="8077200" y="120122"/>
                  </a:cubicBezTo>
                  <a:lnTo>
                    <a:pt x="8077200" y="600598"/>
                  </a:lnTo>
                  <a:cubicBezTo>
                    <a:pt x="8077200" y="666940"/>
                    <a:pt x="8023420" y="720720"/>
                    <a:pt x="7957078"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mj-lt"/>
                </a:rPr>
                <a:t>Global catalog</a:t>
              </a:r>
            </a:p>
          </p:txBody>
        </p:sp>
        <p:sp>
          <p:nvSpPr>
            <p:cNvPr id="11" name="Freeform: Shape 10"/>
            <p:cNvSpPr/>
            <p:nvPr/>
          </p:nvSpPr>
          <p:spPr>
            <a:xfrm>
              <a:off x="2102644" y="5965812"/>
              <a:ext cx="9525000" cy="463680"/>
            </a:xfrm>
            <a:custGeom>
              <a:avLst/>
              <a:gdLst>
                <a:gd name="connsiteX0" fmla="*/ 0 w 8077200"/>
                <a:gd name="connsiteY0" fmla="*/ 0 h 463680"/>
                <a:gd name="connsiteX1" fmla="*/ 8077200 w 8077200"/>
                <a:gd name="connsiteY1" fmla="*/ 0 h 463680"/>
                <a:gd name="connsiteX2" fmla="*/ 8077200 w 8077200"/>
                <a:gd name="connsiteY2" fmla="*/ 463680 h 463680"/>
                <a:gd name="connsiteX3" fmla="*/ 0 w 8077200"/>
                <a:gd name="connsiteY3" fmla="*/ 463680 h 463680"/>
                <a:gd name="connsiteX4" fmla="*/ 0 w 8077200"/>
                <a:gd name="connsiteY4" fmla="*/ 0 h 463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7200" h="463680">
                  <a:moveTo>
                    <a:pt x="0" y="0"/>
                  </a:moveTo>
                  <a:lnTo>
                    <a:pt x="8077200" y="0"/>
                  </a:lnTo>
                  <a:lnTo>
                    <a:pt x="8077200" y="463680"/>
                  </a:lnTo>
                  <a:lnTo>
                    <a:pt x="0" y="4636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6451"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000" dirty="0">
                  <a:solidFill>
                    <a:srgbClr val="505050">
                      <a:hueOff val="0"/>
                      <a:satOff val="0"/>
                      <a:lumOff val="0"/>
                      <a:alphaOff val="0"/>
                    </a:srgbClr>
                  </a:solidFill>
                </a:rPr>
                <a:t>Make all Domain Controllers in Azure Global Catalog servers</a:t>
              </a:r>
            </a:p>
          </p:txBody>
        </p:sp>
      </p:grpSp>
    </p:spTree>
    <p:extLst>
      <p:ext uri="{BB962C8B-B14F-4D97-AF65-F5344CB8AC3E}">
        <p14:creationId xmlns:p14="http://schemas.microsoft.com/office/powerpoint/2010/main" val="25095635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2.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3.xml><?xml version="1.0" encoding="utf-8"?>
<a:theme xmlns:a="http://schemas.openxmlformats.org/drawingml/2006/main" name="1_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253B0A39536C34A88A418826D8AA97B" ma:contentTypeVersion="0" ma:contentTypeDescription="Create a new document." ma:contentTypeScope="" ma:versionID="50ad4e5c0e1d538855268c933a8cd428">
  <xsd:schema xmlns:xsd="http://www.w3.org/2001/XMLSchema" xmlns:xs="http://www.w3.org/2001/XMLSchema" xmlns:p="http://schemas.microsoft.com/office/2006/metadata/properties" targetNamespace="http://schemas.microsoft.com/office/2006/metadata/properties" ma:root="true" ma:fieldsID="ef6e81ba9a205494fd550eed2762925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60e067c4-a45d-4533-a15b-b3844c50456e"/>
    <ds:schemaRef ds:uri="http://www.w3.org/XML/1998/namespace"/>
    <ds:schemaRef ds:uri="http://schemas.microsoft.com/office/infopath/2007/PartnerControls"/>
    <ds:schemaRef ds:uri="http://purl.org/dc/elements/1.1/"/>
    <ds:schemaRef ds:uri="http://schemas.microsoft.com/office/2006/metadata/properties"/>
    <ds:schemaRef ds:uri="26e2a2f4-dbdb-4aea-b912-c14630ae47fd"/>
    <ds:schemaRef ds:uri="http://purl.org/dc/dcmitype/"/>
    <ds:schemaRef ds:uri="http://purl.org/dc/terms/"/>
    <ds:schemaRef ds:uri="http://schemas.openxmlformats.org/package/2006/metadata/core-properties"/>
    <ds:schemaRef ds:uri="http://schemas.microsoft.com/sharepoint/v3"/>
  </ds:schemaRefs>
</ds:datastoreItem>
</file>

<file path=customXml/itemProps2.xml><?xml version="1.0" encoding="utf-8"?>
<ds:datastoreItem xmlns:ds="http://schemas.openxmlformats.org/officeDocument/2006/customXml" ds:itemID="{B36F28B7-3B92-4B1E-9961-2632AA8B0A3D}"/>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and_template_4-3_Business_BLUE_4</Template>
  <TotalTime>10518</TotalTime>
  <Words>24380</Words>
  <Application>Microsoft Office PowerPoint</Application>
  <PresentationFormat>Custom</PresentationFormat>
  <Paragraphs>2257</Paragraphs>
  <Slides>148</Slides>
  <Notes>148</Notes>
  <HiddenSlides>74</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48</vt:i4>
      </vt:variant>
    </vt:vector>
  </HeadingPairs>
  <TitlesOfParts>
    <vt:vector size="164" baseType="lpstr">
      <vt:lpstr>ＭＳ Ｐゴシック</vt:lpstr>
      <vt:lpstr>Arial</vt:lpstr>
      <vt:lpstr>Calibri</vt:lpstr>
      <vt:lpstr>Consolas</vt:lpstr>
      <vt:lpstr>Georgia</vt:lpstr>
      <vt:lpstr>Segoe UI</vt:lpstr>
      <vt:lpstr>Segoe UI Black</vt:lpstr>
      <vt:lpstr>Segoe UI Light</vt:lpstr>
      <vt:lpstr>Segoe UI Semibold</vt:lpstr>
      <vt:lpstr>Segoe UI Semilight</vt:lpstr>
      <vt:lpstr>Times</vt:lpstr>
      <vt:lpstr>Wingdings</vt:lpstr>
      <vt:lpstr>2_WHITE TEMPLATE</vt:lpstr>
      <vt:lpstr>WHITE TEMPLATE</vt:lpstr>
      <vt:lpstr>1_5-50109_Microsoft_Dark_Template</vt:lpstr>
      <vt:lpstr>think-cell Slide</vt:lpstr>
      <vt:lpstr>Azure Solution Alignment Workshop</vt:lpstr>
      <vt:lpstr>Identity Menu | Click on a topic</vt:lpstr>
      <vt:lpstr>Azure Active Directory</vt:lpstr>
      <vt:lpstr>PowerPoint Presentation</vt:lpstr>
      <vt:lpstr>Identity as the Control Plane</vt:lpstr>
      <vt:lpstr>PowerPoint Presentation</vt:lpstr>
      <vt:lpstr>How Microsoft Guards Azure AD</vt:lpstr>
      <vt:lpstr>Azure AD tenant</vt:lpstr>
      <vt:lpstr>A Big Question</vt:lpstr>
      <vt:lpstr>Azure Active Directory editions</vt:lpstr>
      <vt:lpstr>Azure AD license management</vt:lpstr>
      <vt:lpstr>Cross-Platform APIs for Identity  Management </vt:lpstr>
      <vt:lpstr>Growing list of sign on methods to Azure AD</vt:lpstr>
      <vt:lpstr>Scale your data and reporting</vt:lpstr>
      <vt:lpstr>Managed Service Identity (preview as of Dec 2017)</vt:lpstr>
      <vt:lpstr>Graph API</vt:lpstr>
      <vt:lpstr>Administration</vt:lpstr>
      <vt:lpstr>Best Practices for Locking Down Access </vt:lpstr>
      <vt:lpstr>Use “Break Glass” Accounts</vt:lpstr>
      <vt:lpstr>Azure RBAC versus Azure AD RBAC</vt:lpstr>
      <vt:lpstr>Best Practice:  Manage to Least Privilege</vt:lpstr>
      <vt:lpstr>Best Practice:  Manage to Least Privilege</vt:lpstr>
      <vt:lpstr>Azure AD Connect</vt:lpstr>
      <vt:lpstr>Azure Active Directory Connect</vt:lpstr>
      <vt:lpstr>Azure AD UPN alignment</vt:lpstr>
      <vt:lpstr>Supported Topologies</vt:lpstr>
      <vt:lpstr>Filter mutually exclusive AD Objects per tenant</vt:lpstr>
      <vt:lpstr>Azure AD Connect and Windows 10 devices</vt:lpstr>
      <vt:lpstr>Azure AD Connect and Writeback</vt:lpstr>
      <vt:lpstr>Federation</vt:lpstr>
      <vt:lpstr>Federation</vt:lpstr>
      <vt:lpstr>Monitor your Identity Bridge </vt:lpstr>
      <vt:lpstr>Use identities from an LDAP directory</vt:lpstr>
      <vt:lpstr>AD FS Help</vt:lpstr>
      <vt:lpstr>Pass-Through Authentication (PTA)  Identity synchronization + Pass-through authentication with Seamless SSO</vt:lpstr>
      <vt:lpstr>What AD FS offers that PTA with SSO doesn’t</vt:lpstr>
      <vt:lpstr>Azure AD Application Proxy</vt:lpstr>
      <vt:lpstr>PowerPoint Presentation</vt:lpstr>
      <vt:lpstr>Prerequisites for the Azure AD Application Proxy</vt:lpstr>
      <vt:lpstr>Privileged Identity Management</vt:lpstr>
      <vt:lpstr>Privileged Identity Management</vt:lpstr>
      <vt:lpstr>Azure PIM dashboard</vt:lpstr>
      <vt:lpstr>Azure PIM role management</vt:lpstr>
      <vt:lpstr>Azure PIM role activation history</vt:lpstr>
      <vt:lpstr>PIM for Azure Resources (preview)</vt:lpstr>
      <vt:lpstr>Azure AD Identity Protection</vt:lpstr>
      <vt:lpstr>Azure Active Directory Identity Protection</vt:lpstr>
      <vt:lpstr>Dashboard</vt:lpstr>
      <vt:lpstr>User risks </vt:lpstr>
      <vt:lpstr>Multi-Factor Authentication</vt:lpstr>
      <vt:lpstr>Multi-factor authentication</vt:lpstr>
      <vt:lpstr>MFA server vs. Azure AD MFA model</vt:lpstr>
      <vt:lpstr>How it works</vt:lpstr>
      <vt:lpstr>PowerPoint Presentation</vt:lpstr>
      <vt:lpstr>Conditional Access</vt:lpstr>
      <vt:lpstr>PowerPoint Presentation</vt:lpstr>
      <vt:lpstr>Application Integration</vt:lpstr>
      <vt:lpstr>Moving applications to the cloud – Options</vt:lpstr>
      <vt:lpstr>Self-service application access at scale</vt:lpstr>
      <vt:lpstr>Making the lives of users easier</vt:lpstr>
      <vt:lpstr>Azure AD Domain Services</vt:lpstr>
      <vt:lpstr>What does Azure AD DS look like?</vt:lpstr>
      <vt:lpstr>Managed domains in Azure</vt:lpstr>
      <vt:lpstr>Features</vt:lpstr>
      <vt:lpstr>Deciding when not to ‘DIY’ your AD deployment </vt:lpstr>
      <vt:lpstr>Architecture Discussion</vt:lpstr>
      <vt:lpstr>Whiteboard Identity Architecture</vt:lpstr>
      <vt:lpstr>Identity Management Architectures</vt:lpstr>
      <vt:lpstr>Azure B2C | B2B</vt:lpstr>
      <vt:lpstr>Azure Active Directory B2C</vt:lpstr>
      <vt:lpstr>PowerPoint Presentation</vt:lpstr>
      <vt:lpstr>To B2C to B2B?</vt:lpstr>
      <vt:lpstr>Next steps</vt:lpstr>
      <vt:lpstr>Review of Discussions and Decisions</vt:lpstr>
      <vt:lpstr>PowerPoint Presentation</vt:lpstr>
      <vt:lpstr>Design decisions section – Guidance</vt:lpstr>
      <vt:lpstr>Hybrid identity components</vt:lpstr>
      <vt:lpstr>Azure Active Directory planning decisions</vt:lpstr>
      <vt:lpstr>AAD Cross-organizational directories decisions</vt:lpstr>
      <vt:lpstr>AAD Cross-organizational directories decisions</vt:lpstr>
      <vt:lpstr>AAD custom domain names decisions</vt:lpstr>
      <vt:lpstr>Azure Active Directory integration decision</vt:lpstr>
      <vt:lpstr>AAD multiple forests decisions</vt:lpstr>
      <vt:lpstr>Custom domain names</vt:lpstr>
      <vt:lpstr>Integrating on-premises Active Directory</vt:lpstr>
      <vt:lpstr>Single forest with multiple domains</vt:lpstr>
      <vt:lpstr>Account/resource forest model</vt:lpstr>
      <vt:lpstr>Multiple forests with unique users</vt:lpstr>
      <vt:lpstr>Identity Management Systems</vt:lpstr>
      <vt:lpstr>MFA server decisions</vt:lpstr>
      <vt:lpstr>AAD multi-factor authentication licensing models</vt:lpstr>
      <vt:lpstr>Azure AD branding and customization</vt:lpstr>
      <vt:lpstr>Extending on-premises AD – Storage</vt:lpstr>
      <vt:lpstr>Extending on-premises AD – Security </vt:lpstr>
      <vt:lpstr>Extending on-premises AD – Security </vt:lpstr>
      <vt:lpstr>Extending on-premises AD – Deployment </vt:lpstr>
      <vt:lpstr>Extending on-premises AD – Deployment </vt:lpstr>
      <vt:lpstr>Extending on-premises AD – Management</vt:lpstr>
      <vt:lpstr>Domain Controller design considerations</vt:lpstr>
      <vt:lpstr>Extending on-premises AD – DNS </vt:lpstr>
      <vt:lpstr>Use this section only if included in the SOW</vt:lpstr>
      <vt:lpstr>PowerPoint Presentation</vt:lpstr>
      <vt:lpstr>Extending on-premises AD to Azure</vt:lpstr>
      <vt:lpstr>Domain Controllers in Azure IaaS</vt:lpstr>
      <vt:lpstr>Domain Controllers In Azure</vt:lpstr>
      <vt:lpstr>Extending on-premises AD – Networking </vt:lpstr>
      <vt:lpstr>PowerPoint Presentation</vt:lpstr>
      <vt:lpstr>Azure AD - Developer Content</vt:lpstr>
      <vt:lpstr>Active Directory Authentication Library (ADAL)</vt:lpstr>
      <vt:lpstr>Microsoft graph</vt:lpstr>
      <vt:lpstr>Microsoft Authentication Library (MSAL)</vt:lpstr>
      <vt:lpstr>Old Sync clients – Dirsync and Azure AD Sync</vt:lpstr>
      <vt:lpstr>Upgrade paths</vt:lpstr>
      <vt:lpstr>Publishing applications</vt:lpstr>
      <vt:lpstr>Pass-through authentication</vt:lpstr>
      <vt:lpstr>Authenticating to applications</vt:lpstr>
      <vt:lpstr>Windows authentication</vt:lpstr>
      <vt:lpstr>Enabling KCD</vt:lpstr>
      <vt:lpstr>Application Integration Addendum Slides</vt:lpstr>
      <vt:lpstr>What if an app doesn’t support federated single sign-on?</vt:lpstr>
      <vt:lpstr>Password-based SSO</vt:lpstr>
      <vt:lpstr>Password-based SSO</vt:lpstr>
      <vt:lpstr>Password-based SSO</vt:lpstr>
      <vt:lpstr>Password vaulting</vt:lpstr>
      <vt:lpstr>PowerPoint Presentation</vt:lpstr>
      <vt:lpstr>User provisioning</vt:lpstr>
      <vt:lpstr>How account creation usually works…</vt:lpstr>
      <vt:lpstr>Azure AD – Automatic provisioning </vt:lpstr>
      <vt:lpstr>Connecting apps for provisioning</vt:lpstr>
      <vt:lpstr>Deployment options</vt:lpstr>
      <vt:lpstr>Inbound provisioning from HR apps</vt:lpstr>
      <vt:lpstr>PowerPoint Presentation</vt:lpstr>
      <vt:lpstr>First, check if the app is in the Azure AD gallery…</vt:lpstr>
      <vt:lpstr>Pre-integrated applications</vt:lpstr>
      <vt:lpstr>Thousands of pre-integrated apps, and growing!  </vt:lpstr>
      <vt:lpstr>Useful links</vt:lpstr>
      <vt:lpstr>PowerPoint Presentation</vt:lpstr>
      <vt:lpstr>Additional integration options</vt:lpstr>
      <vt:lpstr>Discovery</vt:lpstr>
      <vt:lpstr>Information protection for cloud apps</vt:lpstr>
      <vt:lpstr>Threat detection</vt:lpstr>
      <vt:lpstr>In-session control</vt:lpstr>
      <vt:lpstr>Complete framework to secure your cloud apps</vt:lpstr>
      <vt:lpstr>’Lift-and-shift’ existing on-premises apps. Easy?</vt:lpstr>
      <vt:lpstr>Two widely-used options today…</vt:lpstr>
      <vt:lpstr>Imagine a simpler alternative</vt:lpstr>
      <vt:lpstr>Your managed domain is kept in-sync </vt:lpstr>
      <vt:lpstr>Synced tenant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AW Module 6 - Technical - Identity</dc:title>
  <dc:subject>&lt;Speech title here&gt;</dc:subject>
  <dc:creator>Allytics</dc:creator>
  <cp:keywords>MSVID, Brand Guidelines, Branding, Visual Identity, grid</cp:keywords>
  <dc:description>Template: Maryfj_x000d_
Formatting: _x000d_
Audience Type:</dc:description>
  <cp:lastModifiedBy>Arturo Quiroga</cp:lastModifiedBy>
  <cp:revision>389</cp:revision>
  <dcterms:created xsi:type="dcterms:W3CDTF">2015-08-25T18:27:18Z</dcterms:created>
  <dcterms:modified xsi:type="dcterms:W3CDTF">2018-03-22T19:3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53B0A39536C34A88A418826D8AA97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af1f5bfae61e4243aac9966cb19580e1">
    <vt:lpwstr>WW Infrastructure Architecture Community|020667bd-a0b2-4dd4-b4a1-385e3dc71c64;WW Modern Datacenter Community|50d24e14-9c01-4bff-9638-60dd6a2ef53b;WW Modern Service Management Community|081dbb6f-d246-441a-b120-79b504dd6281;WW Cloud Architecture Community|9</vt:lpwstr>
  </property>
  <property fmtid="{D5CDD505-2E9C-101B-9397-08002B2CF9AE}" pid="12" name="bc28b5f076654a3b96073bbbebfeb8c9">
    <vt:lpwstr>English|cb91f272-ce4d-4a7e-9bbf-78b58e3d188d</vt:lpwstr>
  </property>
  <property fmtid="{D5CDD505-2E9C-101B-9397-08002B2CF9AE}" pid="13" name="MSProductsTaxHTField0">
    <vt:lpwstr>Microsoft Azure StorSimple|5c5220f0-46a4-465b-b193-2e93bfbcd5b2;Microsoft Azure|669a3112-5edf-444b-a003-630063601f07;Microsoft System Center|8eef0cfe-5421-493a-86c3-6e56c8018e93;Windows Server 2012 R2|85a16c7b-ffe9-466b-a157-74a56d2e11b7;Microsoft Azure p</vt:lpwstr>
  </property>
  <property fmtid="{D5CDD505-2E9C-101B-9397-08002B2CF9AE}" pid="14" name="_dlc_DocIdItemGuid">
    <vt:lpwstr>d59cff06-eed8-42f3-8263-91e6b4017166</vt:lpwstr>
  </property>
  <property fmtid="{D5CDD505-2E9C-101B-9397-08002B2CF9AE}" pid="15" name="MSLanguage">
    <vt:lpwstr>1248;#English|cb91f272-ce4d-4a7e-9bbf-78b58e3d188d</vt:lpwstr>
  </property>
  <property fmtid="{D5CDD505-2E9C-101B-9397-08002B2CF9AE}" pid="16" name="MSProducts">
    <vt:lpwstr>1658;#Microsoft Azure StorSimple|5c5220f0-46a4-465b-b193-2e93bfbcd5b2;#1274;#Microsoft Azure|669a3112-5edf-444b-a003-630063601f07;#197;#Microsoft System Center|8eef0cfe-5421-493a-86c3-6e56c8018e93;#1381;#Windows Server 2012 R2|85a16c7b-ffe9-466b-a157-74a5</vt:lpwstr>
  </property>
  <property fmtid="{D5CDD505-2E9C-101B-9397-08002B2CF9AE}" pid="17" name="ServicesCommunities">
    <vt:lpwstr>611;#WW Infrastructure Architecture Community|020667bd-a0b2-4dd4-b4a1-385e3dc71c64;#608;#WW Modern Datacenter Community|50d24e14-9c01-4bff-9638-60dd6a2ef53b;#1378;#WW Modern Service Management Community|081dbb6f-d246-441a-b120-79b504dd6281;#608;#WW Cloud </vt:lpwstr>
  </property>
  <property fmtid="{D5CDD505-2E9C-101B-9397-08002B2CF9AE}" pid="18" name="IPKitNavigation">
    <vt:lpwstr/>
  </property>
  <property fmtid="{D5CDD505-2E9C-101B-9397-08002B2CF9AE}" pid="19" name="MS Language">
    <vt:lpwstr/>
  </property>
  <property fmtid="{D5CDD505-2E9C-101B-9397-08002B2CF9AE}" pid="20" name="ServicesIPTypes">
    <vt:lpwstr/>
  </property>
  <property fmtid="{D5CDD505-2E9C-101B-9397-08002B2CF9AE}" pid="21" name="ie6d2fd56e2d423f9ae5744f65e04598">
    <vt:lpwstr/>
  </property>
  <property fmtid="{D5CDD505-2E9C-101B-9397-08002B2CF9AE}" pid="22" name="ServicesDomain">
    <vt:lpwstr/>
  </property>
  <property fmtid="{D5CDD505-2E9C-101B-9397-08002B2CF9AE}" pid="23" name="VerticalIndustries">
    <vt:lpwstr/>
  </property>
  <property fmtid="{D5CDD505-2E9C-101B-9397-08002B2CF9AE}" pid="24" name="SalesGeography">
    <vt:lpwstr/>
  </property>
  <property fmtid="{D5CDD505-2E9C-101B-9397-08002B2CF9AE}" pid="25" name="m74a2925250f485f9486ed3f97e2a6b3">
    <vt:lpwstr/>
  </property>
  <property fmtid="{D5CDD505-2E9C-101B-9397-08002B2CF9AE}" pid="26" name="ServicesLifecycleStage">
    <vt:lpwstr/>
  </property>
  <property fmtid="{D5CDD505-2E9C-101B-9397-08002B2CF9AE}" pid="27" name="g6775e77a6d84637a29014d883a4378a">
    <vt:lpwstr/>
  </property>
  <property fmtid="{D5CDD505-2E9C-101B-9397-08002B2CF9AE}" pid="28" name="cb7870d3641f4a52807a63577a9c1b08">
    <vt:lpwstr/>
  </property>
  <property fmtid="{D5CDD505-2E9C-101B-9397-08002B2CF9AE}" pid="29" name="campusov">
    <vt:lpwstr/>
  </property>
  <property fmtid="{D5CDD505-2E9C-101B-9397-08002B2CF9AE}" pid="30" name="MSIP_Label_f42aa342-8706-4288-bd11-ebb85995028c_Enabled">
    <vt:lpwstr>True</vt:lpwstr>
  </property>
  <property fmtid="{D5CDD505-2E9C-101B-9397-08002B2CF9AE}" pid="31" name="MSIP_Label_f42aa342-8706-4288-bd11-ebb85995028c_SiteId">
    <vt:lpwstr>72f988bf-86f1-41af-91ab-2d7cd011db47</vt:lpwstr>
  </property>
  <property fmtid="{D5CDD505-2E9C-101B-9397-08002B2CF9AE}" pid="32" name="MSIP_Label_f42aa342-8706-4288-bd11-ebb85995028c_Owner">
    <vt:lpwstr>arturoqu@microsoft.com</vt:lpwstr>
  </property>
  <property fmtid="{D5CDD505-2E9C-101B-9397-08002B2CF9AE}" pid="33" name="MSIP_Label_f42aa342-8706-4288-bd11-ebb85995028c_SetDate">
    <vt:lpwstr>2018-03-21T13:39:53.9483600Z</vt:lpwstr>
  </property>
  <property fmtid="{D5CDD505-2E9C-101B-9397-08002B2CF9AE}" pid="34" name="MSIP_Label_f42aa342-8706-4288-bd11-ebb85995028c_Name">
    <vt:lpwstr>General</vt:lpwstr>
  </property>
  <property fmtid="{D5CDD505-2E9C-101B-9397-08002B2CF9AE}" pid="35" name="MSIP_Label_f42aa342-8706-4288-bd11-ebb85995028c_Application">
    <vt:lpwstr>Microsoft Azure Information Protection</vt:lpwstr>
  </property>
  <property fmtid="{D5CDD505-2E9C-101B-9397-08002B2CF9AE}" pid="36" name="MSIP_Label_f42aa342-8706-4288-bd11-ebb85995028c_Extended_MSFT_Method">
    <vt:lpwstr>Automatic</vt:lpwstr>
  </property>
  <property fmtid="{D5CDD505-2E9C-101B-9397-08002B2CF9AE}" pid="37" name="Sensitivity">
    <vt:lpwstr>General</vt:lpwstr>
  </property>
</Properties>
</file>